
<file path=[Content_Types].xml><?xml version="1.0" encoding="utf-8"?>
<Types xmlns="http://schemas.openxmlformats.org/package/2006/content-types">
  <Override PartName="/ppt/tags/tag569.xml" ContentType="application/vnd.openxmlformats-officedocument.presentationml.tags+xml"/>
  <Override PartName="/ppt/slideLayouts/slideLayout307.xml" ContentType="application/vnd.openxmlformats-officedocument.presentationml.slideLayout+xml"/>
  <Override PartName="/ppt/tags/tag941.xml" ContentType="application/vnd.openxmlformats-officedocument.presentationml.tags+xml"/>
  <Override PartName="/ppt/tags/tag1765.xml" ContentType="application/vnd.openxmlformats-officedocument.presentationml.tags+xml"/>
  <Override PartName="/ppt/slides/slide25.xml" ContentType="application/vnd.openxmlformats-officedocument.presentationml.slide+xml"/>
  <Override PartName="/ppt/slideLayouts/slideLayout171.xml" ContentType="application/vnd.openxmlformats-officedocument.presentationml.slideLayout+xml"/>
  <Override PartName="/ppt/tags/tag1273.xml" ContentType="application/vnd.openxmlformats-officedocument.presentationml.tags+xml"/>
  <Override PartName="/ppt/slideLayouts/slideLayout408.xml" ContentType="application/vnd.openxmlformats-officedocument.presentationml.slideLayout+xml"/>
  <Override PartName="/ppt/tags/tag2059.xml" ContentType="application/vnd.openxmlformats-officedocument.presentationml.tags+xml"/>
  <Default Extension="xml" ContentType="application/xml"/>
  <Override PartName="/ppt/slideLayouts/slideLayout24.xml" ContentType="application/vnd.openxmlformats-officedocument.presentationml.slideLayout+xml"/>
  <Override PartName="/ppt/tags/tag1018.xml" ContentType="application/vnd.openxmlformats-officedocument.presentationml.tags+xml"/>
  <Override PartName="/ppt/tags/tag178.xml" ContentType="application/vnd.openxmlformats-officedocument.presentationml.tags+xml"/>
  <Override PartName="/ppt/tags/tag1866.xml" ContentType="application/vnd.openxmlformats-officedocument.presentationml.tags+xml"/>
  <Override PartName="/ppt/slideMasters/slideMaster11.xml" ContentType="application/vnd.openxmlformats-officedocument.presentationml.slideMaster+xml"/>
  <Override PartName="/ppt/tags/tag109.xml" ContentType="application/vnd.openxmlformats-officedocument.presentationml.tags+xml"/>
  <Override PartName="/ppt/tags/tag550.xml" ContentType="application/vnd.openxmlformats-officedocument.presentationml.tags+xml"/>
  <Override PartName="/ppt/slideLayouts/slideLayout272.xml" ContentType="application/vnd.openxmlformats-officedocument.presentationml.slideLayout+xml"/>
  <Override PartName="/ppt/tags/tag1374.xml" ContentType="application/vnd.openxmlformats-officedocument.presentationml.tags+xml"/>
  <Override PartName="/ppt/tags/tag1560.xml" ContentType="application/vnd.openxmlformats-officedocument.presentationml.tags+xml"/>
  <Override PartName="/ppt/slideLayouts/slideLayout509.xml" ContentType="application/vnd.openxmlformats-officedocument.presentationml.slideLayout+xml"/>
  <Override PartName="/ppt/tags/tag279.xml" ContentType="application/vnd.openxmlformats-officedocument.presentationml.tags+xml"/>
  <Override PartName="/ppt/slideLayouts/slideLayout203.xml" ContentType="application/vnd.openxmlformats-officedocument.presentationml.slideLayout+xml"/>
  <Override PartName="/ppt/theme/theme32.xml" ContentType="application/vnd.openxmlformats-officedocument.theme+xml"/>
  <Override PartName="/ppt/tags/tag957.xml" ContentType="application/vnd.openxmlformats-officedocument.presentationml.tags+xml"/>
  <Override PartName="/ppt/tags/tag1119.xml" ContentType="application/vnd.openxmlformats-officedocument.presentationml.tags+xml"/>
  <Override PartName="/ppt/tags/tag1305.xml" ContentType="application/vnd.openxmlformats-officedocument.presentationml.tags+xml"/>
  <Override PartName="/ppt/tags/tag465.xml" ContentType="application/vnd.openxmlformats-officedocument.presentationml.tags+xml"/>
  <Override PartName="/ppt/slideLayouts/slideLayout187.xml" ContentType="application/vnd.openxmlformats-officedocument.presentationml.slideLayout+xml"/>
  <Override PartName="/ppt/slideLayouts/slideLayout373.xml" ContentType="application/vnd.openxmlformats-officedocument.presentationml.slideLayout+xml"/>
  <Override PartName="/ppt/tags/tag1289.xml" ContentType="application/vnd.openxmlformats-officedocument.presentationml.tags+xml"/>
  <Override PartName="/ppt/tags/tag1475.xml" ContentType="application/vnd.openxmlformats-officedocument.presentationml.tags+xml"/>
  <Override PartName="/ppt/tags/tag1967.xml" ContentType="application/vnd.openxmlformats-officedocument.presentationml.tags+xml"/>
  <Override PartName="/ppt/tags/tag2040.xml" ContentType="application/vnd.openxmlformats-officedocument.presentationml.tags+xml"/>
  <Default Extension="png" ContentType="image/png"/>
  <Override PartName="/ppt/slideLayouts/slideLayout118.xml" ContentType="application/vnd.openxmlformats-officedocument.presentationml.slideLayout+xml"/>
  <Override PartName="/ppt/tags/tag651.xml" ContentType="application/vnd.openxmlformats-officedocument.presentationml.tags+xml"/>
  <Override PartName="/ppt/tags/tag1661.xml" ContentType="application/vnd.openxmlformats-officedocument.presentationml.tags+xml"/>
  <Override PartName="/ppt/tags/tag79.xml" ContentType="application/vnd.openxmlformats-officedocument.presentationml.tags+xml"/>
  <Override PartName="/ppt/slideLayouts/slideLayout304.xml" ContentType="application/vnd.openxmlformats-officedocument.presentationml.slideLayout+xml"/>
  <Override PartName="/ppt/tags/tag1406.xml" ContentType="application/vnd.openxmlformats-officedocument.presentationml.tags+xml"/>
  <Override PartName="/ppt/tags/tag2141.xml" ContentType="application/vnd.openxmlformats-officedocument.presentationml.tags+xml"/>
  <Override PartName="/ppt/slideMasters/slideMaster27.xml" ContentType="application/vnd.openxmlformats-officedocument.presentationml.slideMaster+xml"/>
  <Override PartName="/ppt/slideLayouts/slideLayout90.xml" ContentType="application/vnd.openxmlformats-officedocument.presentationml.slideLayout+xml"/>
  <Override PartName="/ppt/tags/tag566.xml" ContentType="application/vnd.openxmlformats-officedocument.presentationml.tags+xml"/>
  <Override PartName="/ppt/tags/tag752.xml" ContentType="application/vnd.openxmlformats-officedocument.presentationml.tags+xml"/>
  <Override PartName="/ppt/slideLayouts/slideLayout288.xml" ContentType="application/vnd.openxmlformats-officedocument.presentationml.slideLayout+xml"/>
  <Override PartName="/ppt/tags/tag1100.xml" ContentType="application/vnd.openxmlformats-officedocument.presentationml.tags+xml"/>
  <Override PartName="/ppt/slideLayouts/slideLayout474.xml" ContentType="application/vnd.openxmlformats-officedocument.presentationml.slideLayout+xml"/>
  <Override PartName="/ppt/tags/tag1576.xml" ContentType="application/vnd.openxmlformats-officedocument.presentationml.tags+xml"/>
  <Override PartName="/ppt/slides/slide22.xml" ContentType="application/vnd.openxmlformats-officedocument.presentationml.slide+xml"/>
  <Override PartName="/ppt/tags/tag260.xml" ContentType="application/vnd.openxmlformats-officedocument.presentationml.tags+xml"/>
  <Override PartName="/ppt/slideLayouts/slideLayout219.xml" ContentType="application/vnd.openxmlformats-officedocument.presentationml.slideLayout+xml"/>
  <Override PartName="/ppt/tags/tag1084.xml" ContentType="application/vnd.openxmlformats-officedocument.presentationml.tags+xml"/>
  <Override PartName="/ppt/tags/tag1270.xml" ContentType="application/vnd.openxmlformats-officedocument.presentationml.tags+xml"/>
  <Override PartName="/ppt/theme/theme48.xml" ContentType="application/vnd.openxmlformats-officedocument.theme+xml"/>
  <Override PartName="/ppt/tags/tag1762.xml" ContentType="application/vnd.openxmlformats-officedocument.presentationml.tags+xml"/>
  <Override PartName="/ppt/tags/tag2056.xml" ContentType="application/vnd.openxmlformats-officedocument.presentationml.tags+xml"/>
  <Override PartName="/ppt/slideLayouts/slideLayout21.xml" ContentType="application/vnd.openxmlformats-officedocument.presentationml.slideLayout+xml"/>
  <Override PartName="/ppt/tags/tag667.xml" ContentType="application/vnd.openxmlformats-officedocument.presentationml.tags+xml"/>
  <Override PartName="/ppt/tags/tag1015.xml" ContentType="application/vnd.openxmlformats-officedocument.presentationml.tags+xml"/>
  <Override PartName="/ppt/slideLayouts/slideLayout389.xml" ContentType="application/vnd.openxmlformats-officedocument.presentationml.slideLayout+xml"/>
  <Override PartName="/ppt/slideLayouts/slideLayout405.xml" ContentType="application/vnd.openxmlformats-officedocument.presentationml.slideLayout+xml"/>
  <Override PartName="/ppt/tags/tag1507.xml" ContentType="application/vnd.openxmlformats-officedocument.presentationml.tags+xml"/>
  <Override PartName="/ppt/notesSlides/notesSlide13.xml" ContentType="application/vnd.openxmlformats-officedocument.presentationml.notesSlide+xml"/>
  <Override PartName="/ppt/tags/tag175.xml" ContentType="application/vnd.openxmlformats-officedocument.presentationml.tags+xml"/>
  <Override PartName="/ppt/tags/tag853.xml" ContentType="application/vnd.openxmlformats-officedocument.presentationml.tags+xml"/>
  <Override PartName="/ppt/tags/tag1185.xml" ContentType="application/vnd.openxmlformats-officedocument.presentationml.tags+xml"/>
  <Override PartName="/ppt/tags/tag1201.xml" ContentType="application/vnd.openxmlformats-officedocument.presentationml.tags+xml"/>
  <Override PartName="/ppt/tags/tag1677.xml" ContentType="application/vnd.openxmlformats-officedocument.presentationml.tags+xml"/>
  <Override PartName="/ppt/tags/tag1863.xml" ContentType="application/vnd.openxmlformats-officedocument.presentationml.tags+xml"/>
  <Override PartName="/ppt/slideLayouts/slideLayout575.xml" ContentType="application/vnd.openxmlformats-officedocument.presentationml.slideLayout+xml"/>
  <Override PartName="/ppt/tags/tag60.xml" ContentType="application/vnd.openxmlformats-officedocument.presentationml.tags+xml"/>
  <Override PartName="/ppt/tags/tag361.xml" ContentType="application/vnd.openxmlformats-officedocument.presentationml.tags+xml"/>
  <Override PartName="/ppt/tags/tag1371.xml" ContentType="application/vnd.openxmlformats-officedocument.presentationml.tags+xml"/>
  <Override PartName="/ppt/tags/tag1608.xml" ContentType="application/vnd.openxmlformats-officedocument.presentationml.tags+xml"/>
  <Override PartName="/ppt/slideLayouts/slideLayout506.xml" ContentType="application/vnd.openxmlformats-officedocument.presentationml.slideLayout+xml"/>
  <Override PartName="/ppt/tags/tag2157.xml" ContentType="application/vnd.openxmlformats-officedocument.presentationml.tags+xml"/>
  <Override PartName="/ppt/tags/tag106.xml" ContentType="application/vnd.openxmlformats-officedocument.presentationml.tags+xml"/>
  <Override PartName="/ppt/tags/tag768.xml" ContentType="application/vnd.openxmlformats-officedocument.presentationml.tags+xml"/>
  <Override PartName="/ppt/tags/tag1116.xml" ContentType="application/vnd.openxmlformats-officedocument.presentationml.tags+xml"/>
  <Override PartName="/ppt/tags/tag1778.xml" ContentType="application/vnd.openxmlformats-officedocument.presentationml.tags+xml"/>
  <Override PartName="/ppt/slides/slide38.xml" ContentType="application/vnd.openxmlformats-officedocument.presentationml.slide+xml"/>
  <Override PartName="/ppt/tags/tag276.xml" ContentType="application/vnd.openxmlformats-officedocument.presentationml.tags+xml"/>
  <Override PartName="/ppt/tags/tag462.xml" ContentType="application/vnd.openxmlformats-officedocument.presentationml.tags+xml"/>
  <Override PartName="/ppt/slideLayouts/slideLayout184.xml" ContentType="application/vnd.openxmlformats-officedocument.presentationml.slideLayout+xml"/>
  <Override PartName="/ppt/slideLayouts/slideLayout200.xml" ContentType="application/vnd.openxmlformats-officedocument.presentationml.slideLayout+xml"/>
  <Override PartName="/ppt/tags/tag954.xml" ContentType="application/vnd.openxmlformats-officedocument.presentationml.tags+xml"/>
  <Override PartName="/ppt/tags/tag1286.xml" ContentType="application/vnd.openxmlformats-officedocument.presentationml.tags+xml"/>
  <Override PartName="/ppt/tags/tag1302.xml" ContentType="application/vnd.openxmlformats-officedocument.presentationml.tags+xml"/>
  <Override PartName="/ppt/tags/tag1964.xml" ContentType="application/vnd.openxmlformats-officedocument.presentationml.tags+xml"/>
  <Override PartName="/ppt/slideLayouts/slideLayout37.xml" ContentType="application/vnd.openxmlformats-officedocument.presentationml.slideLayout+xml"/>
  <Override PartName="/ppt/tags/tag207.xml" ContentType="application/vnd.openxmlformats-officedocument.presentationml.tags+xml"/>
  <Override PartName="/ppt/slideLayouts/slideLayout370.xml" ContentType="application/vnd.openxmlformats-officedocument.presentationml.slideLayout+xml"/>
  <Override PartName="/ppt/tags/tag1472.xml" ContentType="application/vnd.openxmlformats-officedocument.presentationml.tags+xml"/>
  <Override PartName="/ppt/tags/tag1709.xml" ContentType="application/vnd.openxmlformats-officedocument.presentationml.tags+xml"/>
  <Override PartName="/ppt/slideLayouts/slideLayout607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ags/tag869.xml" ContentType="application/vnd.openxmlformats-officedocument.presentationml.tags+xml"/>
  <Override PartName="/ppt/slideLayouts/slideLayout301.xml" ContentType="application/vnd.openxmlformats-officedocument.presentationml.slideLayout+xml"/>
  <Override PartName="/ppt/tags/tag1217.xml" ContentType="application/vnd.openxmlformats-officedocument.presentationml.tags+xml"/>
  <Override PartName="/ppt/tags/tag1403.xml" ContentType="application/vnd.openxmlformats-officedocument.presentationml.tags+xml"/>
  <Override PartName="/ppt/tags/tag1879.xml" ContentType="application/vnd.openxmlformats-officedocument.presentationml.tags+xml"/>
  <Override PartName="/ppt/tags/tag76.xml" ContentType="application/vnd.openxmlformats-officedocument.presentationml.tags+xml"/>
  <Override PartName="/ppt/tags/tag377.xml" ContentType="application/vnd.openxmlformats-officedocument.presentationml.tags+xml"/>
  <Override PartName="/ppt/tags/tag563.xml" ContentType="application/vnd.openxmlformats-officedocument.presentationml.tags+xml"/>
  <Override PartName="/ppt/slideLayouts/slideLayout285.xml" ContentType="application/vnd.openxmlformats-officedocument.presentationml.slideLayout+xml"/>
  <Override PartName="/ppt/tags/tag1387.xml" ContentType="application/vnd.openxmlformats-officedocument.presentationml.tags+xml"/>
  <Override PartName="/ppt/tags/tag1573.xml" ContentType="application/vnd.openxmlformats-officedocument.presentationml.tags+xml"/>
  <Override PartName="/ppt/slideMasters/slideMaster24.xml" ContentType="application/vnd.openxmlformats-officedocument.presentationml.slideMaster+xml"/>
  <Override PartName="/ppt/tags/tag308.xml" ContentType="application/vnd.openxmlformats-officedocument.presentationml.tags+xml"/>
  <Override PartName="/ppt/tags/tag1081.xml" ContentType="application/vnd.openxmlformats-officedocument.presentationml.tags+xml"/>
  <Override PartName="/ppt/theme/theme45.xml" ContentType="application/vnd.openxmlformats-officedocument.theme+xml"/>
  <Override PartName="/ppt/tags/tag1318.xml" ContentType="application/vnd.openxmlformats-officedocument.presentationml.tags+xml"/>
  <Override PartName="/ppt/slideLayouts/slideLayout471.xml" ContentType="application/vnd.openxmlformats-officedocument.presentationml.slideLayout+xml"/>
  <Override PartName="/ppt/tags/tag478.xml" ContentType="application/vnd.openxmlformats-officedocument.presentationml.tags+xml"/>
  <Override PartName="/ppt/slideLayouts/slideLayout216.xml" ContentType="application/vnd.openxmlformats-officedocument.presentationml.slideLayout+xml"/>
  <Override PartName="/ppt/slideLayouts/slideLayout402.xml" ContentType="application/vnd.openxmlformats-officedocument.presentationml.slideLayout+xml"/>
  <Override PartName="/ppt/tags/tag1504.xml" ContentType="application/vnd.openxmlformats-officedocument.presentationml.tags+xml"/>
  <Override PartName="/ppt/tags/tag2053.xml" ContentType="application/vnd.openxmlformats-officedocument.presentationml.tags+xml"/>
  <Override PartName="/ppt/tags/tag664.xml" ContentType="application/vnd.openxmlformats-officedocument.presentationml.tags+xml"/>
  <Override PartName="/ppt/tags/tag850.xml" ContentType="application/vnd.openxmlformats-officedocument.presentationml.tags+xml"/>
  <Override PartName="/ppt/tags/tag1012.xml" ContentType="application/vnd.openxmlformats-officedocument.presentationml.tags+xml"/>
  <Override PartName="/ppt/slideLayouts/slideLayout386.xml" ContentType="application/vnd.openxmlformats-officedocument.presentationml.slideLayout+xml"/>
  <Override PartName="/ppt/tags/tag1488.xml" ContentType="application/vnd.openxmlformats-officedocument.presentationml.tags+xml"/>
  <Override PartName="/ppt/tags/tag1674.xml" ContentType="application/vnd.openxmlformats-officedocument.presentationml.tags+xml"/>
  <Override PartName="/ppt/slideLayouts/slideLayout572.xml" ContentType="application/vnd.openxmlformats-officedocument.presentationml.slideLayout+xml"/>
  <Override PartName="/ppt/notesSlides/notesSlide10.xml" ContentType="application/vnd.openxmlformats-officedocument.presentationml.notesSlide+xml"/>
  <Override PartName="/ppt/tags/tag172.xml" ContentType="application/vnd.openxmlformats-officedocument.presentationml.tags+xml"/>
  <Override PartName="/ppt/tags/tag409.xml" ContentType="application/vnd.openxmlformats-officedocument.presentationml.tags+xml"/>
  <Override PartName="/ppt/slideLayouts/slideLayout317.xml" ContentType="application/vnd.openxmlformats-officedocument.presentationml.slideLayout+xml"/>
  <Override PartName="/ppt/tags/tag1182.xml" ContentType="application/vnd.openxmlformats-officedocument.presentationml.tags+xml"/>
  <Override PartName="/ppt/tags/tag1419.xml" ContentType="application/vnd.openxmlformats-officedocument.presentationml.tags+xml"/>
  <Override PartName="/ppt/tags/tag1860.xml" ContentType="application/vnd.openxmlformats-officedocument.presentationml.tags+xml"/>
  <Override PartName="/ppt/tags/tag103.xml" ContentType="application/vnd.openxmlformats-officedocument.presentationml.tags+xml"/>
  <Override PartName="/ppt/tags/tag579.xml" ContentType="application/vnd.openxmlformats-officedocument.presentationml.tags+xml"/>
  <Override PartName="/ppt/tags/tag1113.xml" ContentType="application/vnd.openxmlformats-officedocument.presentationml.tags+xml"/>
  <Override PartName="/ppt/slideLayouts/slideLayout487.xml" ContentType="application/vnd.openxmlformats-officedocument.presentationml.slideLayout+xml"/>
  <Override PartName="/ppt/tags/tag1589.xml" ContentType="application/vnd.openxmlformats-officedocument.presentationml.tags+xml"/>
  <Override PartName="/ppt/tags/tag1605.xml" ContentType="application/vnd.openxmlformats-officedocument.presentationml.tags+xml"/>
  <Override PartName="/ppt/slideLayouts/slideLayout503.xml" ContentType="application/vnd.openxmlformats-officedocument.presentationml.slideLayout+xml"/>
  <Override PartName="/ppt/tags/tag2154.xml" ContentType="application/vnd.openxmlformats-officedocument.presentationml.tags+xml"/>
  <Override PartName="/ppt/tags/tag273.xml" ContentType="application/vnd.openxmlformats-officedocument.presentationml.tags+xml"/>
  <Override PartName="/ppt/tags/tag765.xml" ContentType="application/vnd.openxmlformats-officedocument.presentationml.tags+xml"/>
  <Override PartName="/ppt/tags/tag951.xml" ContentType="application/vnd.openxmlformats-officedocument.presentationml.tags+xml"/>
  <Override PartName="/ppt/tags/tag1097.xml" ContentType="application/vnd.openxmlformats-officedocument.presentationml.tags+xml"/>
  <Override PartName="/ppt/tags/tag1775.xml" ContentType="application/vnd.openxmlformats-officedocument.presentationml.tags+xml"/>
  <Override PartName="/ppt/tags/tag1961.xml" ContentType="application/vnd.openxmlformats-officedocument.presentationml.tags+xml"/>
  <Override PartName="/ppt/slides/slide35.xml" ContentType="application/vnd.openxmlformats-officedocument.presentationml.slide+xml"/>
  <Override PartName="/ppt/slideLayouts/slideLayout34.xml" ContentType="application/vnd.openxmlformats-officedocument.presentationml.slideLayout+xml"/>
  <Override PartName="/ppt/slideLayouts/slideLayout181.xml" ContentType="application/vnd.openxmlformats-officedocument.presentationml.slideLayout+xml"/>
  <Override PartName="/ppt/tags/tag1283.xml" ContentType="application/vnd.openxmlformats-officedocument.presentationml.tags+xml"/>
  <Override PartName="/ppt/slideLayouts/slideLayout418.xml" ContentType="application/vnd.openxmlformats-officedocument.presentationml.slideLayout+xml"/>
  <Override PartName="/ppt/tags/tag1706.xml" ContentType="application/vnd.openxmlformats-officedocument.presentationml.tags+xml"/>
  <Override PartName="/ppt/tags/tag2069.xml" ContentType="application/vnd.openxmlformats-officedocument.presentationml.tags+xml"/>
  <Override PartName="/ppt/tags/tag188.xml" ContentType="application/vnd.openxmlformats-officedocument.presentationml.tags+xml"/>
  <Override PartName="/ppt/tags/tag204.xml" ContentType="application/vnd.openxmlformats-officedocument.presentationml.tags+xml"/>
  <Override PartName="/ppt/slideLayouts/slideLayout112.xml" ContentType="application/vnd.openxmlformats-officedocument.presentationml.slideLayout+xml"/>
  <Override PartName="/ppt/tags/tag866.xml" ContentType="application/vnd.openxmlformats-officedocument.presentationml.tags+xml"/>
  <Override PartName="/ppt/tags/tag1028.xml" ContentType="application/vnd.openxmlformats-officedocument.presentationml.tags+xml"/>
  <Override PartName="/ppt/tags/tag1214.xml" ContentType="application/vnd.openxmlformats-officedocument.presentationml.tags+xml"/>
  <Override PartName="/ppt/slideLayouts/slideLayout588.xml" ContentType="application/vnd.openxmlformats-officedocument.presentationml.slideLayout+xml"/>
  <Override PartName="/ppt/slideLayouts/slideLayout604.xml" ContentType="application/vnd.openxmlformats-officedocument.presentationml.slideLayout+xml"/>
  <Override PartName="/ppt/tags/tag73.xml" ContentType="application/vnd.openxmlformats-officedocument.presentationml.tags+xml"/>
  <Override PartName="/ppt/tags/tag374.xml" ContentType="application/vnd.openxmlformats-officedocument.presentationml.tags+xml"/>
  <Override PartName="/ppt/tags/tag1198.xml" ContentType="application/vnd.openxmlformats-officedocument.presentationml.tags+xml"/>
  <Override PartName="/ppt/tags/tag1384.xml" ContentType="application/vnd.openxmlformats-officedocument.presentationml.tags+xml"/>
  <Override PartName="/ppt/tags/tag1400.xml" ContentType="application/vnd.openxmlformats-officedocument.presentationml.tags+xml"/>
  <Override PartName="/ppt/tags/tag1876.xml" ContentType="application/vnd.openxmlformats-officedocument.presentationml.tags+xml"/>
  <Override PartName="/ppt/slideMasters/slideMaster21.xml" ContentType="application/vnd.openxmlformats-officedocument.presentationml.slideMaster+xml"/>
  <Override PartName="/ppt/tags/tag119.xml" ContentType="application/vnd.openxmlformats-officedocument.presentationml.tags+xml"/>
  <Override PartName="/ppt/tags/tag560.xml" ContentType="application/vnd.openxmlformats-officedocument.presentationml.tags+xml"/>
  <Override PartName="/ppt/slideLayouts/slideLayout282.xml" ContentType="application/vnd.openxmlformats-officedocument.presentationml.slideLayout+xml"/>
  <Override PartName="/ppt/tags/tag1129.xml" ContentType="application/vnd.openxmlformats-officedocument.presentationml.tags+xml"/>
  <Override PartName="/ppt/theme/theme42.xml" ContentType="application/vnd.openxmlformats-officedocument.theme+xml"/>
  <Override PartName="/ppt/tags/tag1570.xml" ContentType="application/vnd.openxmlformats-officedocument.presentationml.tags+xml"/>
  <Override PartName="/ppt/slideLayouts/slideLayout519.xml" ContentType="application/vnd.openxmlformats-officedocument.presentationml.slideLayout+xml"/>
  <Override PartName="/ppt/tags/tag1807.xml" ContentType="application/vnd.openxmlformats-officedocument.presentationml.tags+xml"/>
  <Override PartName="/ppt/theme/theme9.xml" ContentType="application/vnd.openxmlformats-officedocument.theme+xml"/>
  <Override PartName="/ppt/tags/tag289.xml" ContentType="application/vnd.openxmlformats-officedocument.presentationml.tags+xml"/>
  <Override PartName="/ppt/tags/tag305.xml" ContentType="application/vnd.openxmlformats-officedocument.presentationml.tags+xml"/>
  <Override PartName="/ppt/slideLayouts/slideLayout213.xml" ContentType="application/vnd.openxmlformats-officedocument.presentationml.slideLayout+xml"/>
  <Override PartName="/ppt/tags/tag967.xml" ContentType="application/vnd.openxmlformats-officedocument.presentationml.tags+xml"/>
  <Override PartName="/ppt/tags/tag1299.xml" ContentType="application/vnd.openxmlformats-officedocument.presentationml.tags+xml"/>
  <Override PartName="/ppt/tags/tag1315.xml" ContentType="application/vnd.openxmlformats-officedocument.presentationml.tags+xml"/>
  <Override PartName="/ppt/tags/tag1501.xml" ContentType="application/vnd.openxmlformats-officedocument.presentationml.tags+xml"/>
  <Override PartName="/ppt/tags/tag1977.xml" ContentType="application/vnd.openxmlformats-officedocument.presentationml.tags+xml"/>
  <Override PartName="/ppt/tags/tag2050.xml" ContentType="application/vnd.openxmlformats-officedocument.presentationml.tags+xml"/>
  <Override PartName="/ppt/tags/tag475.xml" ContentType="application/vnd.openxmlformats-officedocument.presentationml.tags+xml"/>
  <Override PartName="/ppt/slideLayouts/slideLayout197.xml" ContentType="application/vnd.openxmlformats-officedocument.presentationml.slideLayout+xml"/>
  <Override PartName="/ppt/tags/tag661.xml" ContentType="application/vnd.openxmlformats-officedocument.presentationml.tags+xml"/>
  <Override PartName="/ppt/slideLayouts/slideLayout383.xml" ContentType="application/vnd.openxmlformats-officedocument.presentationml.slideLayout+xml"/>
  <Override PartName="/ppt/tags/tag1485.xml" ContentType="application/vnd.openxmlformats-officedocument.presentationml.tags+xml"/>
  <Override PartName="/ppt/slideLayouts/slideLayout128.xml" ContentType="application/vnd.openxmlformats-officedocument.presentationml.slideLayout+xml"/>
  <Override PartName="/ppt/tags/tag406.xml" ContentType="application/vnd.openxmlformats-officedocument.presentationml.tags+xml"/>
  <Override PartName="/ppt/tags/tag1671.xml" ContentType="application/vnd.openxmlformats-officedocument.presentationml.tags+xml"/>
  <Override PartName="/ppt/tags/tag1908.xml" ContentType="application/vnd.openxmlformats-officedocument.presentationml.tags+xml"/>
  <Override PartName="/ppt/tags/tag89.xml" ContentType="application/vnd.openxmlformats-officedocument.presentationml.tags+xml"/>
  <Override PartName="/ppt/tags/tag576.xml" ContentType="application/vnd.openxmlformats-officedocument.presentationml.tags+xml"/>
  <Override PartName="/ppt/slideLayouts/slideLayout298.xml" ContentType="application/vnd.openxmlformats-officedocument.presentationml.slideLayout+xml"/>
  <Override PartName="/ppt/slideLayouts/slideLayout314.xml" ContentType="application/vnd.openxmlformats-officedocument.presentationml.slideLayout+xml"/>
  <Override PartName="/ppt/tags/tag1416.xml" ContentType="application/vnd.openxmlformats-officedocument.presentationml.tags+xml"/>
  <Override PartName="/ppt/tags/tag1602.xml" ContentType="application/vnd.openxmlformats-officedocument.presentationml.tags+xml"/>
  <Override PartName="/ppt/slideLayouts/slideLayout500.xml" ContentType="application/vnd.openxmlformats-officedocument.presentationml.slideLayout+xml"/>
  <Override PartName="/ppt/tags/tag2151.xml" ContentType="application/vnd.openxmlformats-officedocument.presentationml.tags+xml"/>
  <Override PartName="/ppt/slideMasters/slideMaster37.xml" ContentType="application/vnd.openxmlformats-officedocument.presentationml.slideMaster+xml"/>
  <Override PartName="/ppt/tags/tag100.xml" ContentType="application/vnd.openxmlformats-officedocument.presentationml.tags+xml"/>
  <Override PartName="/ppt/tags/tag762.xml" ContentType="application/vnd.openxmlformats-officedocument.presentationml.tags+xml"/>
  <Override PartName="/ppt/tags/tag1094.xml" ContentType="application/vnd.openxmlformats-officedocument.presentationml.tags+xml"/>
  <Override PartName="/ppt/tags/tag1110.xml" ContentType="application/vnd.openxmlformats-officedocument.presentationml.tags+xml"/>
  <Override PartName="/ppt/slideLayouts/slideLayout484.xml" ContentType="application/vnd.openxmlformats-officedocument.presentationml.slideLayout+xml"/>
  <Override PartName="/ppt/tags/tag1586.xml" ContentType="application/vnd.openxmlformats-officedocument.presentationml.tags+xml"/>
  <Override PartName="/ppt/theme/theme58.xml" ContentType="application/vnd.openxmlformats-officedocument.theme+xml"/>
  <Override PartName="/ppt/tags/tag1772.xml" ContentType="application/vnd.openxmlformats-officedocument.presentationml.tags+xml"/>
  <Override PartName="/ppt/slides/slide32.xml" ContentType="application/vnd.openxmlformats-officedocument.presentationml.slide+xml"/>
  <Override PartName="/ppt/tags/tag270.xml" ContentType="application/vnd.openxmlformats-officedocument.presentationml.tags+xml"/>
  <Override PartName="/ppt/tags/tag507.xml" ContentType="application/vnd.openxmlformats-officedocument.presentationml.tags+xml"/>
  <Override PartName="/ppt/slideLayouts/slideLayout229.xml" ContentType="application/vnd.openxmlformats-officedocument.presentationml.slideLayout+xml"/>
  <Override PartName="/ppt/tags/tag1280.xml" ContentType="application/vnd.openxmlformats-officedocument.presentationml.tags+xml"/>
  <Override PartName="/ppt/slideLayouts/slideLayout415.xml" ContentType="application/vnd.openxmlformats-officedocument.presentationml.slideLayout+xml"/>
  <Override PartName="/ppt/tags/tag1517.xml" ContentType="application/vnd.openxmlformats-officedocument.presentationml.tags+xml"/>
  <Override PartName="/ppt/tags/tag2066.xml" ContentType="application/vnd.openxmlformats-officedocument.presentationml.tags+xml"/>
  <Override PartName="/ppt/slideLayouts/slideLayout31.xml" ContentType="application/vnd.openxmlformats-officedocument.presentationml.slideLayout+xml"/>
  <Override PartName="/ppt/tags/tag201.xml" ContentType="application/vnd.openxmlformats-officedocument.presentationml.tags+xml"/>
  <Override PartName="/ppt/tags/tag677.xml" ContentType="application/vnd.openxmlformats-officedocument.presentationml.tags+xml"/>
  <Override PartName="/ppt/tags/tag1025.xml" ContentType="application/vnd.openxmlformats-officedocument.presentationml.tags+xml"/>
  <Override PartName="/ppt/slideLayouts/slideLayout399.xml" ContentType="application/vnd.openxmlformats-officedocument.presentationml.slideLayout+xml"/>
  <Override PartName="/ppt/tags/tag1687.xml" ContentType="application/vnd.openxmlformats-officedocument.presentationml.tags+xml"/>
  <Override PartName="/ppt/tags/tag1703.xml" ContentType="application/vnd.openxmlformats-officedocument.presentationml.tags+xml"/>
  <Override PartName="/ppt/slideLayouts/slideLayout601.xml" ContentType="application/vnd.openxmlformats-officedocument.presentationml.slideLayout+xml"/>
  <Override PartName="/ppt/notesSlides/notesSlide23.xml" ContentType="application/vnd.openxmlformats-officedocument.presentationml.notesSlide+xml"/>
  <Override PartName="/ppt/tags/tag185.xml" ContentType="application/vnd.openxmlformats-officedocument.presentationml.tags+xml"/>
  <Override PartName="/ppt/tags/tag371.xml" ContentType="application/vnd.openxmlformats-officedocument.presentationml.tags+xml"/>
  <Override PartName="/ppt/tags/tag863.xml" ContentType="application/vnd.openxmlformats-officedocument.presentationml.tags+xml"/>
  <Override PartName="/ppt/tags/tag1195.xml" ContentType="application/vnd.openxmlformats-officedocument.presentationml.tags+xml"/>
  <Override PartName="/ppt/tags/tag1211.xml" ContentType="application/vnd.openxmlformats-officedocument.presentationml.tags+xml"/>
  <Override PartName="/ppt/tags/tag1873.xml" ContentType="application/vnd.openxmlformats-officedocument.presentationml.tags+xml"/>
  <Override PartName="/ppt/slideLayouts/slideLayout585.xml" ContentType="application/vnd.openxmlformats-officedocument.presentationml.slideLayout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608.xml" ContentType="application/vnd.openxmlformats-officedocument.presentationml.tags+xml"/>
  <Override PartName="/ppt/tags/tag1381.xml" ContentType="application/vnd.openxmlformats-officedocument.presentationml.tags+xml"/>
  <Override PartName="/ppt/tags/tag1618.xml" ContentType="application/vnd.openxmlformats-officedocument.presentationml.tags+xml"/>
  <Override PartName="/ppt/slideLayouts/slideLayout516.xml" ContentType="application/vnd.openxmlformats-officedocument.presentationml.slideLayout+xml"/>
  <Override PartName="/ppt/tags/tag1804.xml" ContentType="application/vnd.openxmlformats-officedocument.presentationml.tags+xml"/>
  <Override PartName="/ppt/tags/tag2167.xml" ContentType="application/vnd.openxmlformats-officedocument.presentationml.tags+xml"/>
  <Override PartName="/ppt/theme/theme6.xml" ContentType="application/vnd.openxmlformats-officedocument.theme+xml"/>
  <Override PartName="/ppt/tags/tag302.xml" ContentType="application/vnd.openxmlformats-officedocument.presentationml.tags+xml"/>
  <Override PartName="/ppt/slideLayouts/slideLayout210.xml" ContentType="application/vnd.openxmlformats-officedocument.presentationml.slideLayout+xml"/>
  <Override PartName="/ppt/tags/tag778.xml" ContentType="application/vnd.openxmlformats-officedocument.presentationml.tags+xml"/>
  <Override PartName="/ppt/tags/tag964.xml" ContentType="application/vnd.openxmlformats-officedocument.presentationml.tags+xml"/>
  <Override PartName="/ppt/tags/tag1126.xml" ContentType="application/vnd.openxmlformats-officedocument.presentationml.tags+xml"/>
  <Override PartName="/ppt/tags/tag1312.xml" ContentType="application/vnd.openxmlformats-officedocument.presentationml.tags+xml"/>
  <Override PartName="/ppt/tags/tag1788.xml" ContentType="application/vnd.openxmlformats-officedocument.presentationml.tags+xml"/>
  <Override PartName="/ppt/tags/tag286.xml" ContentType="application/vnd.openxmlformats-officedocument.presentationml.tags+xml"/>
  <Override PartName="/ppt/tags/tag472.xml" ContentType="application/vnd.openxmlformats-officedocument.presentationml.tags+xml"/>
  <Override PartName="/ppt/slideLayouts/slideLayout194.xml" ContentType="application/vnd.openxmlformats-officedocument.presentationml.slideLayout+xml"/>
  <Override PartName="/ppt/tags/tag709.xml" ContentType="application/vnd.openxmlformats-officedocument.presentationml.tags+xml"/>
  <Override PartName="/ppt/tags/tag1296.xml" ContentType="application/vnd.openxmlformats-officedocument.presentationml.tags+xml"/>
  <Override PartName="/ppt/tags/tag1482.xml" ContentType="application/vnd.openxmlformats-officedocument.presentationml.tags+xml"/>
  <Override PartName="/ppt/tags/tag1974.xml" ContentType="application/vnd.openxmlformats-officedocument.presentationml.tags+xml"/>
  <Override PartName="/ppt/slideLayouts/slideLayout47.xml" ContentType="application/vnd.openxmlformats-officedocument.presentationml.slideLayout+xml"/>
  <Override PartName="/ppt/tags/tag217.xml" ContentType="application/vnd.openxmlformats-officedocument.presentationml.tags+xml"/>
  <Override PartName="/ppt/slideLayouts/slideLayout380.xml" ContentType="application/vnd.openxmlformats-officedocument.presentationml.slideLayout+xml"/>
  <Override PartName="/ppt/tags/tag1227.xml" ContentType="application/vnd.openxmlformats-officedocument.presentationml.tags+xml"/>
  <Override PartName="/ppt/tags/tag1719.xml" ContentType="application/vnd.openxmlformats-officedocument.presentationml.tags+xml"/>
  <Override PartName="/ppt/tags/tag1905.xml" ContentType="application/vnd.openxmlformats-officedocument.presentationml.tags+xml"/>
  <Override PartName="/ppt/slideLayouts/slideLayout617.xml" ContentType="application/vnd.openxmlformats-officedocument.presentationml.slideLayout+xml"/>
  <Override PartName="/ppt/tags/tag86.xml" ContentType="application/vnd.openxmlformats-officedocument.presentationml.tags+xml"/>
  <Override PartName="/ppt/slideLayouts/slideLayout125.xml" ContentType="application/vnd.openxmlformats-officedocument.presentationml.slideLayout+xml"/>
  <Override PartName="/ppt/tags/tag387.xml" ContentType="application/vnd.openxmlformats-officedocument.presentationml.tags+xml"/>
  <Override PartName="/ppt/tags/tag403.xml" ContentType="application/vnd.openxmlformats-officedocument.presentationml.tags+xml"/>
  <Override PartName="/ppt/tags/tag879.xml" ContentType="application/vnd.openxmlformats-officedocument.presentationml.tags+xml"/>
  <Override PartName="/ppt/slideLayouts/slideLayout311.xml" ContentType="application/vnd.openxmlformats-officedocument.presentationml.slideLayout+xml"/>
  <Override PartName="/ppt/tags/tag1413.xml" ContentType="application/vnd.openxmlformats-officedocument.presentationml.tags+xml"/>
  <Override PartName="/ppt/tags/tag1889.xml" ContentType="application/vnd.openxmlformats-officedocument.presentationml.tags+xml"/>
  <Override PartName="/ppt/slideMasters/slideMaster34.xml" ContentType="application/vnd.openxmlformats-officedocument.presentationml.slideMaster+xml"/>
  <Override PartName="/ppt/tags/tag573.xml" ContentType="application/vnd.openxmlformats-officedocument.presentationml.tags+xml"/>
  <Override PartName="/ppt/slideLayouts/slideLayout295.xml" ContentType="application/vnd.openxmlformats-officedocument.presentationml.slideLayout+xml"/>
  <Override PartName="/ppt/tags/tag1397.xml" ContentType="application/vnd.openxmlformats-officedocument.presentationml.tags+xml"/>
  <Override PartName="/ppt/slideLayouts/slideLayout481.xml" ContentType="application/vnd.openxmlformats-officedocument.presentationml.slideLayout+xml"/>
  <Override PartName="/ppt/tags/tag1583.xml" ContentType="application/vnd.openxmlformats-officedocument.presentationml.tags+xml"/>
  <Override PartName="/ppt/tags/tag17.xml" ContentType="application/vnd.openxmlformats-officedocument.presentationml.tags+xml"/>
  <Override PartName="/ppt/tags/tag318.xml" ContentType="application/vnd.openxmlformats-officedocument.presentationml.tags+xml"/>
  <Override PartName="/ppt/tags/tag504.xml" ContentType="application/vnd.openxmlformats-officedocument.presentationml.tags+xml"/>
  <Override PartName="/ppt/slideLayouts/slideLayout226.xml" ContentType="application/vnd.openxmlformats-officedocument.presentationml.slideLayout+xml"/>
  <Override PartName="/ppt/tags/tag1091.xml" ContentType="application/vnd.openxmlformats-officedocument.presentationml.tags+xml"/>
  <Override PartName="/ppt/tags/tag1328.xml" ContentType="application/vnd.openxmlformats-officedocument.presentationml.tags+xml"/>
  <Override PartName="/ppt/theme/theme55.xml" ContentType="application/vnd.openxmlformats-officedocument.theme+xml"/>
  <Override PartName="/ppt/tags/tag488.xml" ContentType="application/vnd.openxmlformats-officedocument.presentationml.tags+xml"/>
  <Override PartName="/ppt/tags/tag1022.xml" ContentType="application/vnd.openxmlformats-officedocument.presentationml.tags+xml"/>
  <Override PartName="/ppt/slideLayouts/slideLayout396.xml" ContentType="application/vnd.openxmlformats-officedocument.presentationml.slideLayout+xml"/>
  <Override PartName="/ppt/slideLayouts/slideLayout412.xml" ContentType="application/vnd.openxmlformats-officedocument.presentationml.slideLayout+xml"/>
  <Override PartName="/ppt/tags/tag1498.xml" ContentType="application/vnd.openxmlformats-officedocument.presentationml.tags+xml"/>
  <Override PartName="/ppt/tags/tag1514.xml" ContentType="application/vnd.openxmlformats-officedocument.presentationml.tags+xml"/>
  <Override PartName="/ppt/tags/tag1700.xml" ContentType="application/vnd.openxmlformats-officedocument.presentationml.tags+xml"/>
  <Override PartName="/ppt/tags/tag2063.xml" ContentType="application/vnd.openxmlformats-officedocument.presentationml.tags+xml"/>
  <Override PartName="/ppt/notesSlides/notesSlide20.xml" ContentType="application/vnd.openxmlformats-officedocument.presentationml.notesSlide+xml"/>
  <Override PartName="/ppt/tags/tag182.xml" ContentType="application/vnd.openxmlformats-officedocument.presentationml.tags+xml"/>
  <Override PartName="/ppt/tags/tag674.xml" ContentType="application/vnd.openxmlformats-officedocument.presentationml.tags+xml"/>
  <Override PartName="/ppt/tags/tag860.xml" ContentType="application/vnd.openxmlformats-officedocument.presentationml.tags+xml"/>
  <Override PartName="/ppt/tags/tag1684.xml" ContentType="application/vnd.openxmlformats-officedocument.presentationml.tags+xml"/>
  <Override PartName="/ppt/tags/tag1870.xml" ContentType="application/vnd.openxmlformats-officedocument.presentationml.tags+xml"/>
  <Override PartName="/ppt/slideLayouts/slideLayout582.xml" ContentType="application/vnd.openxmlformats-officedocument.presentationml.slideLayout+xml"/>
  <Override PartName="/ppt/tags/tag419.xml" ContentType="application/vnd.openxmlformats-officedocument.presentationml.tags+xml"/>
  <Override PartName="/ppt/tags/tag605.xml" ContentType="application/vnd.openxmlformats-officedocument.presentationml.tags+xml"/>
  <Override PartName="/ppt/slideLayouts/slideLayout327.xml" ContentType="application/vnd.openxmlformats-officedocument.presentationml.slideLayout+xml"/>
  <Override PartName="/ppt/tags/tag1192.xml" ContentType="application/vnd.openxmlformats-officedocument.presentationml.tags+xml"/>
  <Override PartName="/ppt/tags/tag1429.xml" ContentType="application/vnd.openxmlformats-officedocument.presentationml.tags+xml"/>
  <Override PartName="/ppt/tags/tag1615.xml" ContentType="application/vnd.openxmlformats-officedocument.presentationml.tags+xml"/>
  <Override PartName="/ppt/tags/tag2164.xml" ContentType="application/vnd.openxmlformats-officedocument.presentationml.tags+xml"/>
  <Override PartName="/ppt/tags/tag113.xml" ContentType="application/vnd.openxmlformats-officedocument.presentationml.tags+xml"/>
  <Override PartName="/ppt/tags/tag589.xml" ContentType="application/vnd.openxmlformats-officedocument.presentationml.tags+xml"/>
  <Override PartName="/ppt/tags/tag775.xml" ContentType="application/vnd.openxmlformats-officedocument.presentationml.tags+xml"/>
  <Override PartName="/ppt/tags/tag1123.xml" ContentType="application/vnd.openxmlformats-officedocument.presentationml.tags+xml"/>
  <Override PartName="/ppt/tags/tag1599.xml" ContentType="application/vnd.openxmlformats-officedocument.presentationml.tags+xml"/>
  <Override PartName="/ppt/slideLayouts/slideLayout497.xml" ContentType="application/vnd.openxmlformats-officedocument.presentationml.slideLayout+xml"/>
  <Override PartName="/ppt/slideLayouts/slideLayout513.xml" ContentType="application/vnd.openxmlformats-officedocument.presentationml.slideLayout+xml"/>
  <Override PartName="/ppt/tags/tag1801.xml" ContentType="application/vnd.openxmlformats-officedocument.presentationml.tags+xml"/>
  <Override PartName="/ppt/theme/theme3.xml" ContentType="application/vnd.openxmlformats-officedocument.theme+xml"/>
  <Override PartName="/ppt/tags/tag283.xml" ContentType="application/vnd.openxmlformats-officedocument.presentationml.tags+xml"/>
  <Override PartName="/ppt/tags/tag961.xml" ContentType="application/vnd.openxmlformats-officedocument.presentationml.tags+xml"/>
  <Override PartName="/ppt/tags/tag1293.xml" ContentType="application/vnd.openxmlformats-officedocument.presentationml.tags+xml"/>
  <Override PartName="/ppt/tags/tag1785.xml" ContentType="application/vnd.openxmlformats-officedocument.presentationml.tags+xml"/>
  <Override PartName="/ppt/tags/tag1971.xml" ContentType="application/vnd.openxmlformats-officedocument.presentationml.tags+xml"/>
  <Override PartName="/ppt/tags/tag2079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191.xml" ContentType="application/vnd.openxmlformats-officedocument.presentationml.slideLayout+xml"/>
  <Override PartName="/ppt/tags/tag706.xml" ContentType="application/vnd.openxmlformats-officedocument.presentationml.tags+xml"/>
  <Override PartName="/ppt/tags/tag1038.xml" ContentType="application/vnd.openxmlformats-officedocument.presentationml.tags+xml"/>
  <Override PartName="/ppt/slideLayouts/slideLayout428.xml" ContentType="application/vnd.openxmlformats-officedocument.presentationml.slideLayout+xml"/>
  <Override PartName="/ppt/tags/tag1716.xml" ContentType="application/vnd.openxmlformats-officedocument.presentationml.tags+xml"/>
  <Override PartName="/ppt/slideLayouts/slideLayout614.xml" ContentType="application/vnd.openxmlformats-officedocument.presentationml.slideLayout+xml"/>
  <Override PartName="/ppt/tags/tag198.xml" ContentType="application/vnd.openxmlformats-officedocument.presentationml.tags+xml"/>
  <Override PartName="/ppt/tags/tag214.xml" ContentType="application/vnd.openxmlformats-officedocument.presentationml.tags+xml"/>
  <Override PartName="/ppt/slideLayouts/slideLayout122.xml" ContentType="application/vnd.openxmlformats-officedocument.presentationml.slideLayout+xml"/>
  <Override PartName="/ppt/tags/tag400.xml" ContentType="application/vnd.openxmlformats-officedocument.presentationml.tags+xml"/>
  <Override PartName="/ppt/tags/tag876.xml" ContentType="application/vnd.openxmlformats-officedocument.presentationml.tags+xml"/>
  <Override PartName="/ppt/tags/tag1224.xml" ContentType="application/vnd.openxmlformats-officedocument.presentationml.tags+xml"/>
  <Override PartName="/ppt/tags/tag1410.xml" ContentType="application/vnd.openxmlformats-officedocument.presentationml.tags+xml"/>
  <Override PartName="/ppt/tags/tag1886.xml" ContentType="application/vnd.openxmlformats-officedocument.presentationml.tags+xml"/>
  <Override PartName="/ppt/tags/tag1902.xml" ContentType="application/vnd.openxmlformats-officedocument.presentationml.tags+xml"/>
  <Override PartName="/ppt/slideLayouts/slideLayout598.xml" ContentType="application/vnd.openxmlformats-officedocument.presentationml.slideLayout+xml"/>
  <Override PartName="/ppt/tags/tag83.xml" ContentType="application/vnd.openxmlformats-officedocument.presentationml.tags+xml"/>
  <Override PartName="/ppt/tags/tag384.xml" ContentType="application/vnd.openxmlformats-officedocument.presentationml.tags+xml"/>
  <Override PartName="/ppt/tags/tag570.xml" ContentType="application/vnd.openxmlformats-officedocument.presentationml.tags+xml"/>
  <Override PartName="/ppt/tags/tag807.xml" ContentType="application/vnd.openxmlformats-officedocument.presentationml.tags+xml"/>
  <Override PartName="/ppt/slideLayouts/slideLayout292.xml" ContentType="application/vnd.openxmlformats-officedocument.presentationml.slideLayout+xml"/>
  <Override PartName="/ppt/tags/tag1394.xml" ContentType="application/vnd.openxmlformats-officedocument.presentationml.tags+xml"/>
  <Override PartName="/ppt/slideLayouts/slideLayout529.xml" ContentType="application/vnd.openxmlformats-officedocument.presentationml.slideLayout+xml"/>
  <Override PartName="/ppt/slideMasters/slideMaster31.xml" ContentType="application/vnd.openxmlformats-officedocument.presentationml.slideMaster+xml"/>
  <Override PartName="/ppt/tags/tag14.xml" ContentType="application/vnd.openxmlformats-officedocument.presentationml.tags+xml"/>
  <Override PartName="/ppt/tags/tag129.xml" ContentType="application/vnd.openxmlformats-officedocument.presentationml.tags+xml"/>
  <Override PartName="/ppt/tags/tag315.xml" ContentType="application/vnd.openxmlformats-officedocument.presentationml.tags+xml"/>
  <Override PartName="/ppt/tags/tag1139.xml" ContentType="application/vnd.openxmlformats-officedocument.presentationml.tags+xml"/>
  <Override PartName="/ppt/theme/theme52.xml" ContentType="application/vnd.openxmlformats-officedocument.theme+xml"/>
  <Override PartName="/ppt/tags/tag1580.xml" ContentType="application/vnd.openxmlformats-officedocument.presentationml.tags+xml"/>
  <Override PartName="/ppt/tags/tag1817.xml" ContentType="application/vnd.openxmlformats-officedocument.presentationml.tags+xml"/>
  <Override PartName="/ppt/tags/tag299.xml" ContentType="application/vnd.openxmlformats-officedocument.presentationml.tags+xml"/>
  <Override PartName="/ppt/tags/tag485.xml" ContentType="application/vnd.openxmlformats-officedocument.presentationml.tags+xml"/>
  <Override PartName="/ppt/tags/tag501.xml" ContentType="application/vnd.openxmlformats-officedocument.presentationml.tags+xml"/>
  <Override PartName="/ppt/slideLayouts/slideLayout223.xml" ContentType="application/vnd.openxmlformats-officedocument.presentationml.slideLayout+xml"/>
  <Override PartName="/ppt/tags/tag977.xml" ContentType="application/vnd.openxmlformats-officedocument.presentationml.tags+xml"/>
  <Override PartName="/ppt/tags/tag1325.xml" ContentType="application/vnd.openxmlformats-officedocument.presentationml.tags+xml"/>
  <Override PartName="/ppt/tags/tag1511.xml" ContentType="application/vnd.openxmlformats-officedocument.presentationml.tags+xml"/>
  <Override PartName="/ppt/tags/tag1987.xml" ContentType="application/vnd.openxmlformats-officedocument.presentationml.tags+xml"/>
  <Override PartName="/ppt/tags/tag2060.xml" ContentType="application/vnd.openxmlformats-officedocument.presentationml.tags+xml"/>
  <Override PartName="/ppt/tags/tag671.xml" ContentType="application/vnd.openxmlformats-officedocument.presentationml.tags+xml"/>
  <Override PartName="/ppt/tags/tag908.xml" ContentType="application/vnd.openxmlformats-officedocument.presentationml.tags+xml"/>
  <Override PartName="/ppt/slideLayouts/slideLayout393.xml" ContentType="application/vnd.openxmlformats-officedocument.presentationml.slideLayout+xml"/>
  <Override PartName="/ppt/tags/tag1495.xml" ContentType="application/vnd.openxmlformats-officedocument.presentationml.tags+xml"/>
  <Override PartName="/ppt/tags/tag1681.xml" ContentType="application/vnd.openxmlformats-officedocument.presentationml.tags+xml"/>
  <Override PartName="/ppt/tags/tag1918.xml" ContentType="application/vnd.openxmlformats-officedocument.presentationml.tags+xml"/>
  <Override PartName="/ppt/slideLayouts/slideLayout138.xml" ContentType="application/vnd.openxmlformats-officedocument.presentationml.slideLayout+xml"/>
  <Override PartName="/ppt/tags/tag416.xml" ContentType="application/vnd.openxmlformats-officedocument.presentationml.tags+xml"/>
  <Override PartName="/ppt/slideLayouts/slideLayout324.xml" ContentType="application/vnd.openxmlformats-officedocument.presentationml.slideLayout+xml"/>
  <Override PartName="/ppt/tags/tag1426.xml" ContentType="application/vnd.openxmlformats-officedocument.presentationml.tags+xml"/>
  <Override PartName="/ppt/diagrams/colors2.xml" ContentType="application/vnd.openxmlformats-officedocument.drawingml.diagramColors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586.xml" ContentType="application/vnd.openxmlformats-officedocument.presentationml.tags+xml"/>
  <Override PartName="/ppt/tags/tag602.xml" ContentType="application/vnd.openxmlformats-officedocument.presentationml.tags+xml"/>
  <Override PartName="/ppt/tags/tag1596.xml" ContentType="application/vnd.openxmlformats-officedocument.presentationml.tags+xml"/>
  <Override PartName="/ppt/tags/tag1612.xml" ContentType="application/vnd.openxmlformats-officedocument.presentationml.tags+xml"/>
  <Override PartName="/ppt/slideLayouts/slideLayout510.xml" ContentType="application/vnd.openxmlformats-officedocument.presentationml.slideLayout+xml"/>
  <Override PartName="/ppt/tags/tag2161.xml" ContentType="application/vnd.openxmlformats-officedocument.presentationml.tags+xml"/>
  <Override PartName="/ppt/slideMasters/slideMaster47.xml" ContentType="application/vnd.openxmlformats-officedocument.presentationml.slideMaster+xml"/>
  <Override PartName="/ppt/tags/tag280.xml" ContentType="application/vnd.openxmlformats-officedocument.presentationml.tags+xml"/>
  <Override PartName="/ppt/tags/tag772.xml" ContentType="application/vnd.openxmlformats-officedocument.presentationml.tags+xml"/>
  <Override PartName="/ppt/tags/tag1120.xml" ContentType="application/vnd.openxmlformats-officedocument.presentationml.tags+xml"/>
  <Override PartName="/ppt/slideLayouts/slideLayout494.xml" ContentType="application/vnd.openxmlformats-officedocument.presentationml.slideLayout+xml"/>
  <Override PartName="/ppt/tags/tag1782.xml" ContentType="application/vnd.openxmlformats-officedocument.presentationml.tags+xml"/>
  <Override PartName="/ppt/theme/theme68.xml" ContentType="application/vnd.openxmlformats-officedocument.theme+xml"/>
  <Override PartName="/ppt/slides/slide42.xml" ContentType="application/vnd.openxmlformats-officedocument.presentationml.slide+xml"/>
  <Override PartName="/ppt/slideLayouts/slideLayout41.xml" ContentType="application/vnd.openxmlformats-officedocument.presentationml.slideLayout+xml"/>
  <Override PartName="/ppt/tags/tag517.xml" ContentType="application/vnd.openxmlformats-officedocument.presentationml.tags+xml"/>
  <Override PartName="/ppt/tags/tag703.xml" ContentType="application/vnd.openxmlformats-officedocument.presentationml.tags+xml"/>
  <Override PartName="/ppt/slideLayouts/slideLayout239.xml" ContentType="application/vnd.openxmlformats-officedocument.presentationml.slideLayout+xml"/>
  <Override PartName="/ppt/tags/tag1290.xml" ContentType="application/vnd.openxmlformats-officedocument.presentationml.tags+xml"/>
  <Override PartName="/ppt/slideLayouts/slideLayout425.xml" ContentType="application/vnd.openxmlformats-officedocument.presentationml.slideLayout+xml"/>
  <Override PartName="/ppt/tags/tag1527.xml" ContentType="application/vnd.openxmlformats-officedocument.presentationml.tags+xml"/>
  <Override PartName="/ppt/tags/tag1713.xml" ContentType="application/vnd.openxmlformats-officedocument.presentationml.tags+xml"/>
  <Override PartName="/ppt/tags/tag2076.xml" ContentType="application/vnd.openxmlformats-officedocument.presentationml.tags+xml"/>
  <Override PartName="/ppt/tags/tag211.xml" ContentType="application/vnd.openxmlformats-officedocument.presentationml.tags+xml"/>
  <Override PartName="/ppt/tags/tag687.xml" ContentType="application/vnd.openxmlformats-officedocument.presentationml.tags+xml"/>
  <Override PartName="/ppt/tags/tag873.xml" ContentType="application/vnd.openxmlformats-officedocument.presentationml.tags+xml"/>
  <Override PartName="/ppt/tags/tag1035.xml" ContentType="application/vnd.openxmlformats-officedocument.presentationml.tags+xml"/>
  <Override PartName="/ppt/tags/tag1221.xml" ContentType="application/vnd.openxmlformats-officedocument.presentationml.tags+xml"/>
  <Override PartName="/ppt/tags/tag1697.xml" ContentType="application/vnd.openxmlformats-officedocument.presentationml.tags+xml"/>
  <Override PartName="/ppt/slideLayouts/slideLayout595.xml" ContentType="application/vnd.openxmlformats-officedocument.presentationml.slideLayout+xml"/>
  <Override PartName="/ppt/tags/tag2007.xml" ContentType="application/vnd.openxmlformats-officedocument.presentationml.tags+xml"/>
  <Override PartName="/ppt/slideLayouts/slideLayout611.xml" ContentType="application/vnd.openxmlformats-officedocument.presentationml.slideLayout+xml"/>
  <Override PartName="/ppt/tags/tag80.xml" ContentType="application/vnd.openxmlformats-officedocument.presentationml.tags+xml"/>
  <Override PartName="/ppt/tags/tag195.xml" ContentType="application/vnd.openxmlformats-officedocument.presentationml.tags+xml"/>
  <Override PartName="/ppt/tags/tag381.xml" ContentType="application/vnd.openxmlformats-officedocument.presentationml.tags+xml"/>
  <Override PartName="/ppt/tags/tag618.xml" ContentType="application/vnd.openxmlformats-officedocument.presentationml.tags+xml"/>
  <Override PartName="/ppt/tags/tag1391.xml" ContentType="application/vnd.openxmlformats-officedocument.presentationml.tags+xml"/>
  <Override PartName="/ppt/tags/tag1883.xml" ContentType="application/vnd.openxmlformats-officedocument.presentationml.tags+xml"/>
  <Override PartName="/ppt/tags/tag126.xml" ContentType="application/vnd.openxmlformats-officedocument.presentationml.tags+xml"/>
  <Override PartName="/ppt/tags/tag804.xml" ContentType="application/vnd.openxmlformats-officedocument.presentationml.tags+xml"/>
  <Override PartName="/ppt/tags/tag1136.xml" ContentType="application/vnd.openxmlformats-officedocument.presentationml.tags+xml"/>
  <Override PartName="/ppt/tags/tag1628.xml" ContentType="application/vnd.openxmlformats-officedocument.presentationml.tags+xml"/>
  <Override PartName="/ppt/slideLayouts/slideLayout526.xml" ContentType="application/vnd.openxmlformats-officedocument.presentationml.slideLayout+xml"/>
  <Override PartName="/ppt/tags/tag1814.xml" ContentType="application/vnd.openxmlformats-officedocument.presentationml.tags+xml"/>
  <Override PartName="/ppt/tags/tag2177.xml" ContentType="application/vnd.openxmlformats-officedocument.presentationml.tags+xml"/>
  <Override PartName="/ppt/tags/tag11.xml" ContentType="application/vnd.openxmlformats-officedocument.presentationml.tags+xml"/>
  <Override PartName="/ppt/tags/tag296.xml" ContentType="application/vnd.openxmlformats-officedocument.presentationml.tags+xml"/>
  <Override PartName="/ppt/tags/tag312.xml" ContentType="application/vnd.openxmlformats-officedocument.presentationml.tags+xml"/>
  <Override PartName="/ppt/slideLayouts/slideLayout220.xml" ContentType="application/vnd.openxmlformats-officedocument.presentationml.slideLayout+xml"/>
  <Override PartName="/ppt/tags/tag788.xml" ContentType="application/vnd.openxmlformats-officedocument.presentationml.tags+xml"/>
  <Override PartName="/ppt/tags/tag974.xml" ContentType="application/vnd.openxmlformats-officedocument.presentationml.tags+xml"/>
  <Override PartName="/ppt/tags/tag1322.xml" ContentType="application/vnd.openxmlformats-officedocument.presentationml.tags+xml"/>
  <Override PartName="/ppt/tags/tag1798.xml" ContentType="application/vnd.openxmlformats-officedocument.presentationml.tags+xml"/>
  <Override PartName="/ppt/tags/tag1984.xml" ContentType="application/vnd.openxmlformats-officedocument.presentationml.tags+xml"/>
  <Override PartName="/ppt/tags/tag2108.xml" ContentType="application/vnd.openxmlformats-officedocument.presentationml.tags+xml"/>
  <Override PartName="/ppt/slideLayouts/slideLayout57.xml" ContentType="application/vnd.openxmlformats-officedocument.presentationml.slideLayout+xml"/>
  <Override PartName="/ppt/tags/tag482.xml" ContentType="application/vnd.openxmlformats-officedocument.presentationml.tags+xml"/>
  <Override PartName="/ppt/tags/tag719.xml" ContentType="application/vnd.openxmlformats-officedocument.presentationml.tags+xml"/>
  <Override PartName="/ppt/slideLayouts/slideLayout390.xml" ContentType="application/vnd.openxmlformats-officedocument.presentationml.slideLayout+xml"/>
  <Override PartName="/ppt/tags/tag1492.xml" ContentType="application/vnd.openxmlformats-officedocument.presentationml.tags+xml"/>
  <Override PartName="/ppt/tags/tag1729.xml" ContentType="application/vnd.openxmlformats-officedocument.presentationml.tags+xml"/>
  <Override PartName="/ppt/tags/tag227.xml" ContentType="application/vnd.openxmlformats-officedocument.presentationml.tags+xml"/>
  <Override PartName="/ppt/slideLayouts/slideLayout135.xml" ContentType="application/vnd.openxmlformats-officedocument.presentationml.slideLayout+xml"/>
  <Override PartName="/ppt/tags/tag413.xml" ContentType="application/vnd.openxmlformats-officedocument.presentationml.tags+xml"/>
  <Override PartName="/ppt/tags/tag889.xml" ContentType="application/vnd.openxmlformats-officedocument.presentationml.tags+xml"/>
  <Override PartName="/ppt/tags/tag905.xml" ContentType="application/vnd.openxmlformats-officedocument.presentationml.tags+xml"/>
  <Override PartName="/ppt/tags/tag1237.xml" ContentType="application/vnd.openxmlformats-officedocument.presentationml.tags+xml"/>
  <Override PartName="/ppt/tags/tag1915.xml" ContentType="application/vnd.openxmlformats-officedocument.presentationml.tags+xml"/>
  <Override PartName="/ppt/slideLayouts/slideLayout627.xml" ContentType="application/vnd.openxmlformats-officedocument.presentationml.slideLayout+xml"/>
  <Override PartName="/ppt/tags/tag96.xml" ContentType="application/vnd.openxmlformats-officedocument.presentationml.tags+xml"/>
  <Override PartName="/ppt/tags/tag397.xml" ContentType="application/vnd.openxmlformats-officedocument.presentationml.tags+xml"/>
  <Override PartName="/ppt/slideLayouts/slideLayout321.xml" ContentType="application/vnd.openxmlformats-officedocument.presentationml.slideLayout+xml"/>
  <Override PartName="/ppt/tags/tag1423.xml" ContentType="application/vnd.openxmlformats-officedocument.presentationml.tags+xml"/>
  <Override PartName="/ppt/tags/tag1899.xml" ContentType="application/vnd.openxmlformats-officedocument.presentationml.tags+xml"/>
  <Override PartName="/ppt/slideMasters/slideMaster44.xml" ContentType="application/vnd.openxmlformats-officedocument.presentationml.slideMaster+xml"/>
  <Override PartName="/ppt/tags/tag583.xml" ContentType="application/vnd.openxmlformats-officedocument.presentationml.tags+xml"/>
  <Override PartName="/ppt/tags/tag1593.xml" ContentType="application/vnd.openxmlformats-officedocument.presentationml.tags+xml"/>
  <Override PartName="/ppt/slideLayouts/slideLayout491.xml" ContentType="application/vnd.openxmlformats-officedocument.presentationml.slideLayout+xml"/>
  <Override PartName="/ppt/theme/theme65.xml" ContentType="application/vnd.openxmlformats-officedocument.theme+xml"/>
  <Override PartName="/ppt/tags/tag27.xml" ContentType="application/vnd.openxmlformats-officedocument.presentationml.tags+xml"/>
  <Override PartName="/ppt/tags/tag328.xml" ContentType="application/vnd.openxmlformats-officedocument.presentationml.tags+xml"/>
  <Override PartName="/ppt/tags/tag514.xml" ContentType="application/vnd.openxmlformats-officedocument.presentationml.tags+xml"/>
  <Override PartName="/ppt/slideLayouts/slideLayout236.xml" ContentType="application/vnd.openxmlformats-officedocument.presentationml.slideLayout+xml"/>
  <Override PartName="/ppt/tags/tag1338.xml" ContentType="application/vnd.openxmlformats-officedocument.presentationml.tags+xml"/>
  <Override PartName="/ppt/tags/tag1524.xml" ContentType="application/vnd.openxmlformats-officedocument.presentationml.tags+xml"/>
  <Override PartName="/ppt/tags/tag2073.xml" ContentType="application/vnd.openxmlformats-officedocument.presentationml.tags+xml"/>
  <Override PartName="/ppt/tags/tag498.xml" ContentType="application/vnd.openxmlformats-officedocument.presentationml.tags+xml"/>
  <Override PartName="/ppt/tags/tag684.xml" ContentType="application/vnd.openxmlformats-officedocument.presentationml.tags+xml"/>
  <Override PartName="/ppt/tags/tag700.xml" ContentType="application/vnd.openxmlformats-officedocument.presentationml.tags+xml"/>
  <Override PartName="/ppt/tags/tag1032.xml" ContentType="application/vnd.openxmlformats-officedocument.presentationml.tags+xml"/>
  <Override PartName="/ppt/slideLayouts/slideLayout422.xml" ContentType="application/vnd.openxmlformats-officedocument.presentationml.slideLayout+xml"/>
  <Override PartName="/ppt/tags/tag1710.xml" ContentType="application/vnd.openxmlformats-officedocument.presentationml.tags+xml"/>
  <Override PartName="/ppt/tags/tag192.xml" ContentType="application/vnd.openxmlformats-officedocument.presentationml.tags+xml"/>
  <Override PartName="/ppt/tags/tag429.xml" ContentType="application/vnd.openxmlformats-officedocument.presentationml.tags+xml"/>
  <Override PartName="/ppt/tags/tag870.xml" ContentType="application/vnd.openxmlformats-officedocument.presentationml.tags+xml"/>
  <Override PartName="/ppt/tags/tag1694.xml" ContentType="application/vnd.openxmlformats-officedocument.presentationml.tags+xml"/>
  <Override PartName="/ppt/tags/tag1880.xml" ContentType="application/vnd.openxmlformats-officedocument.presentationml.tags+xml"/>
  <Override PartName="/ppt/slideLayouts/slideLayout592.xml" ContentType="application/vnd.openxmlformats-officedocument.presentationml.slideLayout+xml"/>
  <Override PartName="/ppt/tags/tag2004.xml" ContentType="application/vnd.openxmlformats-officedocument.presentationml.tags+xml"/>
  <Override PartName="/ppt/tags/tag599.xml" ContentType="application/vnd.openxmlformats-officedocument.presentationml.tags+xml"/>
  <Override PartName="/ppt/tags/tag615.xml" ContentType="application/vnd.openxmlformats-officedocument.presentationml.tags+xml"/>
  <Override PartName="/ppt/tags/tag801.xml" ContentType="application/vnd.openxmlformats-officedocument.presentationml.tags+xml"/>
  <Override PartName="/ppt/slideLayouts/slideLayout337.xml" ContentType="application/vnd.openxmlformats-officedocument.presentationml.slideLayout+xml"/>
  <Override PartName="/ppt/tags/tag1439.xml" ContentType="application/vnd.openxmlformats-officedocument.presentationml.tags+xml"/>
  <Override PartName="/ppt/tags/tag1625.xml" ContentType="application/vnd.openxmlformats-officedocument.presentationml.tags+xml"/>
  <Override PartName="/ppt/slideLayouts/slideLayout523.xml" ContentType="application/vnd.openxmlformats-officedocument.presentationml.slideLayout+xml"/>
  <Override PartName="/ppt/tags/tag2174.xml" ContentType="application/vnd.openxmlformats-officedocument.presentationml.tags+xml"/>
  <Override PartName="/customXml/itemProps2.xml" ContentType="application/vnd.openxmlformats-officedocument.customXmlProperties+xml"/>
  <Override PartName="/ppt/slideLayouts/slideLayout7.xml" ContentType="application/vnd.openxmlformats-officedocument.presentationml.slideLayout+xml"/>
  <Override PartName="/ppt/tags/tag123.xml" ContentType="application/vnd.openxmlformats-officedocument.presentationml.tags+xml"/>
  <Override PartName="/ppt/tags/tag785.xml" ContentType="application/vnd.openxmlformats-officedocument.presentationml.tags+xml"/>
  <Override PartName="/ppt/tags/tag1133.xml" ContentType="application/vnd.openxmlformats-officedocument.presentationml.tags+xml"/>
  <Override PartName="/ppt/tags/tag1795.xml" ContentType="application/vnd.openxmlformats-officedocument.presentationml.tags+xml"/>
  <Override PartName="/ppt/tags/tag1811.xml" ContentType="application/vnd.openxmlformats-officedocument.presentationml.tags+xml"/>
  <Override PartName="/ppt/tags/tag293.xml" ContentType="application/vnd.openxmlformats-officedocument.presentationml.tags+xml"/>
  <Override PartName="/ppt/tags/tag716.xml" ContentType="application/vnd.openxmlformats-officedocument.presentationml.tags+xml"/>
  <Override PartName="/ppt/tags/tag971.xml" ContentType="application/vnd.openxmlformats-officedocument.presentationml.tags+xml"/>
  <Override PartName="/ppt/slideLayouts/slideLayout438.xml" ContentType="application/vnd.openxmlformats-officedocument.presentationml.slideLayout+xml"/>
  <Override PartName="/ppt/tags/tag1981.xml" ContentType="application/vnd.openxmlformats-officedocument.presentationml.tags+xml"/>
  <Override PartName="/ppt/tags/tag2089.xml" ContentType="application/vnd.openxmlformats-officedocument.presentationml.tags+xml"/>
  <Override PartName="/ppt/tags/tag2105.xml" ContentType="application/vnd.openxmlformats-officedocument.presentationml.tags+xml"/>
  <Override PartName="/ppt/slideLayouts/slideLayout54.xml" ContentType="application/vnd.openxmlformats-officedocument.presentationml.slideLayout+xml"/>
  <Override PartName="/ppt/tags/tag224.xml" ContentType="application/vnd.openxmlformats-officedocument.presentationml.tags+xml"/>
  <Override PartName="/ppt/tags/tag902.xml" ContentType="application/vnd.openxmlformats-officedocument.presentationml.tags+xml"/>
  <Override PartName="/ppt/tags/tag1048.xml" ContentType="application/vnd.openxmlformats-officedocument.presentationml.tags+xml"/>
  <Override PartName="/ppt/tags/tag1726.xml" ContentType="application/vnd.openxmlformats-officedocument.presentationml.tags+xml"/>
  <Override PartName="/ppt/tags/tag1912.xml" ContentType="application/vnd.openxmlformats-officedocument.presentationml.tags+xml"/>
  <Override PartName="/ppt/slideLayouts/slideLayout624.xml" ContentType="application/vnd.openxmlformats-officedocument.presentationml.slideLayout+xml"/>
  <Override PartName="/ppt/presentation.xml" ContentType="application/vnd.openxmlformats-officedocument.presentationml.presentation.main+xml"/>
  <Override PartName="/ppt/slideLayouts/slideLayout132.xml" ContentType="application/vnd.openxmlformats-officedocument.presentationml.slideLayout+xml"/>
  <Override PartName="/ppt/tags/tag394.xml" ContentType="application/vnd.openxmlformats-officedocument.presentationml.tags+xml"/>
  <Override PartName="/ppt/tags/tag410.xml" ContentType="application/vnd.openxmlformats-officedocument.presentationml.tags+xml"/>
  <Override PartName="/ppt/tags/tag886.xml" ContentType="application/vnd.openxmlformats-officedocument.presentationml.tags+xml"/>
  <Override PartName="/ppt/tags/tag1234.xml" ContentType="application/vnd.openxmlformats-officedocument.presentationml.tags+xml"/>
  <Override PartName="/ppt/tags/tag1420.xml" ContentType="application/vnd.openxmlformats-officedocument.presentationml.tags+xml"/>
  <Override PartName="/ppt/tags/tag1896.xml" ContentType="application/vnd.openxmlformats-officedocument.presentationml.tags+xml"/>
  <Override PartName="/docProps/app.xml" ContentType="application/vnd.openxmlformats-officedocument.extended-propertie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580.xml" ContentType="application/vnd.openxmlformats-officedocument.presentationml.tags+xml"/>
  <Override PartName="/ppt/tags/tag817.xml" ContentType="application/vnd.openxmlformats-officedocument.presentationml.tags+xml"/>
  <Override PartName="/ppt/tags/tag1590.xml" ContentType="application/vnd.openxmlformats-officedocument.presentationml.tags+xml"/>
  <Override PartName="/ppt/slideLayouts/slideLayout539.xml" ContentType="application/vnd.openxmlformats-officedocument.presentationml.slideLayout+xml"/>
  <Override PartName="/ppt/tags/tag1827.xml" ContentType="application/vnd.openxmlformats-officedocument.presentationml.tags+xml"/>
  <Override PartName="/ppt/slideMasters/slideMaster41.xml" ContentType="application/vnd.openxmlformats-officedocument.presentationml.slideMaster+xml"/>
  <Override PartName="/ppt/tags/tag24.xml" ContentType="application/vnd.openxmlformats-officedocument.presentationml.tags+xml"/>
  <Override PartName="/ppt/tags/tag325.xml" ContentType="application/vnd.openxmlformats-officedocument.presentationml.tags+xml"/>
  <Override PartName="/ppt/slideLayouts/slideLayout233.xml" ContentType="application/vnd.openxmlformats-officedocument.presentationml.slideLayout+xml"/>
  <Override PartName="/ppt/tags/tag987.xml" ContentType="application/vnd.openxmlformats-officedocument.presentationml.tags+xml"/>
  <Override PartName="/ppt/tags/tag1149.xml" ContentType="application/vnd.openxmlformats-officedocument.presentationml.tags+xml"/>
  <Override PartName="/ppt/tags/tag1335.xml" ContentType="application/vnd.openxmlformats-officedocument.presentationml.tags+xml"/>
  <Override PartName="/ppt/theme/theme62.xml" ContentType="application/vnd.openxmlformats-officedocument.theme+xml"/>
  <Override PartName="/ppt/tags/tag495.xml" ContentType="application/vnd.openxmlformats-officedocument.presentationml.tags+xml"/>
  <Override PartName="/ppt/tags/tag511.xml" ContentType="application/vnd.openxmlformats-officedocument.presentationml.tags+xml"/>
  <Override PartName="/ppt/tags/tag1521.xml" ContentType="application/vnd.openxmlformats-officedocument.presentationml.tags+xml"/>
  <Override PartName="/ppt/tags/tag1997.xml" ContentType="application/vnd.openxmlformats-officedocument.presentationml.tags+xml"/>
  <Override PartName="/ppt/tags/tag2070.xml" ContentType="application/vnd.openxmlformats-officedocument.presentationml.tags+xml"/>
  <Override PartName="/ppt/tags/tag681.xml" ContentType="application/vnd.openxmlformats-officedocument.presentationml.tags+xml"/>
  <Override PartName="/ppt/tags/tag918.xml" ContentType="application/vnd.openxmlformats-officedocument.presentationml.tags+xml"/>
  <Override PartName="/ppt/tags/tag1691.xml" ContentType="application/vnd.openxmlformats-officedocument.presentationml.tags+xml"/>
  <Override PartName="/ppt/tags/tag1928.xml" ContentType="application/vnd.openxmlformats-officedocument.presentationml.tags+xml"/>
  <Override PartName="/ppt/tags/tag2001.xml" ContentType="application/vnd.openxmlformats-officedocument.presentationml.tags+xml"/>
  <Override PartName="/ppt/tags/tag426.xml" ContentType="application/vnd.openxmlformats-officedocument.presentationml.tags+xml"/>
  <Override PartName="/ppt/slideLayouts/slideLayout148.xml" ContentType="application/vnd.openxmlformats-officedocument.presentationml.slideLayout+xml"/>
  <Override PartName="/ppt/tags/tag612.xml" ContentType="application/vnd.openxmlformats-officedocument.presentationml.tags+xml"/>
  <Override PartName="/ppt/slideLayouts/slideLayout334.xml" ContentType="application/vnd.openxmlformats-officedocument.presentationml.slideLayout+xml"/>
  <Override PartName="/ppt/tags/tag1436.xml" ContentType="application/vnd.openxmlformats-officedocument.presentationml.tags+xml"/>
  <Override PartName="/ppt/tags/tag2171.xml" ContentType="application/vnd.openxmlformats-officedocument.presentationml.tags+xml"/>
  <Override PartName="/ppt/slideMasters/slideMaster57.xml" ContentType="application/vnd.openxmlformats-officedocument.presentationml.slideMaster+xml"/>
  <Override PartName="/ppt/slideLayouts/slideLayout4.xml" ContentType="application/vnd.openxmlformats-officedocument.presentationml.slideLayout+xml"/>
  <Override PartName="/ppt/tags/tag120.xml" ContentType="application/vnd.openxmlformats-officedocument.presentationml.tags+xml"/>
  <Override PartName="/ppt/tags/tag596.xml" ContentType="application/vnd.openxmlformats-officedocument.presentationml.tags+xml"/>
  <Override PartName="/ppt/tags/tag782.xml" ContentType="application/vnd.openxmlformats-officedocument.presentationml.tags+xml"/>
  <Override PartName="/ppt/tags/tag1130.xml" ContentType="application/vnd.openxmlformats-officedocument.presentationml.tags+xml"/>
  <Override PartName="/ppt/tags/tag1622.xml" ContentType="application/vnd.openxmlformats-officedocument.presentationml.tags+xml"/>
  <Override PartName="/ppt/slideLayouts/slideLayout520.xml" ContentType="application/vnd.openxmlformats-officedocument.presentationml.slideLayout+xml"/>
  <Override PartName="/ppt/tags/tag290.xml" ContentType="application/vnd.openxmlformats-officedocument.presentationml.tags+xml"/>
  <Override PartName="/ppt/tags/tag527.xml" ContentType="application/vnd.openxmlformats-officedocument.presentationml.tags+xml"/>
  <Override PartName="/ppt/slideLayouts/slideLayout249.xml" ContentType="application/vnd.openxmlformats-officedocument.presentationml.slideLayout+xml"/>
  <Override PartName="/ppt/tags/tag1792.xml" ContentType="application/vnd.openxmlformats-officedocument.presentationml.tags+xml"/>
  <Override PartName="/ppt/tags/tag2102.xml" ContentType="application/vnd.openxmlformats-officedocument.presentationml.tags+xml"/>
  <Override PartName="/ppt/slideLayouts/slideLayout51.xml" ContentType="application/vnd.openxmlformats-officedocument.presentationml.slideLayout+xml"/>
  <Override PartName="/ppt/tags/tag713.xml" ContentType="application/vnd.openxmlformats-officedocument.presentationml.tags+xml"/>
  <Override PartName="/ppt/tags/tag1045.xml" ContentType="application/vnd.openxmlformats-officedocument.presentationml.tags+xml"/>
  <Override PartName="/ppt/slideLayouts/slideLayout435.xml" ContentType="application/vnd.openxmlformats-officedocument.presentationml.slideLayout+xml"/>
  <Override PartName="/ppt/tags/tag1537.xml" ContentType="application/vnd.openxmlformats-officedocument.presentationml.tags+xml"/>
  <Override PartName="/ppt/tags/tag1723.xml" ContentType="application/vnd.openxmlformats-officedocument.presentationml.tags+xml"/>
  <Override PartName="/ppt/slideLayouts/slideLayout621.xml" ContentType="application/vnd.openxmlformats-officedocument.presentationml.slideLayout+xml"/>
  <Override PartName="/ppt/tags/tag2086.xml" ContentType="application/vnd.openxmlformats-officedocument.presentationml.tags+xml"/>
  <Override PartName="/ppt/tags/tag221.xml" ContentType="application/vnd.openxmlformats-officedocument.presentationml.tags+xml"/>
  <Override PartName="/ppt/tags/tag697.xml" ContentType="application/vnd.openxmlformats-officedocument.presentationml.tags+xml"/>
  <Override PartName="/ppt/tags/tag883.xml" ContentType="application/vnd.openxmlformats-officedocument.presentationml.tags+xml"/>
  <Override PartName="/ppt/tags/tag1231.xml" ContentType="application/vnd.openxmlformats-officedocument.presentationml.tags+xml"/>
  <Override PartName="/ppt/tags/tag1893.xml" ContentType="application/vnd.openxmlformats-officedocument.presentationml.tags+xml"/>
  <Override PartName="/ppt/tags/tag2017.xml" ContentType="application/vnd.openxmlformats-officedocument.presentationml.tags+xml"/>
  <Override PartName="/ppt/tags/tag90.xml" ContentType="application/vnd.openxmlformats-officedocument.presentationml.tags+xml"/>
  <Override PartName="/ppt/tags/tag391.xml" ContentType="application/vnd.openxmlformats-officedocument.presentationml.tags+xml"/>
  <Override PartName="/ppt/tags/tag628.xml" ContentType="application/vnd.openxmlformats-officedocument.presentationml.tags+xml"/>
  <Override PartName="/ppt/tags/tag1638.xml" ContentType="application/vnd.openxmlformats-officedocument.presentationml.tags+xml"/>
  <Override PartName="/ppt/tags/tag2187.xml" ContentType="application/vnd.openxmlformats-officedocument.presentationml.tags+xml"/>
  <Override PartName="/ppt/notesSlides/notesSlide9.xml" ContentType="application/vnd.openxmlformats-officedocument.presentationml.notesSlide+xml"/>
  <Override PartName="/ppt/tags/tag136.xml" ContentType="application/vnd.openxmlformats-officedocument.presentationml.tags+xml"/>
  <Override PartName="/ppt/tags/tag322.xml" ContentType="application/vnd.openxmlformats-officedocument.presentationml.tags+xml"/>
  <Override PartName="/ppt/tags/tag798.xml" ContentType="application/vnd.openxmlformats-officedocument.presentationml.tags+xml"/>
  <Override PartName="/ppt/tags/tag814.xml" ContentType="application/vnd.openxmlformats-officedocument.presentationml.tags+xml"/>
  <Override PartName="/ppt/tags/tag1146.xml" ContentType="application/vnd.openxmlformats-officedocument.presentationml.tags+xml"/>
  <Override PartName="/ppt/slideLayouts/slideLayout536.xml" ContentType="application/vnd.openxmlformats-officedocument.presentationml.slideLayout+xml"/>
  <Override PartName="/ppt/tags/tag1824.xml" ContentType="application/vnd.openxmlformats-officedocument.presentationml.tags+xml"/>
  <Override PartName="/ppt/tags/tag21.xml" ContentType="application/vnd.openxmlformats-officedocument.presentationml.tags+xml"/>
  <Override PartName="/ppt/slideLayouts/slideLayout230.xml" ContentType="application/vnd.openxmlformats-officedocument.presentationml.slideLayout+xml"/>
  <Override PartName="/ppt/tags/tag984.xml" ContentType="application/vnd.openxmlformats-officedocument.presentationml.tags+xml"/>
  <Override PartName="/ppt/tags/tag1332.xml" ContentType="application/vnd.openxmlformats-officedocument.presentationml.tags+xml"/>
  <Override PartName="/ppt/tags/tag1994.xml" ContentType="application/vnd.openxmlformats-officedocument.presentationml.tags+xml"/>
  <Override PartName="/ppt/tags/tag2118.xml" ContentType="application/vnd.openxmlformats-officedocument.presentationml.tags+xml"/>
  <Override PartName="/ppt/tags/tag7.xml" ContentType="application/vnd.openxmlformats-officedocument.presentationml.tags+xml"/>
  <Override PartName="/ppt/slideLayouts/slideLayout67.xml" ContentType="application/vnd.openxmlformats-officedocument.presentationml.slideLayout+xml"/>
  <Override PartName="/ppt/tags/tag492.xml" ContentType="application/vnd.openxmlformats-officedocument.presentationml.tags+xml"/>
  <Override PartName="/ppt/tags/tag729.xml" ContentType="application/vnd.openxmlformats-officedocument.presentationml.tags+xml"/>
  <Override PartName="/ppt/tags/tag915.xml" ContentType="application/vnd.openxmlformats-officedocument.presentationml.tags+xml"/>
  <Override PartName="/ppt/tags/tag1739.xml" ContentType="application/vnd.openxmlformats-officedocument.presentationml.tags+xml"/>
  <Override PartName="/ppt/slideLayouts/slideLayout637.xml" ContentType="application/vnd.openxmlformats-officedocument.presentationml.slideLayout+xml"/>
  <Override PartName="/ppt/tags/tag237.xml" ContentType="application/vnd.openxmlformats-officedocument.presentationml.tags+xml"/>
  <Override PartName="/ppt/tags/tag423.xml" ContentType="application/vnd.openxmlformats-officedocument.presentationml.tags+xml"/>
  <Override PartName="/ppt/slideLayouts/slideLayout145.xml" ContentType="application/vnd.openxmlformats-officedocument.presentationml.slideLayout+xml"/>
  <Override PartName="/ppt/tags/tag899.xml" ContentType="application/vnd.openxmlformats-officedocument.presentationml.tags+xml"/>
  <Override PartName="/ppt/tags/tag1247.xml" ContentType="application/vnd.openxmlformats-officedocument.presentationml.tags+xml"/>
  <Override PartName="/ppt/tags/tag1433.xml" ContentType="application/vnd.openxmlformats-officedocument.presentationml.tags+xml"/>
  <Override PartName="/ppt/tags/tag1925.xml" ContentType="application/vnd.openxmlformats-officedocument.presentationml.tags+xml"/>
  <Override PartName="/ppt/tags/tag593.xml" ContentType="application/vnd.openxmlformats-officedocument.presentationml.tags+xml"/>
  <Override PartName="/ppt/slideLayouts/slideLayout331.xml" ContentType="application/vnd.openxmlformats-officedocument.presentationml.slideLayout+xml"/>
  <Override PartName="/ppt/slideMasters/slideMaster54.xml" ContentType="application/vnd.openxmlformats-officedocument.presentationml.slideMaster+xml"/>
  <Override PartName="/ppt/slideLayouts/slideLayout1.xml" ContentType="application/vnd.openxmlformats-officedocument.presentationml.slideLayout+xml"/>
  <Override PartName="/ppt/tags/tag37.xml" ContentType="application/vnd.openxmlformats-officedocument.presentationml.tags+xml"/>
  <Override PartName="/ppt/tags/tag338.xml" ContentType="application/vnd.openxmlformats-officedocument.presentationml.tags+xml"/>
  <Override PartName="/ppt/tags/tag524.xml" ContentType="application/vnd.openxmlformats-officedocument.presentationml.tags+xml"/>
  <Override PartName="/ppt/tags/tag710.xml" ContentType="application/vnd.openxmlformats-officedocument.presentationml.tags+xml"/>
  <Override PartName="/ppt/slideLayouts/slideLayout246.xml" ContentType="application/vnd.openxmlformats-officedocument.presentationml.slideLayout+xml"/>
  <Override PartName="/ppt/tags/tag1348.xml" ContentType="application/vnd.openxmlformats-officedocument.presentationml.tags+xml"/>
  <Override PartName="/ppt/slideLayouts/slideLayout432.xml" ContentType="application/vnd.openxmlformats-officedocument.presentationml.slideLayout+xml"/>
  <Override PartName="/ppt/tags/tag1534.xml" ContentType="application/vnd.openxmlformats-officedocument.presentationml.tags+xml"/>
  <Override PartName="/ppt/tags/tag2083.xml" ContentType="application/vnd.openxmlformats-officedocument.presentationml.tags+xml"/>
  <Default Extension="tiff" ContentType="image/tiff"/>
  <Override PartName="/ppt/tags/tag694.xml" ContentType="application/vnd.openxmlformats-officedocument.presentationml.tags+xml"/>
  <Override PartName="/ppt/tags/tag1042.xml" ContentType="application/vnd.openxmlformats-officedocument.presentationml.tags+xml"/>
  <Override PartName="/ppt/tags/tag1720.xml" ContentType="application/vnd.openxmlformats-officedocument.presentationml.tags+xml"/>
  <Override PartName="/ppt/tags/tag439.xml" ContentType="application/vnd.openxmlformats-officedocument.presentationml.tags+xml"/>
  <Override PartName="/ppt/tags/tag880.xml" ContentType="application/vnd.openxmlformats-officedocument.presentationml.tags+xml"/>
  <Override PartName="/ppt/slideLayouts/slideLayout347.xml" ContentType="application/vnd.openxmlformats-officedocument.presentationml.slideLayout+xml"/>
  <Override PartName="/ppt/tags/tag1449.xml" ContentType="application/vnd.openxmlformats-officedocument.presentationml.tags+xml"/>
  <Override PartName="/ppt/tags/tag1890.xml" ContentType="application/vnd.openxmlformats-officedocument.presentationml.tags+xml"/>
  <Override PartName="/ppt/tags/tag2014.xml" ContentType="application/vnd.openxmlformats-officedocument.presentationml.tags+xml"/>
  <Override PartName="/ppt/tags/tag2200.xml" ContentType="application/vnd.openxmlformats-officedocument.presentationml.tags+xml"/>
  <Override PartName="/ppt/notesSlides/notesSlide6.xml" ContentType="application/vnd.openxmlformats-officedocument.presentationml.notesSlide+xml"/>
  <Override PartName="/ppt/tags/tag133.xml" ContentType="application/vnd.openxmlformats-officedocument.presentationml.tags+xml"/>
  <Override PartName="/ppt/tags/tag625.xml" ContentType="application/vnd.openxmlformats-officedocument.presentationml.tags+xml"/>
  <Override PartName="/ppt/tags/tag811.xml" ContentType="application/vnd.openxmlformats-officedocument.presentationml.tags+xml"/>
  <Override PartName="/ppt/tags/tag1635.xml" ContentType="application/vnd.openxmlformats-officedocument.presentationml.tags+xml"/>
  <Override PartName="/ppt/slideLayouts/slideLayout533.xml" ContentType="application/vnd.openxmlformats-officedocument.presentationml.slideLayout+xml"/>
  <Override PartName="/ppt/tags/tag1821.xml" ContentType="application/vnd.openxmlformats-officedocument.presentationml.tags+xml"/>
  <Override PartName="/ppt/tags/tag2184.xml" ContentType="application/vnd.openxmlformats-officedocument.presentationml.tags+xml"/>
  <Override PartName="/ppt/tags/tag795.xml" ContentType="application/vnd.openxmlformats-officedocument.presentationml.tags+xml"/>
  <Override PartName="/ppt/tags/tag981.xml" ContentType="application/vnd.openxmlformats-officedocument.presentationml.tags+xml"/>
  <Override PartName="/ppt/tags/tag1143.xml" ContentType="application/vnd.openxmlformats-officedocument.presentationml.tags+xml"/>
  <Override PartName="/ppt/tags/tag2115.xml" ContentType="application/vnd.openxmlformats-officedocument.presentationml.tags+xml"/>
  <Override PartName="/ppt/tags/tag4.xml" ContentType="application/vnd.openxmlformats-officedocument.presentationml.tags+xml"/>
  <Override PartName="/ppt/slideLayouts/slideLayout64.xml" ContentType="application/vnd.openxmlformats-officedocument.presentationml.slideLayout+xml"/>
  <Override PartName="/ppt/tags/tag726.xml" ContentType="application/vnd.openxmlformats-officedocument.presentationml.tags+xml"/>
  <Override PartName="/ppt/slideLayouts/slideLayout448.xml" ContentType="application/vnd.openxmlformats-officedocument.presentationml.slideLayout+xml"/>
  <Override PartName="/ppt/tags/tag1736.xml" ContentType="application/vnd.openxmlformats-officedocument.presentationml.tags+xml"/>
  <Override PartName="/ppt/tags/tag1991.xml" ContentType="application/vnd.openxmlformats-officedocument.presentationml.tags+xml"/>
  <Override PartName="/ppt/tags/tag2099.xml" ContentType="application/vnd.openxmlformats-officedocument.presentationml.tags+xml"/>
  <Override PartName="/ppt/tags/tag234.xml" ContentType="application/vnd.openxmlformats-officedocument.presentationml.tags+xml"/>
  <Override PartName="/ppt/slideLayouts/slideLayout142.xml" ContentType="application/vnd.openxmlformats-officedocument.presentationml.slideLayout+xml"/>
  <Override PartName="/ppt/tags/tag896.xml" ContentType="application/vnd.openxmlformats-officedocument.presentationml.tags+xml"/>
  <Override PartName="/ppt/tags/tag912.xml" ContentType="application/vnd.openxmlformats-officedocument.presentationml.tags+xml"/>
  <Override PartName="/ppt/tags/tag1058.xml" ContentType="application/vnd.openxmlformats-officedocument.presentationml.tags+xml"/>
  <Override PartName="/ppt/tags/tag1244.xml" ContentType="application/vnd.openxmlformats-officedocument.presentationml.tags+xml"/>
  <Override PartName="/ppt/tags/tag1922.xml" ContentType="application/vnd.openxmlformats-officedocument.presentationml.tags+xml"/>
  <Override PartName="/ppt/slideLayouts/slideLayout634.xml" ContentType="application/vnd.openxmlformats-officedocument.presentationml.slideLayout+xml"/>
  <Override PartName="/ppt/tags/tag420.xml" ContentType="application/vnd.openxmlformats-officedocument.presentationml.tags+xml"/>
  <Override PartName="/ppt/tags/tag1430.xml" ContentType="application/vnd.openxmlformats-officedocument.presentationml.tags+xml"/>
  <Override PartName="/ppt/slideMasters/slideMaster51.xml" ContentType="application/vnd.openxmlformats-officedocument.presentationml.slideMaster+xml"/>
  <Override PartName="/ppt/tags/tag149.xml" ContentType="application/vnd.openxmlformats-officedocument.presentationml.tags+xml"/>
  <Override PartName="/ppt/tags/tag590.xml" ContentType="application/vnd.openxmlformats-officedocument.presentationml.tags+xml"/>
  <Override PartName="/ppt/tags/tag827.xml" ContentType="application/vnd.openxmlformats-officedocument.presentationml.tags+xml"/>
  <Override PartName="/ppt/tags/tag1159.xml" ContentType="application/vnd.openxmlformats-officedocument.presentationml.tags+xml"/>
  <Override PartName="/ppt/slideLayouts/slideLayout549.xml" ContentType="application/vnd.openxmlformats-officedocument.presentationml.slideLayout+xml"/>
  <Override PartName="/ppt/tags/tag1837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335.xml" ContentType="application/vnd.openxmlformats-officedocument.presentationml.tags+xml"/>
  <Override PartName="/ppt/tags/tag521.xml" ContentType="application/vnd.openxmlformats-officedocument.presentationml.tags+xml"/>
  <Override PartName="/ppt/slideLayouts/slideLayout243.xml" ContentType="application/vnd.openxmlformats-officedocument.presentationml.slideLayout+xml"/>
  <Override PartName="/ppt/tags/tag997.xml" ContentType="application/vnd.openxmlformats-officedocument.presentationml.tags+xml"/>
  <Override PartName="/ppt/tags/tag1345.xml" ContentType="application/vnd.openxmlformats-officedocument.presentationml.tags+xml"/>
  <Override PartName="/ppt/tags/tag2080.xml" ContentType="application/vnd.openxmlformats-officedocument.presentationml.tags+xml"/>
  <Override PartName="/ppt/theme/theme72.xml" ContentType="application/vnd.openxmlformats-officedocument.theme+xml"/>
  <Override PartName="/ppt/tags/tag691.xml" ContentType="application/vnd.openxmlformats-officedocument.presentationml.tags+xml"/>
  <Override PartName="/ppt/tags/tag1531.xml" ContentType="application/vnd.openxmlformats-officedocument.presentationml.tags+xml"/>
  <Override PartName="/ppt/viewProps.xml" ContentType="application/vnd.openxmlformats-officedocument.presentationml.viewProps+xml"/>
  <Override PartName="/ppt/tags/tag436.xml" ContentType="application/vnd.openxmlformats-officedocument.presentationml.tags+xml"/>
  <Override PartName="/ppt/slideLayouts/slideLayout158.xml" ContentType="application/vnd.openxmlformats-officedocument.presentationml.slideLayout+xml"/>
  <Override PartName="/ppt/tags/tag928.xml" ContentType="application/vnd.openxmlformats-officedocument.presentationml.tags+xml"/>
  <Override PartName="/ppt/tags/tag1938.xml" ContentType="application/vnd.openxmlformats-officedocument.presentationml.tags+xml"/>
  <Override PartName="/ppt/tags/tag2011.xml" ContentType="application/vnd.openxmlformats-officedocument.presentationml.tags+xml"/>
  <Override PartName="/ppt/tags/tag622.xml" ContentType="application/vnd.openxmlformats-officedocument.presentationml.tags+xml"/>
  <Override PartName="/ppt/slideLayouts/slideLayout344.xml" ContentType="application/vnd.openxmlformats-officedocument.presentationml.slideLayout+xml"/>
  <Override PartName="/ppt/tags/tag1446.xml" ContentType="application/vnd.openxmlformats-officedocument.presentationml.tags+xml"/>
  <Override PartName="/ppt/tags/tag1632.xml" ContentType="application/vnd.openxmlformats-officedocument.presentationml.tags+xml"/>
  <Override PartName="/ppt/slideLayouts/slideLayout530.xml" ContentType="application/vnd.openxmlformats-officedocument.presentationml.slideLayout+xml"/>
  <Override PartName="/ppt/tags/tag2181.xml" ContentType="application/vnd.openxmlformats-officedocument.presentationml.tags+xml"/>
  <Override PartName="/ppt/notesSlides/notesSlide3.xml" ContentType="application/vnd.openxmlformats-officedocument.presentationml.notesSlide+xml"/>
  <Override PartName="/ppt/slideMasters/slideMaster67.xml" ContentType="application/vnd.openxmlformats-officedocument.presentationml.slideMaster+xml"/>
  <Override PartName="/ppt/tags/tag130.xml" ContentType="application/vnd.openxmlformats-officedocument.presentationml.tags+xml"/>
  <Override PartName="/ppt/tags/tag792.xml" ContentType="application/vnd.openxmlformats-officedocument.presentationml.tags+xml"/>
  <Override PartName="/ppt/tags/tag1140.xml" ContentType="application/vnd.openxmlformats-officedocument.presentationml.tags+xml"/>
  <Override PartName="/ppt/tags/tag537.xml" ContentType="application/vnd.openxmlformats-officedocument.presentationml.tags+xml"/>
  <Override PartName="/ppt/slideLayouts/slideLayout259.xml" ContentType="application/vnd.openxmlformats-officedocument.presentationml.slideLayout+xml"/>
  <Override PartName="/ppt/tags/tag1547.xml" ContentType="application/vnd.openxmlformats-officedocument.presentationml.tags+xml"/>
  <Override PartName="/ppt/tags/tag2096.xml" ContentType="application/vnd.openxmlformats-officedocument.presentationml.tags+xml"/>
  <Override PartName="/ppt/tags/tag2112.xml" ContentType="application/vnd.openxmlformats-officedocument.presentationml.tags+xml"/>
  <Override PartName="/ppt/tags/tag1.xml" ContentType="application/vnd.openxmlformats-officedocument.presentationml.tags+xml"/>
  <Override PartName="/ppt/slideLayouts/slideLayout61.xml" ContentType="application/vnd.openxmlformats-officedocument.presentationml.slideLayout+xml"/>
  <Override PartName="/ppt/tags/tag231.xml" ContentType="application/vnd.openxmlformats-officedocument.presentationml.tags+xml"/>
  <Override PartName="/ppt/theme/theme19.xml" ContentType="application/vnd.openxmlformats-officedocument.theme+xml"/>
  <Override PartName="/ppt/tags/tag723.xml" ContentType="application/vnd.openxmlformats-officedocument.presentationml.tags+xml"/>
  <Override PartName="/ppt/tags/tag1055.xml" ContentType="application/vnd.openxmlformats-officedocument.presentationml.tags+xml"/>
  <Override PartName="/ppt/slideLayouts/slideLayout445.xml" ContentType="application/vnd.openxmlformats-officedocument.presentationml.slideLayout+xml"/>
  <Override PartName="/ppt/tags/tag1733.xml" ContentType="application/vnd.openxmlformats-officedocument.presentationml.tags+xml"/>
  <Override PartName="/ppt/slideLayouts/slideLayout631.xml" ContentType="application/vnd.openxmlformats-officedocument.presentationml.slideLayout+xml"/>
  <Override PartName="/ppt/tags/tag893.xml" ContentType="application/vnd.openxmlformats-officedocument.presentationml.tags+xml"/>
  <Override PartName="/ppt/tags/tag1241.xml" ContentType="application/vnd.openxmlformats-officedocument.presentationml.tags+xml"/>
  <Override PartName="/ppt/tags/tag2027.xml" ContentType="application/vnd.openxmlformats-officedocument.presentationml.tags+xml"/>
  <Override PartName="/ppt/tags/tag638.xml" ContentType="application/vnd.openxmlformats-officedocument.presentationml.tags+xml"/>
  <Override PartName="/ppt/tags/tag824.xml" ContentType="application/vnd.openxmlformats-officedocument.presentationml.tags+xml"/>
  <Override PartName="/ppt/tags/tag1648.xml" ContentType="application/vnd.openxmlformats-officedocument.presentationml.tags+xml"/>
  <Override PartName="/ppt/slideLayouts/slideLayout546.xml" ContentType="application/vnd.openxmlformats-officedocument.presentationml.slideLayout+xml"/>
  <Override PartName="/ppt/tags/tag2197.xml" ContentType="application/vnd.openxmlformats-officedocument.presentationml.tags+xml"/>
  <Override PartName="/ppt/tags/tag31.xml" ContentType="application/vnd.openxmlformats-officedocument.presentationml.tags+xml"/>
  <Override PartName="/ppt/tags/tag146.xml" ContentType="application/vnd.openxmlformats-officedocument.presentationml.tags+xml"/>
  <Override PartName="/ppt/tags/tag332.xml" ContentType="application/vnd.openxmlformats-officedocument.presentationml.tags+xml"/>
  <Override PartName="/ppt/tags/tag1156.xml" ContentType="application/vnd.openxmlformats-officedocument.presentationml.tags+xml"/>
  <Override PartName="/ppt/tags/tag1342.xml" ContentType="application/vnd.openxmlformats-officedocument.presentationml.tags+xml"/>
  <Override PartName="/ppt/tags/tag1834.xml" ContentType="application/vnd.openxmlformats-officedocument.presentationml.tags+xml"/>
  <Override PartName="/ppt/slideLayouts/slideLayout240.xml" ContentType="application/vnd.openxmlformats-officedocument.presentationml.slideLayout+xml"/>
  <Override PartName="/ppt/tags/tag739.xml" ContentType="application/vnd.openxmlformats-officedocument.presentationml.tags+xml"/>
  <Override PartName="/ppt/tags/tag994.xml" ContentType="application/vnd.openxmlformats-officedocument.presentationml.tags+xml"/>
  <Override PartName="/ppt/tags/tag2128.xml" ContentType="application/vnd.openxmlformats-officedocument.presentationml.tags+xml"/>
  <Override PartName="/docProps/core.xml" ContentType="application/vnd.openxmlformats-package.core-properties+xml"/>
  <Override PartName="/ppt/slideLayouts/slideLayout77.xml" ContentType="application/vnd.openxmlformats-officedocument.presentationml.slideLayout+xml"/>
  <Override PartName="/ppt/tags/tag247.xml" ContentType="application/vnd.openxmlformats-officedocument.presentationml.tags+xml"/>
  <Override PartName="/ppt/tags/tag925.xml" ContentType="application/vnd.openxmlformats-officedocument.presentationml.tags+xml"/>
  <Override PartName="/ppt/tags/tag1749.xml" ContentType="application/vnd.openxmlformats-officedocument.presentationml.tags+xml"/>
  <Override PartName="/ppt/tags/tag1935.xml" ContentType="application/vnd.openxmlformats-officedocument.presentationml.tags+xml"/>
  <Override PartName="/ppt/slideLayouts/slideLayout647.xml" ContentType="application/vnd.openxmlformats-officedocument.presentationml.slideLayout+xml"/>
  <Override PartName="/ppt/tags/tag433.xml" ContentType="application/vnd.openxmlformats-officedocument.presentationml.tags+xml"/>
  <Override PartName="/ppt/slideLayouts/slideLayout155.xml" ContentType="application/vnd.openxmlformats-officedocument.presentationml.slideLayout+xml"/>
  <Override PartName="/ppt/slideLayouts/slideLayout341.xml" ContentType="application/vnd.openxmlformats-officedocument.presentationml.slideLayout+xml"/>
  <Override PartName="/ppt/tags/tag1257.xml" ContentType="application/vnd.openxmlformats-officedocument.presentationml.tags+xml"/>
  <Override PartName="/ppt/tags/tag1443.xml" ContentType="application/vnd.openxmlformats-officedocument.presentationml.tags+xml"/>
  <Override PartName="/ppt/slideMasters/slideMaster64.xml" ContentType="application/vnd.openxmlformats-officedocument.presentationml.slideMaster+xml"/>
  <Override PartName="/ppt/tags/tag47.xml" ContentType="application/vnd.openxmlformats-officedocument.presentationml.tags+xml"/>
  <Override PartName="/ppt/tags/tag348.xml" ContentType="application/vnd.openxmlformats-officedocument.presentationml.tags+xml"/>
  <Override PartName="/ppt/slideLayouts/slideLayout256.xml" ContentType="application/vnd.openxmlformats-officedocument.presentationml.slideLayout+xml"/>
  <Override PartName="/ppt/tags/tag1358.xml" ContentType="application/vnd.openxmlformats-officedocument.presentationml.tags+xml"/>
  <Override PartName="/ppt/theme/theme16.xml" ContentType="application/vnd.openxmlformats-officedocument.theme+xml"/>
  <Override PartName="/ppt/tags/tag534.xml" ContentType="application/vnd.openxmlformats-officedocument.presentationml.tags+xml"/>
  <Override PartName="/ppt/tags/tag720.xml" ContentType="application/vnd.openxmlformats-officedocument.presentationml.tags+xml"/>
  <Override PartName="/ppt/slideLayouts/slideLayout442.xml" ContentType="application/vnd.openxmlformats-officedocument.presentationml.slideLayout+xml"/>
  <Override PartName="/ppt/tags/tag1544.xml" ContentType="application/vnd.openxmlformats-officedocument.presentationml.tags+xml"/>
  <Override PartName="/ppt/tags/tag1730.xml" ContentType="application/vnd.openxmlformats-officedocument.presentationml.tags+xml"/>
  <Override PartName="/ppt/tags/tag2093.xml" ContentType="application/vnd.openxmlformats-officedocument.presentationml.tags+xml"/>
  <Override PartName="/ppt/tags/tag890.xml" ContentType="application/vnd.openxmlformats-officedocument.presentationml.tags+xml"/>
  <Override PartName="/ppt/tags/tag1052.xml" ContentType="application/vnd.openxmlformats-officedocument.presentationml.tags+xml"/>
  <Override PartName="/ppt/tags/tag2024.xml" ContentType="application/vnd.openxmlformats-officedocument.presentationml.tags+xml"/>
  <Override PartName="/ppt/tags/tag449.xml" ContentType="application/vnd.openxmlformats-officedocument.presentationml.tags+xml"/>
  <Override PartName="/ppt/tags/tag635.xml" ContentType="application/vnd.openxmlformats-officedocument.presentationml.tags+xml"/>
  <Override PartName="/ppt/slideLayouts/slideLayout357.xml" ContentType="application/vnd.openxmlformats-officedocument.presentationml.slideLayout+xml"/>
  <Override PartName="/ppt/tags/tag1459.xml" ContentType="application/vnd.openxmlformats-officedocument.presentationml.tags+xml"/>
  <Override PartName="/ppt/tags/tag2194.xml" ContentType="application/vnd.openxmlformats-officedocument.presentationml.tags+xml"/>
  <Override PartName="/ppt/tags/tag143.xml" ContentType="application/vnd.openxmlformats-officedocument.presentationml.tags+xml"/>
  <Override PartName="/ppt/tags/tag821.xml" ContentType="application/vnd.openxmlformats-officedocument.presentationml.tags+xml"/>
  <Override PartName="/ppt/tags/tag1153.xml" ContentType="application/vnd.openxmlformats-officedocument.presentationml.tags+xml"/>
  <Override PartName="/ppt/tags/tag1645.xml" ContentType="application/vnd.openxmlformats-officedocument.presentationml.tags+xml"/>
  <Override PartName="/ppt/slideLayouts/slideLayout543.xml" ContentType="application/vnd.openxmlformats-officedocument.presentationml.slideLayout+xml"/>
  <Override PartName="/ppt/tags/tag1831.xml" ContentType="application/vnd.openxmlformats-officedocument.presentationml.tags+xml"/>
  <Override PartName="/ppt/tags/tag991.xml" ContentType="application/vnd.openxmlformats-officedocument.presentationml.tags+xml"/>
  <Override PartName="/ppt/tags/tag2125.xml" ContentType="application/vnd.openxmlformats-officedocument.presentationml.tags+xml"/>
  <Override PartName="/ppt/slideLayouts/slideLayout74.xml" ContentType="application/vnd.openxmlformats-officedocument.presentationml.slideLayout+xml"/>
  <Override PartName="/ppt/tags/tag736.xml" ContentType="application/vnd.openxmlformats-officedocument.presentationml.tags+xml"/>
  <Override PartName="/ppt/tags/tag922.xml" ContentType="application/vnd.openxmlformats-officedocument.presentationml.tags+xml"/>
  <Override PartName="/ppt/tags/tag1068.xml" ContentType="application/vnd.openxmlformats-officedocument.presentationml.tags+xml"/>
  <Override PartName="/ppt/slideLayouts/slideLayout458.xml" ContentType="application/vnd.openxmlformats-officedocument.presentationml.slideLayout+xml"/>
  <Override PartName="/ppt/tags/tag1746.xml" ContentType="application/vnd.openxmlformats-officedocument.presentationml.tags+xml"/>
  <Override PartName="/ppt/slideLayouts/slideLayout644.xml" ContentType="application/vnd.openxmlformats-officedocument.presentationml.slideLayout+xml"/>
  <Override PartName="/ppt/diagrams/drawing1.xml" ContentType="application/vnd.ms-office.drawingml.diagramDrawing+xml"/>
  <Default Extension="jpeg" ContentType="image/jpeg"/>
  <Override PartName="/ppt/tags/tag244.xml" ContentType="application/vnd.openxmlformats-officedocument.presentationml.tags+xml"/>
  <Override PartName="/ppt/tags/tag430.xml" ContentType="application/vnd.openxmlformats-officedocument.presentationml.tags+xml"/>
  <Override PartName="/ppt/slideLayouts/slideLayout152.xml" ContentType="application/vnd.openxmlformats-officedocument.presentationml.slideLayout+xml"/>
  <Override PartName="/ppt/tags/tag1254.xml" ContentType="application/vnd.openxmlformats-officedocument.presentationml.tags+xml"/>
  <Override PartName="/ppt/tags/tag1932.xml" ContentType="application/vnd.openxmlformats-officedocument.presentationml.tags+xml"/>
  <Override PartName="/ppt/tags/tag1440.xml" ContentType="application/vnd.openxmlformats-officedocument.presentationml.tags+xml"/>
  <Override PartName="/ppt/slideMasters/slideMaster61.xml" ContentType="application/vnd.openxmlformats-officedocument.presentationml.slideMaster+xml"/>
  <Override PartName="/ppt/tags/tag159.xml" ContentType="application/vnd.openxmlformats-officedocument.presentationml.tags+xml"/>
  <Override PartName="/ppt/tags/tag345.xml" ContentType="application/vnd.openxmlformats-officedocument.presentationml.tags+xml"/>
  <Override PartName="/ppt/tags/tag837.xml" ContentType="application/vnd.openxmlformats-officedocument.presentationml.tags+xml"/>
  <Override PartName="/ppt/tags/tag1169.xml" ContentType="application/vnd.openxmlformats-officedocument.presentationml.tags+xml"/>
  <Override PartName="/ppt/slideLayouts/slideLayout559.xml" ContentType="application/vnd.openxmlformats-officedocument.presentationml.slideLayout+xml"/>
  <Override PartName="/ppt/tags/tag1847.xml" ContentType="application/vnd.openxmlformats-officedocument.presentationml.tags+xml"/>
  <Override PartName="/ppt/tags/tag44.xml" ContentType="application/vnd.openxmlformats-officedocument.presentationml.tags+xml"/>
  <Override PartName="/ppt/tags/tag531.xml" ContentType="application/vnd.openxmlformats-officedocument.presentationml.tags+xml"/>
  <Override PartName="/ppt/slideLayouts/slideLayout253.xml" ContentType="application/vnd.openxmlformats-officedocument.presentationml.slideLayout+xml"/>
  <Override PartName="/ppt/tags/tag1355.xml" ContentType="application/vnd.openxmlformats-officedocument.presentationml.tags+xml"/>
  <Override PartName="/ppt/tags/tag1541.xml" ContentType="application/vnd.openxmlformats-officedocument.presentationml.tags+xml"/>
  <Override PartName="/ppt/tags/tag2090.xml" ContentType="application/vnd.openxmlformats-officedocument.presentationml.tags+xml"/>
  <Override PartName="/ppt/theme/theme13.xml" ContentType="application/vnd.openxmlformats-officedocument.theme+xml"/>
  <Override PartName="/ppt/tags/tag938.xml" ContentType="application/vnd.openxmlformats-officedocument.presentationml.tags+xml"/>
  <Override PartName="/ppt/tags/tag446.xml" ContentType="application/vnd.openxmlformats-officedocument.presentationml.tags+xml"/>
  <Override PartName="/ppt/slideLayouts/slideLayout168.xml" ContentType="application/vnd.openxmlformats-officedocument.presentationml.slideLayout+xml"/>
  <Override PartName="/ppt/tags/tag1456.xml" ContentType="application/vnd.openxmlformats-officedocument.presentationml.tags+xml"/>
  <Override PartName="/ppt/tags/tag1948.xml" ContentType="application/vnd.openxmlformats-officedocument.presentationml.tags+xml"/>
  <Override PartName="/ppt/tags/tag2021.xml" ContentType="application/vnd.openxmlformats-officedocument.presentationml.tags+xml"/>
  <Override PartName="/ppt/tags/tag140.xml" ContentType="application/vnd.openxmlformats-officedocument.presentationml.tags+xml"/>
  <Override PartName="/ppt/tags/tag632.xml" ContentType="application/vnd.openxmlformats-officedocument.presentationml.tags+xml"/>
  <Override PartName="/ppt/slideLayouts/slideLayout354.xml" ContentType="application/vnd.openxmlformats-officedocument.presentationml.slideLayout+xml"/>
  <Override PartName="/ppt/tags/tag1642.xml" ContentType="application/vnd.openxmlformats-officedocument.presentationml.tags+xml"/>
  <Override PartName="/ppt/slideLayouts/slideLayout540.xml" ContentType="application/vnd.openxmlformats-officedocument.presentationml.slideLayout+xml"/>
  <Override PartName="/ppt/tags/tag2191.xml" ContentType="application/vnd.openxmlformats-officedocument.presentationml.tags+xml"/>
  <Override PartName="/ppt/tags/tag1150.xml" ContentType="application/vnd.openxmlformats-officedocument.presentationml.tags+xml"/>
  <Override PartName="/ppt/tags/tag2122.xml" ContentType="application/vnd.openxmlformats-officedocument.presentationml.tags+xml"/>
  <Override PartName="/ppt/tags/tag547.xml" ContentType="application/vnd.openxmlformats-officedocument.presentationml.tags+xml"/>
  <Override PartName="/ppt/tags/tag733.xml" ContentType="application/vnd.openxmlformats-officedocument.presentationml.tags+xml"/>
  <Override PartName="/ppt/slideLayouts/slideLayout269.xml" ContentType="application/vnd.openxmlformats-officedocument.presentationml.slideLayout+xml"/>
  <Override PartName="/ppt/slideLayouts/slideLayout455.xml" ContentType="application/vnd.openxmlformats-officedocument.presentationml.slideLayout+xml"/>
  <Override PartName="/ppt/tags/tag1557.xml" ContentType="application/vnd.openxmlformats-officedocument.presentationml.tags+xml"/>
  <Override PartName="/ppt/slideLayouts/slideLayout71.xml" ContentType="application/vnd.openxmlformats-officedocument.presentationml.slideLayout+xml"/>
  <Override PartName="/ppt/tags/tag241.xml" ContentType="application/vnd.openxmlformats-officedocument.presentationml.tags+xml"/>
  <Override PartName="/ppt/theme/theme29.xml" ContentType="application/vnd.openxmlformats-officedocument.theme+xml"/>
  <Override PartName="/ppt/tags/tag1065.xml" ContentType="application/vnd.openxmlformats-officedocument.presentationml.tags+xml"/>
  <Override PartName="/ppt/tags/tag1251.xml" ContentType="application/vnd.openxmlformats-officedocument.presentationml.tags+xml"/>
  <Override PartName="/ppt/tags/tag1743.xml" ContentType="application/vnd.openxmlformats-officedocument.presentationml.tags+xml"/>
  <Override PartName="/ppt/slideLayouts/slideLayout641.xml" ContentType="application/vnd.openxmlformats-officedocument.presentationml.slideLayout+xml"/>
  <Override PartName="/ppt/tags/tag2037.xml" ContentType="application/vnd.openxmlformats-officedocument.presentationml.tags+xml"/>
  <Override PartName="/ppt/slideMasters/slideMaster8.xml" ContentType="application/vnd.openxmlformats-officedocument.presentationml.slideMaster+xml"/>
  <Override PartName="/ppt/tags/tag156.xml" ContentType="application/vnd.openxmlformats-officedocument.presentationml.tags+xml"/>
  <Override PartName="/ppt/tags/tag648.xml" ContentType="application/vnd.openxmlformats-officedocument.presentationml.tags+xml"/>
  <Override PartName="/ppt/tags/tag834.xml" ContentType="application/vnd.openxmlformats-officedocument.presentationml.tags+xml"/>
  <Override PartName="/ppt/tags/tag1658.xml" ContentType="application/vnd.openxmlformats-officedocument.presentationml.tags+xml"/>
  <Override PartName="/ppt/slideLayouts/slideLayout556.xml" ContentType="application/vnd.openxmlformats-officedocument.presentationml.slideLayout+xml"/>
  <Override PartName="/ppt/tags/tag1844.xml" ContentType="application/vnd.openxmlformats-officedocument.presentationml.tags+xml"/>
  <Override PartName="/ppt/tags/tag41.xml" ContentType="application/vnd.openxmlformats-officedocument.presentationml.tags+xml"/>
  <Override PartName="/ppt/tags/tag342.xml" ContentType="application/vnd.openxmlformats-officedocument.presentationml.tags+xml"/>
  <Override PartName="/ppt/slideLayouts/slideLayout250.xml" ContentType="application/vnd.openxmlformats-officedocument.presentationml.slideLayout+xml"/>
  <Override PartName="/ppt/tags/tag1166.xml" ContentType="application/vnd.openxmlformats-officedocument.presentationml.tags+xml"/>
  <Override PartName="/ppt/tags/tag1352.xml" ContentType="application/vnd.openxmlformats-officedocument.presentationml.tags+xml"/>
  <Override PartName="/ppt/tags/tag2138.xml" ContentType="application/vnd.openxmlformats-officedocument.presentationml.tags+xml"/>
  <Override PartName="/ppt/diagrams/data2.xml" ContentType="application/vnd.openxmlformats-officedocument.drawingml.diagramData+xml"/>
  <Override PartName="/ppt/theme/theme10.xml" ContentType="application/vnd.openxmlformats-officedocument.theme+xml"/>
  <Override PartName="/ppt/slideLayouts/slideLayout87.xml" ContentType="application/vnd.openxmlformats-officedocument.presentationml.slideLayout+xml"/>
  <Override PartName="/ppt/tags/tag749.xml" ContentType="application/vnd.openxmlformats-officedocument.presentationml.tags+xml"/>
  <Override PartName="/ppt/tags/tag1759.xml" ContentType="application/vnd.openxmlformats-officedocument.presentationml.tags+xml"/>
  <Override PartName="/ppt/slides/slide19.xml" ContentType="application/vnd.openxmlformats-officedocument.presentationml.slide+xml"/>
  <Override PartName="/ppt/tags/tag257.xml" ContentType="application/vnd.openxmlformats-officedocument.presentationml.tags+xml"/>
  <Override PartName="/ppt/slideLayouts/slideLayout165.xml" ContentType="application/vnd.openxmlformats-officedocument.presentationml.slideLayout+xml"/>
  <Override PartName="/ppt/tags/tag935.xml" ContentType="application/vnd.openxmlformats-officedocument.presentationml.tags+xml"/>
  <Override PartName="/ppt/tags/tag1267.xml" ContentType="application/vnd.openxmlformats-officedocument.presentationml.tags+xml"/>
  <Override PartName="/ppt/tags/tag1945.xml" ContentType="application/vnd.openxmlformats-officedocument.presentationml.tags+xml"/>
  <Override PartName="/ppt/slideLayouts/slideLayout65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443.xml" ContentType="application/vnd.openxmlformats-officedocument.presentationml.tags+xml"/>
  <Override PartName="/ppt/slideLayouts/slideLayout351.xml" ContentType="application/vnd.openxmlformats-officedocument.presentationml.slideLayout+xml"/>
  <Override PartName="/ppt/tags/tag1453.xml" ContentType="application/vnd.openxmlformats-officedocument.presentationml.tags+xml"/>
  <Override PartName="/ppt/tags/tag57.xml" ContentType="application/vnd.openxmlformats-officedocument.presentationml.tags+xml"/>
  <Override PartName="/ppt/tags/tag358.xml" ContentType="application/vnd.openxmlformats-officedocument.presentationml.tags+xml"/>
  <Override PartName="/ppt/tags/tag544.xml" ContentType="application/vnd.openxmlformats-officedocument.presentationml.tags+xml"/>
  <Override PartName="/ppt/slideLayouts/slideLayout266.xml" ContentType="application/vnd.openxmlformats-officedocument.presentationml.slideLayout+xml"/>
  <Override PartName="/ppt/tags/tag1368.xml" ContentType="application/vnd.openxmlformats-officedocument.presentationml.tags+xml"/>
  <Override PartName="/ppt/theme/theme26.xml" ContentType="application/vnd.openxmlformats-officedocument.theme+xml"/>
  <Override PartName="/ppt/tags/tag730.xml" ContentType="application/vnd.openxmlformats-officedocument.presentationml.tags+xml"/>
  <Override PartName="/ppt/tags/tag1062.xml" ContentType="application/vnd.openxmlformats-officedocument.presentationml.tags+xml"/>
  <Override PartName="/ppt/slideLayouts/slideLayout452.xml" ContentType="application/vnd.openxmlformats-officedocument.presentationml.slideLayout+xml"/>
  <Override PartName="/ppt/tags/tag1554.xml" ContentType="application/vnd.openxmlformats-officedocument.presentationml.tags+xml"/>
  <Override PartName="/ppt/tags/tag1740.xml" ContentType="application/vnd.openxmlformats-officedocument.presentationml.tags+xml"/>
  <Override PartName="/ppt/tags/tag459.xml" ContentType="application/vnd.openxmlformats-officedocument.presentationml.tags+xml"/>
  <Override PartName="/ppt/tags/tag2034.xml" ContentType="application/vnd.openxmlformats-officedocument.presentationml.tags+xml"/>
  <Override PartName="/ppt/tags/tag645.xml" ContentType="application/vnd.openxmlformats-officedocument.presentationml.tags+xml"/>
  <Override PartName="/ppt/tags/tag831.xml" ContentType="application/vnd.openxmlformats-officedocument.presentationml.tags+xml"/>
  <Override PartName="/ppt/slideLayouts/slideLayout367.xml" ContentType="application/vnd.openxmlformats-officedocument.presentationml.slideLayout+xml"/>
  <Override PartName="/ppt/tags/tag1469.xml" ContentType="application/vnd.openxmlformats-officedocument.presentationml.tags+xml"/>
  <Override PartName="/ppt/tags/tag1655.xml" ContentType="application/vnd.openxmlformats-officedocument.presentationml.tags+xml"/>
  <Override PartName="/ppt/slideLayouts/slideLayout553.xml" ContentType="application/vnd.openxmlformats-officedocument.presentationml.slideLayout+xml"/>
  <Override PartName="/ppt/slideMasters/slideMaster5.xml" ContentType="application/vnd.openxmlformats-officedocument.presentationml.slideMaster+xml"/>
  <Override PartName="/ppt/tags/tag153.xml" ContentType="application/vnd.openxmlformats-officedocument.presentationml.tags+xml"/>
  <Override PartName="/ppt/tags/tag1163.xml" ContentType="application/vnd.openxmlformats-officedocument.presentationml.tags+xml"/>
  <Override PartName="/ppt/tags/tag1841.xml" ContentType="application/vnd.openxmlformats-officedocument.presentationml.tags+xml"/>
  <Override PartName="/ppt/tags/tag2135.xml" ContentType="application/vnd.openxmlformats-officedocument.presentationml.tags+xml"/>
  <Override PartName="/ppt/slideLayouts/slideLayout84.xml" ContentType="application/vnd.openxmlformats-officedocument.presentationml.slideLayout+xml"/>
  <Override PartName="/ppt/tags/tag254.xml" ContentType="application/vnd.openxmlformats-officedocument.presentationml.tags+xml"/>
  <Override PartName="/ppt/tags/tag746.xml" ContentType="application/vnd.openxmlformats-officedocument.presentationml.tags+xml"/>
  <Override PartName="/ppt/tags/tag932.xml" ContentType="application/vnd.openxmlformats-officedocument.presentationml.tags+xml"/>
  <Override PartName="/ppt/tags/tag1078.xml" ContentType="application/vnd.openxmlformats-officedocument.presentationml.tags+xml"/>
  <Override PartName="/ppt/slideLayouts/slideLayout468.xml" ContentType="application/vnd.openxmlformats-officedocument.presentationml.slideLayout+xml"/>
  <Override PartName="/ppt/tags/tag1756.xml" ContentType="application/vnd.openxmlformats-officedocument.presentationml.tags+xml"/>
  <Override PartName="/ppt/tags/tag1942.xml" ContentType="application/vnd.openxmlformats-officedocument.presentationml.tags+xml"/>
  <Override PartName="/ppt/slideLayouts/slideLayout654.xml" ContentType="application/vnd.openxmlformats-officedocument.presentationml.slideLayout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440.xml" ContentType="application/vnd.openxmlformats-officedocument.presentationml.tags+xml"/>
  <Override PartName="/ppt/slideLayouts/slideLayout162.xml" ContentType="application/vnd.openxmlformats-officedocument.presentationml.slideLayout+xml"/>
  <Override PartName="/ppt/tags/tag1264.xml" ContentType="application/vnd.openxmlformats-officedocument.presentationml.tags+xml"/>
  <Override PartName="/ppt/tags/tag1450.xml" ContentType="application/vnd.openxmlformats-officedocument.presentationml.tags+xml"/>
  <Override PartName="/ppt/tags/tag847.xml" ContentType="application/vnd.openxmlformats-officedocument.presentationml.tags+xml"/>
  <Override PartName="/ppt/tags/tag1009.xml" ContentType="application/vnd.openxmlformats-officedocument.presentationml.tags+xml"/>
  <Override PartName="/ppt/slideLayouts/slideLayout569.xml" ContentType="application/vnd.openxmlformats-officedocument.presentationml.slideLayout+xml"/>
  <Override PartName="/ppt/tags/tag54.xml" ContentType="application/vnd.openxmlformats-officedocument.presentationml.tags+xml"/>
  <Override PartName="/ppt/tags/tag169.xml" ContentType="application/vnd.openxmlformats-officedocument.presentationml.tags+xml"/>
  <Override PartName="/ppt/tags/tag355.xml" ContentType="application/vnd.openxmlformats-officedocument.presentationml.tags+xml"/>
  <Override PartName="/ppt/tags/tag1179.xml" ContentType="application/vnd.openxmlformats-officedocument.presentationml.tags+xml"/>
  <Override PartName="/ppt/tags/tag1365.xml" ContentType="application/vnd.openxmlformats-officedocument.presentationml.tags+xml"/>
  <Override PartName="/ppt/tags/tag1857.xml" ContentType="application/vnd.openxmlformats-officedocument.presentationml.tags+xml"/>
  <Override PartName="/ppt/tags/tag541.xml" ContentType="application/vnd.openxmlformats-officedocument.presentationml.tags+xml"/>
  <Override PartName="/ppt/theme/theme23.xml" ContentType="application/vnd.openxmlformats-officedocument.theme+xml"/>
  <Override PartName="/ppt/slideLayouts/slideLayout263.xml" ContentType="application/vnd.openxmlformats-officedocument.presentationml.slideLayout+xml"/>
  <Override PartName="/ppt/tags/tag1551.xml" ContentType="application/vnd.openxmlformats-officedocument.presentationml.tags+xml"/>
  <Override PartName="/ppt/tags/tag948.xml" ContentType="application/vnd.openxmlformats-officedocument.presentationml.tags+xml"/>
  <Override PartName="/ppt/tags/tag1958.xml" ContentType="application/vnd.openxmlformats-officedocument.presentationml.tags+xml"/>
  <Override PartName="/ppt/tags/tag2031.xml" ContentType="application/vnd.openxmlformats-officedocument.presentationml.tags+xml"/>
  <Override PartName="/ppt/slides/slide7.xml" ContentType="application/vnd.openxmlformats-officedocument.presentationml.slide+xml"/>
  <Override PartName="/ppt/tags/tag456.xml" ContentType="application/vnd.openxmlformats-officedocument.presentationml.tags+xml"/>
  <Override PartName="/ppt/slideLayouts/slideLayout178.xml" ContentType="application/vnd.openxmlformats-officedocument.presentationml.slideLayout+xml"/>
  <Override PartName="/ppt/tags/tag642.xml" ContentType="application/vnd.openxmlformats-officedocument.presentationml.tags+xml"/>
  <Override PartName="/ppt/slideLayouts/slideLayout364.xml" ContentType="application/vnd.openxmlformats-officedocument.presentationml.slideLayout+xml"/>
  <Override PartName="/ppt/tags/tag1466.xml" ContentType="application/vnd.openxmlformats-officedocument.presentationml.tags+xml"/>
  <Override PartName="/ppt/slideMasters/slideMaster2.xml" ContentType="application/vnd.openxmlformats-officedocument.presentationml.slideMaster+xml"/>
  <Override PartName="/ppt/tags/tag150.xml" ContentType="application/vnd.openxmlformats-officedocument.presentationml.tags+xml"/>
  <Override PartName="/ppt/slideLayouts/slideLayout109.xml" ContentType="application/vnd.openxmlformats-officedocument.presentationml.slideLayout+xml"/>
  <Override PartName="/ppt/tags/tag1160.xml" ContentType="application/vnd.openxmlformats-officedocument.presentationml.tags+xml"/>
  <Override PartName="/ppt/tags/tag1652.xml" ContentType="application/vnd.openxmlformats-officedocument.presentationml.tags+xml"/>
  <Override PartName="/ppt/slideLayouts/slideLayout550.xml" ContentType="application/vnd.openxmlformats-officedocument.presentationml.slideLayout+xml"/>
  <Override PartName="/ppt/slideLayouts/slideLayout279.xml" ContentType="application/vnd.openxmlformats-officedocument.presentationml.slideLayout+xml"/>
  <Override PartName="/ppt/tags/tag2132.xml" ContentType="application/vnd.openxmlformats-officedocument.presentationml.tags+xml"/>
  <Override PartName="/ppt/slideMasters/slideMaster18.xml" ContentType="application/vnd.openxmlformats-officedocument.presentationml.slideMaster+xml"/>
  <Override PartName="/ppt/slideLayouts/slideLayout81.xml" ContentType="application/vnd.openxmlformats-officedocument.presentationml.slideLayout+xml"/>
  <Override PartName="/ppt/tags/tag557.xml" ContentType="application/vnd.openxmlformats-officedocument.presentationml.tags+xml"/>
  <Override PartName="/ppt/tags/tag743.xml" ContentType="application/vnd.openxmlformats-officedocument.presentationml.tags+xml"/>
  <Override PartName="/ppt/theme/theme39.xml" ContentType="application/vnd.openxmlformats-officedocument.theme+xml"/>
  <Override PartName="/ppt/slideLayouts/slideLayout465.xml" ContentType="application/vnd.openxmlformats-officedocument.presentationml.slideLayout+xml"/>
  <Override PartName="/ppt/tags/tag1567.xml" ContentType="application/vnd.openxmlformats-officedocument.presentationml.tags+xml"/>
  <Override PartName="/ppt/tags/tag1753.xml" ContentType="application/vnd.openxmlformats-officedocument.presentationml.tags+xml"/>
  <Override PartName="/ppt/slides/slide13.xml" ContentType="application/vnd.openxmlformats-officedocument.presentationml.slide+xml"/>
  <Override PartName="/ppt/tags/tag251.xml" ContentType="application/vnd.openxmlformats-officedocument.presentationml.tags+xml"/>
  <Override PartName="/ppt/tags/tag1075.xml" ContentType="application/vnd.openxmlformats-officedocument.presentationml.tags+xml"/>
  <Override PartName="/ppt/tags/tag1261.xml" ContentType="application/vnd.openxmlformats-officedocument.presentationml.tags+xml"/>
  <Override PartName="/ppt/tags/tag2047.xml" ContentType="application/vnd.openxmlformats-officedocument.presentationml.tags+xml"/>
  <Override PartName="/ppt/slideLayouts/slideLayout65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658.xml" ContentType="application/vnd.openxmlformats-officedocument.presentationml.tags+xml"/>
  <Override PartName="/ppt/tags/tag1006.xml" ContentType="application/vnd.openxmlformats-officedocument.presentationml.tags+xml"/>
  <Override PartName="/ppt/tags/tag1668.xml" ContentType="application/vnd.openxmlformats-officedocument.presentationml.tags+xml"/>
  <Override PartName="/ppt/tags/tag166.xml" ContentType="application/vnd.openxmlformats-officedocument.presentationml.tags+xml"/>
  <Override PartName="/ppt/tags/tag844.xml" ContentType="application/vnd.openxmlformats-officedocument.presentationml.tags+xml"/>
  <Override PartName="/ppt/tags/tag1176.xml" ContentType="application/vnd.openxmlformats-officedocument.presentationml.tags+xml"/>
  <Override PartName="/ppt/slideLayouts/slideLayout566.xml" ContentType="application/vnd.openxmlformats-officedocument.presentationml.slideLayout+xml"/>
  <Override PartName="/ppt/tags/tag1854.xml" ContentType="application/vnd.openxmlformats-officedocument.presentationml.tags+xml"/>
  <Override PartName="/ppt/tags/tag51.xml" ContentType="application/vnd.openxmlformats-officedocument.presentationml.tags+xml"/>
  <Override PartName="/ppt/tags/tag352.xml" ContentType="application/vnd.openxmlformats-officedocument.presentationml.tags+xml"/>
  <Override PartName="/ppt/slideLayouts/slideLayout260.xml" ContentType="application/vnd.openxmlformats-officedocument.presentationml.slideLayout+xml"/>
  <Override PartName="/ppt/tags/tag1362.xml" ContentType="application/vnd.openxmlformats-officedocument.presentationml.tags+xml"/>
  <Override PartName="/ppt/tags/tag2148.xml" ContentType="application/vnd.openxmlformats-officedocument.presentationml.tags+xml"/>
  <Override PartName="/ppt/slideLayouts/slideLayout97.xml" ContentType="application/vnd.openxmlformats-officedocument.presentationml.slideLayout+xml"/>
  <Override PartName="/ppt/theme/theme20.xml" ContentType="application/vnd.openxmlformats-officedocument.theme+xml"/>
  <Override PartName="/ppt/tags/tag759.xml" ContentType="application/vnd.openxmlformats-officedocument.presentationml.tags+xml"/>
  <Override PartName="/ppt/tags/tag945.xml" ContentType="application/vnd.openxmlformats-officedocument.presentationml.tags+xml"/>
  <Override PartName="/ppt/tags/tag1107.xml" ContentType="application/vnd.openxmlformats-officedocument.presentationml.tags+xml"/>
  <Override PartName="/ppt/tags/tag1769.xml" ContentType="application/vnd.openxmlformats-officedocument.presentationml.tags+xml"/>
  <Override PartName="/ppt/slides/slide29.xml" ContentType="application/vnd.openxmlformats-officedocument.presentationml.slide+xml"/>
  <Override PartName="/ppt/tags/tag267.xml" ContentType="application/vnd.openxmlformats-officedocument.presentationml.tags+xml"/>
  <Override PartName="/ppt/tags/tag453.xml" ContentType="application/vnd.openxmlformats-officedocument.presentationml.tags+xml"/>
  <Override PartName="/ppt/slideLayouts/slideLayout175.xml" ContentType="application/vnd.openxmlformats-officedocument.presentationml.slideLayout+xml"/>
  <Override PartName="/ppt/tags/tag1277.xml" ContentType="application/vnd.openxmlformats-officedocument.presentationml.tags+xml"/>
  <Override PartName="/ppt/tags/tag1955.xml" ContentType="application/vnd.openxmlformats-officedocument.presentationml.tags+xml"/>
  <Override PartName="/ppt/slides/slide4.xml" ContentType="application/vnd.openxmlformats-officedocument.presentationml.slide+xml"/>
  <Override PartName="/ppt/slideLayouts/slideLayout28.xml" ContentType="application/vnd.openxmlformats-officedocument.presentationml.slideLayout+xml"/>
  <Override PartName="/ppt/slideLayouts/slideLayout361.xml" ContentType="application/vnd.openxmlformats-officedocument.presentationml.slideLayout+xml"/>
  <Override PartName="/ppt/tags/tag1463.xml" ContentType="application/vnd.openxmlformats-officedocument.presentationml.tags+xml"/>
  <Override PartName="/ppt/slideLayouts/slideLayout106.xml" ContentType="application/vnd.openxmlformats-officedocument.presentationml.slideLayout+xml"/>
  <Override PartName="/ppt/tags/tag368.xml" ContentType="application/vnd.openxmlformats-officedocument.presentationml.tags+xml"/>
  <Override PartName="/ppt/tags/tag1208.xml" ContentType="application/vnd.openxmlformats-officedocument.presentationml.tags+xml"/>
  <Override PartName="/ppt/tags/tag67.xml" ContentType="application/vnd.openxmlformats-officedocument.presentationml.tags+xml"/>
  <Override PartName="/ppt/tags/tag554.xml" ContentType="application/vnd.openxmlformats-officedocument.presentationml.tags+xml"/>
  <Override PartName="/ppt/slideLayouts/slideLayout276.xml" ContentType="application/vnd.openxmlformats-officedocument.presentationml.slideLayout+xml"/>
  <Override PartName="/ppt/tags/tag1378.xml" ContentType="application/vnd.openxmlformats-officedocument.presentationml.tags+xml"/>
  <Override PartName="/ppt/slideLayouts/slideLayout462.xml" ContentType="application/vnd.openxmlformats-officedocument.presentationml.slideLayout+xml"/>
  <Override PartName="/ppt/tags/tag1564.xml" ContentType="application/vnd.openxmlformats-officedocument.presentationml.tags+xml"/>
  <Override PartName="/ppt/slideMasters/slideMaster15.xml" ContentType="application/vnd.openxmlformats-officedocument.presentationml.slideMaster+xml"/>
  <Override PartName="/ppt/slides/slide10.xml" ContentType="application/vnd.openxmlformats-officedocument.presentationml.slide+xml"/>
  <Override PartName="/ppt/slideLayouts/slideLayout207.xml" ContentType="application/vnd.openxmlformats-officedocument.presentationml.slideLayout+xml"/>
  <Override PartName="/ppt/tags/tag740.xml" ContentType="application/vnd.openxmlformats-officedocument.presentationml.tags+xml"/>
  <Override PartName="/ppt/theme/theme36.xml" ContentType="application/vnd.openxmlformats-officedocument.theme+xml"/>
  <Override PartName="/ppt/tags/tag1072.xml" ContentType="application/vnd.openxmlformats-officedocument.presentationml.tags+xml"/>
  <Override PartName="/ppt/tags/tag1309.xml" ContentType="application/vnd.openxmlformats-officedocument.presentationml.tags+xml"/>
  <Override PartName="/ppt/tags/tag1750.xml" ContentType="application/vnd.openxmlformats-officedocument.presentationml.tags+xml"/>
  <Override PartName="/ppt/tags/tag469.xml" ContentType="application/vnd.openxmlformats-officedocument.presentationml.tags+xml"/>
  <Override PartName="/ppt/tags/tag1479.xml" ContentType="application/vnd.openxmlformats-officedocument.presentationml.tags+xml"/>
  <Override PartName="/ppt/tags/tag2044.xml" ContentType="application/vnd.openxmlformats-officedocument.presentationml.tags+xml"/>
  <Override PartName="/ppt/tags/tag163.xml" ContentType="application/vnd.openxmlformats-officedocument.presentationml.tags+xml"/>
  <Override PartName="/ppt/tags/tag655.xml" ContentType="application/vnd.openxmlformats-officedocument.presentationml.tags+xml"/>
  <Override PartName="/ppt/tags/tag841.xml" ContentType="application/vnd.openxmlformats-officedocument.presentationml.tags+xml"/>
  <Override PartName="/ppt/tags/tag1003.xml" ContentType="application/vnd.openxmlformats-officedocument.presentationml.tags+xml"/>
  <Override PartName="/ppt/slideLayouts/slideLayout377.xml" ContentType="application/vnd.openxmlformats-officedocument.presentationml.slideLayout+xml"/>
  <Override PartName="/ppt/tags/tag1665.xml" ContentType="application/vnd.openxmlformats-officedocument.presentationml.tags+xml"/>
  <Override PartName="/ppt/slideLayouts/slideLayout563.xml" ContentType="application/vnd.openxmlformats-officedocument.presentationml.slideLayout+xml"/>
  <Override PartName="/ppt/tags/tag1851.xml" ContentType="application/vnd.openxmlformats-officedocument.presentationml.tags+xml"/>
  <Override PartName="/ppt/slideLayouts/slideLayout308.xml" ContentType="application/vnd.openxmlformats-officedocument.presentationml.slideLayout+xml"/>
  <Override PartName="/ppt/tags/tag1173.xml" ContentType="application/vnd.openxmlformats-officedocument.presentationml.tags+xml"/>
  <Override PartName="/ppt/tags/tag2145.xml" ContentType="application/vnd.openxmlformats-officedocument.presentationml.tags+xml"/>
  <Override PartName="/ppt/tags/tag756.xml" ContentType="application/vnd.openxmlformats-officedocument.presentationml.tags+xml"/>
  <Override PartName="/ppt/tags/tag1104.xml" ContentType="application/vnd.openxmlformats-officedocument.presentationml.tags+xml"/>
  <Override PartName="/ppt/slideLayouts/slideLayout478.xml" ContentType="application/vnd.openxmlformats-officedocument.presentationml.slideLayout+xml"/>
  <Override PartName="/ppt/slides/slide26.xml" ContentType="application/vnd.openxmlformats-officedocument.presentationml.slide+xml"/>
  <Override PartName="/ppt/slideLayouts/slideLayout94.xml" ContentType="application/vnd.openxmlformats-officedocument.presentationml.slideLayout+xml"/>
  <Override PartName="/ppt/tags/tag264.xml" ContentType="application/vnd.openxmlformats-officedocument.presentationml.tags+xml"/>
  <Override PartName="/ppt/tags/tag942.xml" ContentType="application/vnd.openxmlformats-officedocument.presentationml.tags+xml"/>
  <Override PartName="/ppt/tags/tag1088.xml" ContentType="application/vnd.openxmlformats-officedocument.presentationml.tags+xml"/>
  <Override PartName="/ppt/tags/tag1274.xml" ContentType="application/vnd.openxmlformats-officedocument.presentationml.tags+xml"/>
  <Override PartName="/ppt/tags/tag1766.xml" ContentType="application/vnd.openxmlformats-officedocument.presentationml.tags+xml"/>
  <Override PartName="/ppt/tags/tag1952.xml" ContentType="application/vnd.openxmlformats-officedocument.presentationml.tags+xml"/>
  <Override PartName="/ppt/slides/slide1.xml" ContentType="application/vnd.openxmlformats-officedocument.presentationml.slide+xml"/>
  <Override PartName="/ppt/slideLayouts/slideLayout25.xml" ContentType="application/vnd.openxmlformats-officedocument.presentationml.slideLayout+xml"/>
  <Override PartName="/ppt/tags/tag450.xml" ContentType="application/vnd.openxmlformats-officedocument.presentationml.tags+xml"/>
  <Override PartName="/ppt/slideLayouts/slideLayout172.xml" ContentType="application/vnd.openxmlformats-officedocument.presentationml.slideLayout+xml"/>
  <Override PartName="/ppt/tags/tag1019.xml" ContentType="application/vnd.openxmlformats-officedocument.presentationml.tags+xml"/>
  <Override PartName="/ppt/slideLayouts/slideLayout409.xml" ContentType="application/vnd.openxmlformats-officedocument.presentationml.slideLayout+xml"/>
  <Override PartName="/ppt/tags/tag1460.xml" ContentType="application/vnd.openxmlformats-officedocument.presentationml.tags+xml"/>
  <Override PartName="/ppt/notesSlides/notesSlide17.xml" ContentType="application/vnd.openxmlformats-officedocument.presentationml.notesSlide+xml"/>
  <Override PartName="/ppt/tags/tag179.xml" ContentType="application/vnd.openxmlformats-officedocument.presentationml.tags+xml"/>
  <Override PartName="/ppt/slideLayouts/slideLayout103.xml" ContentType="application/vnd.openxmlformats-officedocument.presentationml.slideLayout+xml"/>
  <Override PartName="/ppt/tags/tag857.xml" ContentType="application/vnd.openxmlformats-officedocument.presentationml.tags+xml"/>
  <Override PartName="/ppt/tags/tag1205.xml" ContentType="application/vnd.openxmlformats-officedocument.presentationml.tags+xml"/>
  <Override PartName="/ppt/tags/tag1867.xml" ContentType="application/vnd.openxmlformats-officedocument.presentationml.tags+xml"/>
  <Override PartName="/ppt/slideLayouts/slideLayout579.xml" ContentType="application/vnd.openxmlformats-officedocument.presentationml.slideLayout+xml"/>
  <Override PartName="/ppt/tags/tag64.xml" ContentType="application/vnd.openxmlformats-officedocument.presentationml.tags+xml"/>
  <Override PartName="/ppt/tags/tag365.xml" ContentType="application/vnd.openxmlformats-officedocument.presentationml.tags+xml"/>
  <Override PartName="/ppt/tags/tag551.xml" ContentType="application/vnd.openxmlformats-officedocument.presentationml.tags+xml"/>
  <Override PartName="/ppt/slideLayouts/slideLayout273.xml" ContentType="application/vnd.openxmlformats-officedocument.presentationml.slideLayout+xml"/>
  <Override PartName="/ppt/tags/tag1189.xml" ContentType="application/vnd.openxmlformats-officedocument.presentationml.tags+xml"/>
  <Override PartName="/ppt/tags/tag1375.xml" ContentType="application/vnd.openxmlformats-officedocument.presentationml.tags+xml"/>
  <Override PartName="/ppt/slideMasters/slideMaster12.xml" ContentType="application/vnd.openxmlformats-officedocument.presentationml.slideMaster+xml"/>
  <Default Extension="gif" ContentType="image/gif"/>
  <Override PartName="/ppt/theme/theme33.xml" ContentType="application/vnd.openxmlformats-officedocument.theme+xml"/>
  <Override PartName="/ppt/tags/tag1561.xml" ContentType="application/vnd.openxmlformats-officedocument.presentationml.tags+xml"/>
  <Override PartName="/ppt/slideLayouts/slideLayout188.xml" ContentType="application/vnd.openxmlformats-officedocument.presentationml.slideLayout+xml"/>
  <Override PartName="/ppt/slideLayouts/slideLayout204.xml" ContentType="application/vnd.openxmlformats-officedocument.presentationml.slideLayout+xml"/>
  <Override PartName="/ppt/tags/tag958.xml" ContentType="application/vnd.openxmlformats-officedocument.presentationml.tags+xml"/>
  <Override PartName="/ppt/tags/tag1306.xml" ContentType="application/vnd.openxmlformats-officedocument.presentationml.tags+xml"/>
  <Override PartName="/ppt/tags/tag1968.xml" ContentType="application/vnd.openxmlformats-officedocument.presentationml.tags+xml"/>
  <Override PartName="/ppt/tags/tag2041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466.xml" ContentType="application/vnd.openxmlformats-officedocument.presentationml.tags+xml"/>
  <Override PartName="/ppt/tags/tag652.xml" ContentType="application/vnd.openxmlformats-officedocument.presentationml.tags+xml"/>
  <Override PartName="/ppt/tags/tag1000.xml" ContentType="application/vnd.openxmlformats-officedocument.presentationml.tags+xml"/>
  <Override PartName="/ppt/slideLayouts/slideLayout374.xml" ContentType="application/vnd.openxmlformats-officedocument.presentationml.slideLayout+xml"/>
  <Override PartName="/ppt/tags/tag1476.xml" ContentType="application/vnd.openxmlformats-officedocument.presentationml.tags+xml"/>
  <Override PartName="/ppt/tags/tag1662.xml" ContentType="application/vnd.openxmlformats-officedocument.presentationml.tags+xml"/>
  <Override PartName="/ppt/tags/tag160.xml" ContentType="application/vnd.openxmlformats-officedocument.presentationml.tags+xml"/>
  <Override PartName="/ppt/slideLayouts/slideLayout119.xml" ContentType="application/vnd.openxmlformats-officedocument.presentationml.slideLayout+xml"/>
  <Override PartName="/ppt/tags/tag1170.xml" ContentType="application/vnd.openxmlformats-officedocument.presentationml.tags+xml"/>
  <Override PartName="/ppt/tags/tag1407.xml" ContentType="application/vnd.openxmlformats-officedocument.presentationml.tags+xml"/>
  <Override PartName="/ppt/slideLayouts/slideLayout560.xml" ContentType="application/vnd.openxmlformats-officedocument.presentationml.slideLayout+xml"/>
  <Override PartName="/ppt/tags/tag567.xml" ContentType="application/vnd.openxmlformats-officedocument.presentationml.tags+xml"/>
  <Override PartName="/ppt/slideLayouts/slideLayout289.xml" ContentType="application/vnd.openxmlformats-officedocument.presentationml.slideLayout+xml"/>
  <Override PartName="/ppt/slideLayouts/slideLayout305.xml" ContentType="application/vnd.openxmlformats-officedocument.presentationml.slideLayout+xml"/>
  <Override PartName="/ppt/tags/tag2142.xml" ContentType="application/vnd.openxmlformats-officedocument.presentationml.tags+xml"/>
  <Override PartName="/ppt/slideMasters/slideMaster28.xml" ContentType="application/vnd.openxmlformats-officedocument.presentationml.slideMaster+xml"/>
  <Override PartName="/ppt/slideLayouts/slideLayout91.xml" ContentType="application/vnd.openxmlformats-officedocument.presentationml.slideLayout+xml"/>
  <Override PartName="/ppt/tags/tag753.xml" ContentType="application/vnd.openxmlformats-officedocument.presentationml.tags+xml"/>
  <Override PartName="/ppt/tags/tag1085.xml" ContentType="application/vnd.openxmlformats-officedocument.presentationml.tags+xml"/>
  <Override PartName="/ppt/tags/tag1101.xml" ContentType="application/vnd.openxmlformats-officedocument.presentationml.tags+xml"/>
  <Override PartName="/ppt/theme/theme49.xml" ContentType="application/vnd.openxmlformats-officedocument.theme+xml"/>
  <Override PartName="/ppt/slideLayouts/slideLayout475.xml" ContentType="application/vnd.openxmlformats-officedocument.presentationml.slideLayout+xml"/>
  <Override PartName="/ppt/tags/tag1577.xml" ContentType="application/vnd.openxmlformats-officedocument.presentationml.tags+xml"/>
  <Override PartName="/ppt/tags/tag1763.xml" ContentType="application/vnd.openxmlformats-officedocument.presentationml.tag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tags/tag261.xml" ContentType="application/vnd.openxmlformats-officedocument.presentationml.tags+xml"/>
  <Override PartName="/ppt/tags/tag1271.xml" ContentType="application/vnd.openxmlformats-officedocument.presentationml.tags+xml"/>
  <Override PartName="/ppt/slideLayouts/slideLayout406.xml" ContentType="application/vnd.openxmlformats-officedocument.presentationml.slideLayout+xml"/>
  <Override PartName="/ppt/tags/tag1508.xml" ContentType="application/vnd.openxmlformats-officedocument.presentationml.tags+xml"/>
  <Override PartName="/ppt/tags/tag2057.xml" ContentType="application/vnd.openxmlformats-officedocument.presentationml.tags+xml"/>
  <Override PartName="/ppt/tags/tag668.xml" ContentType="application/vnd.openxmlformats-officedocument.presentationml.tags+xml"/>
  <Override PartName="/ppt/tags/tag854.xml" ContentType="application/vnd.openxmlformats-officedocument.presentationml.tags+xml"/>
  <Override PartName="/ppt/tags/tag1016.xml" ContentType="application/vnd.openxmlformats-officedocument.presentationml.tags+xml"/>
  <Override PartName="/ppt/tags/tag1202.xml" ContentType="application/vnd.openxmlformats-officedocument.presentationml.tags+xml"/>
  <Override PartName="/ppt/tags/tag1678.xml" ContentType="application/vnd.openxmlformats-officedocument.presentationml.tags+xml"/>
  <Override PartName="/ppt/slideLayouts/slideLayout576.xml" ContentType="application/vnd.openxmlformats-officedocument.presentationml.slideLayout+xml"/>
  <Override PartName="/ppt/notesSlides/notesSlide14.xml" ContentType="application/vnd.openxmlformats-officedocument.presentationml.notesSlide+xml"/>
  <Override PartName="/ppt/tags/tag61.xml" ContentType="application/vnd.openxmlformats-officedocument.presentationml.tags+xml"/>
  <Override PartName="/ppt/tags/tag176.xml" ContentType="application/vnd.openxmlformats-officedocument.presentationml.tags+xml"/>
  <Override PartName="/ppt/slideLayouts/slideLayout100.xml" ContentType="application/vnd.openxmlformats-officedocument.presentationml.slideLayout+xml"/>
  <Override PartName="/ppt/tags/tag362.xml" ContentType="application/vnd.openxmlformats-officedocument.presentationml.tags+xml"/>
  <Override PartName="/ppt/tags/tag1186.xml" ContentType="application/vnd.openxmlformats-officedocument.presentationml.tags+xml"/>
  <Override PartName="/ppt/tags/tag1864.xml" ContentType="application/vnd.openxmlformats-officedocument.presentationml.tags+xml"/>
  <Override PartName="/ppt/tags/tag107.xml" ContentType="application/vnd.openxmlformats-officedocument.presentationml.tags+xml"/>
  <Override PartName="/ppt/slideLayouts/slideLayout270.xml" ContentType="application/vnd.openxmlformats-officedocument.presentationml.slideLayout+xml"/>
  <Override PartName="/ppt/tags/tag1372.xml" ContentType="application/vnd.openxmlformats-officedocument.presentationml.tags+xml"/>
  <Override PartName="/ppt/tags/tag1609.xml" ContentType="application/vnd.openxmlformats-officedocument.presentationml.tags+xml"/>
  <Override PartName="/ppt/slideLayouts/slideLayout507.xml" ContentType="application/vnd.openxmlformats-officedocument.presentationml.slideLayout+xml"/>
  <Override PartName="/ppt/tags/tag2158.xml" ContentType="application/vnd.openxmlformats-officedocument.presentationml.tags+xml"/>
  <Override PartName="/ppt/tags/tag277.xml" ContentType="application/vnd.openxmlformats-officedocument.presentationml.tags+xml"/>
  <Override PartName="/ppt/slideLayouts/slideLayout201.xml" ContentType="application/vnd.openxmlformats-officedocument.presentationml.slideLayout+xml"/>
  <Override PartName="/ppt/tags/tag769.xml" ContentType="application/vnd.openxmlformats-officedocument.presentationml.tags+xml"/>
  <Override PartName="/ppt/theme/theme30.xml" ContentType="application/vnd.openxmlformats-officedocument.theme+xml"/>
  <Override PartName="/ppt/tags/tag955.xml" ContentType="application/vnd.openxmlformats-officedocument.presentationml.tags+xml"/>
  <Override PartName="/ppt/tags/tag1117.xml" ContentType="application/vnd.openxmlformats-officedocument.presentationml.tags+xml"/>
  <Override PartName="/ppt/tags/tag1303.xml" ContentType="application/vnd.openxmlformats-officedocument.presentationml.tags+xml"/>
  <Override PartName="/ppt/tags/tag1779.xml" ContentType="application/vnd.openxmlformats-officedocument.presentationml.tags+xml"/>
  <Override PartName="/ppt/tags/tag1965.xml" ContentType="application/vnd.openxmlformats-officedocument.presentationml.tags+xml"/>
  <Override PartName="/ppt/slides/slide39.xml" ContentType="application/vnd.openxmlformats-officedocument.presentationml.slide+xml"/>
  <Override PartName="/ppt/slideLayouts/slideLayout38.xml" ContentType="application/vnd.openxmlformats-officedocument.presentationml.slideLayout+xml"/>
  <Override PartName="/ppt/tags/tag463.xml" ContentType="application/vnd.openxmlformats-officedocument.presentationml.tags+xml"/>
  <Override PartName="/ppt/slideLayouts/slideLayout185.xml" ContentType="application/vnd.openxmlformats-officedocument.presentationml.slideLayout+xml"/>
  <Override PartName="/ppt/slideLayouts/slideLayout371.xml" ContentType="application/vnd.openxmlformats-officedocument.presentationml.slideLayout+xml"/>
  <Override PartName="/ppt/tags/tag1287.xml" ContentType="application/vnd.openxmlformats-officedocument.presentationml.tags+xml"/>
  <Override PartName="/ppt/tags/tag1473.xml" ContentType="application/vnd.openxmlformats-officedocument.presentationml.tags+xml"/>
  <Override PartName="/ppt/tags/tag208.xml" ContentType="application/vnd.openxmlformats-officedocument.presentationml.tags+xml"/>
  <Override PartName="/ppt/slideLayouts/slideLayout116.xml" ContentType="application/vnd.openxmlformats-officedocument.presentationml.slideLayout+xml"/>
  <Override PartName="/ppt/tags/tag1218.xml" ContentType="application/vnd.openxmlformats-officedocument.presentationml.tags+xml"/>
  <Override PartName="/ppt/slideLayouts/slideLayout608.xml" ContentType="application/vnd.openxmlformats-officedocument.presentationml.slideLayout+xml"/>
  <Override PartName="/ppt/tags/tag77.xml" ContentType="application/vnd.openxmlformats-officedocument.presentationml.tags+xml"/>
  <Override PartName="/ppt/tags/tag378.xml" ContentType="application/vnd.openxmlformats-officedocument.presentationml.tags+xml"/>
  <Override PartName="/ppt/slideLayouts/slideLayout302.xml" ContentType="application/vnd.openxmlformats-officedocument.presentationml.slideLayout+xml"/>
  <Override PartName="/ppt/tags/tag1388.xml" ContentType="application/vnd.openxmlformats-officedocument.presentationml.tags+xml"/>
  <Override PartName="/ppt/tags/tag1404.xml" ContentType="application/vnd.openxmlformats-officedocument.presentationml.tags+xml"/>
  <Override PartName="/ppt/diagrams/quickStyle1.xml" ContentType="application/vnd.openxmlformats-officedocument.drawingml.diagramStyle+xml"/>
  <Override PartName="/ppt/slideMasters/slideMaster25.xml" ContentType="application/vnd.openxmlformats-officedocument.presentationml.slideMaster+xml"/>
  <Override PartName="/ppt/tags/tag564.xml" ContentType="application/vnd.openxmlformats-officedocument.presentationml.tags+xml"/>
  <Override PartName="/ppt/tags/tag750.xml" ContentType="application/vnd.openxmlformats-officedocument.presentationml.tags+xml"/>
  <Override PartName="/ppt/slideLayouts/slideLayout286.xml" ContentType="application/vnd.openxmlformats-officedocument.presentationml.slideLayout+xml"/>
  <Override PartName="/ppt/theme/theme46.xml" ContentType="application/vnd.openxmlformats-officedocument.theme+xml"/>
  <Override PartName="/ppt/slideLayouts/slideLayout472.xml" ContentType="application/vnd.openxmlformats-officedocument.presentationml.slideLayout+xml"/>
  <Override PartName="/ppt/tags/tag1574.xml" ContentType="application/vnd.openxmlformats-officedocument.presentationml.tags+xml"/>
  <Override PartName="/ppt/tags/tag1760.xml" ContentType="application/vnd.openxmlformats-officedocument.presentationml.tags+xml"/>
  <Override PartName="/ppt/slides/slide20.xml" ContentType="application/vnd.openxmlformats-officedocument.presentationml.slide+xml"/>
  <Override PartName="/ppt/tags/tag309.xml" ContentType="application/vnd.openxmlformats-officedocument.presentationml.tags+xml"/>
  <Override PartName="/ppt/slideLayouts/slideLayout217.xml" ContentType="application/vnd.openxmlformats-officedocument.presentationml.slideLayout+xml"/>
  <Override PartName="/ppt/tags/tag1082.xml" ContentType="application/vnd.openxmlformats-officedocument.presentationml.tags+xml"/>
  <Override PartName="/ppt/tags/tag1319.xml" ContentType="application/vnd.openxmlformats-officedocument.presentationml.tags+xml"/>
  <Override PartName="/ppt/tags/tag1505.xml" ContentType="application/vnd.openxmlformats-officedocument.presentationml.tags+xml"/>
  <Override PartName="/ppt/tags/tag2054.xml" ContentType="application/vnd.openxmlformats-officedocument.presentationml.tags+xml"/>
  <Override PartName="/ppt/tags/tag479.xml" ContentType="application/vnd.openxmlformats-officedocument.presentationml.tags+xml"/>
  <Override PartName="/ppt/tags/tag665.xml" ContentType="application/vnd.openxmlformats-officedocument.presentationml.tags+xml"/>
  <Override PartName="/ppt/tags/tag1013.xml" ContentType="application/vnd.openxmlformats-officedocument.presentationml.tags+xml"/>
  <Override PartName="/ppt/slideLayouts/slideLayout387.xml" ContentType="application/vnd.openxmlformats-officedocument.presentationml.slideLayout+xml"/>
  <Override PartName="/ppt/slideLayouts/slideLayout403.xml" ContentType="application/vnd.openxmlformats-officedocument.presentationml.slideLayout+xml"/>
  <Override PartName="/ppt/tags/tag1489.xml" ContentType="application/vnd.openxmlformats-officedocument.presentationml.tags+xml"/>
  <Override PartName="/ppt/notesSlides/notesSlide11.xml" ContentType="application/vnd.openxmlformats-officedocument.presentationml.notesSlide+xml"/>
  <Override PartName="/ppt/tags/tag173.xml" ContentType="application/vnd.openxmlformats-officedocument.presentationml.tags+xml"/>
  <Override PartName="/ppt/tags/tag851.xml" ContentType="application/vnd.openxmlformats-officedocument.presentationml.tags+xml"/>
  <Override PartName="/ppt/tags/tag1183.xml" ContentType="application/vnd.openxmlformats-officedocument.presentationml.tags+xml"/>
  <Override PartName="/ppt/tags/tag1675.xml" ContentType="application/vnd.openxmlformats-officedocument.presentationml.tags+xml"/>
  <Override PartName="/ppt/tags/tag1861.xml" ContentType="application/vnd.openxmlformats-officedocument.presentationml.tags+xml"/>
  <Override PartName="/ppt/slideLayouts/slideLayout573.xml" ContentType="application/vnd.openxmlformats-officedocument.presentationml.slideLayout+xml"/>
  <Override PartName="/ppt/slideLayouts/slideLayout318.xml" ContentType="application/vnd.openxmlformats-officedocument.presentationml.slideLayout+xml"/>
  <Override PartName="/ppt/tags/tag1606.xml" ContentType="application/vnd.openxmlformats-officedocument.presentationml.tags+xml"/>
  <Override PartName="/ppt/slideLayouts/slideLayout504.xml" ContentType="application/vnd.openxmlformats-officedocument.presentationml.slideLayout+xml"/>
  <Override PartName="/ppt/tags/tag2155.xml" ContentType="application/vnd.openxmlformats-officedocument.presentationml.tags+xml"/>
  <Override PartName="/ppt/tags/tag104.xml" ContentType="application/vnd.openxmlformats-officedocument.presentationml.tags+xml"/>
  <Override PartName="/ppt/tags/tag766.xml" ContentType="application/vnd.openxmlformats-officedocument.presentationml.tags+xml"/>
  <Override PartName="/ppt/tags/tag1114.xml" ContentType="application/vnd.openxmlformats-officedocument.presentationml.tags+xml"/>
  <Override PartName="/ppt/slideLayouts/slideLayout488.xml" ContentType="application/vnd.openxmlformats-officedocument.presentationml.slideLayout+xml"/>
  <Override PartName="/ppt/tags/tag1776.xml" ContentType="application/vnd.openxmlformats-officedocument.presentationml.tags+xml"/>
  <Override PartName="/ppt/slides/slide36.xml" ContentType="application/vnd.openxmlformats-officedocument.presentationml.slide+xml"/>
  <Override PartName="/ppt/tags/tag274.xml" ContentType="application/vnd.openxmlformats-officedocument.presentationml.tags+xml"/>
  <Override PartName="/ppt/tags/tag460.xml" ContentType="application/vnd.openxmlformats-officedocument.presentationml.tags+xml"/>
  <Override PartName="/ppt/slideLayouts/slideLayout182.xml" ContentType="application/vnd.openxmlformats-officedocument.presentationml.slideLayout+xml"/>
  <Override PartName="/ppt/tags/tag952.xml" ContentType="application/vnd.openxmlformats-officedocument.presentationml.tags+xml"/>
  <Override PartName="/ppt/tags/tag1098.xml" ContentType="application/vnd.openxmlformats-officedocument.presentationml.tags+xml"/>
  <Override PartName="/ppt/tags/tag1284.xml" ContentType="application/vnd.openxmlformats-officedocument.presentationml.tags+xml"/>
  <Override PartName="/ppt/tags/tag1300.xml" ContentType="application/vnd.openxmlformats-officedocument.presentationml.tags+xml"/>
  <Override PartName="/ppt/tags/tag1962.xml" ContentType="application/vnd.openxmlformats-officedocument.presentationml.tags+xml"/>
  <Override PartName="/ppt/slideLayouts/slideLayout35.xml" ContentType="application/vnd.openxmlformats-officedocument.presentationml.slideLayout+xml"/>
  <Override PartName="/ppt/tags/tag205.xml" ContentType="application/vnd.openxmlformats-officedocument.presentationml.tags+xml"/>
  <Override PartName="/ppt/tags/tag1029.xml" ContentType="application/vnd.openxmlformats-officedocument.presentationml.tags+xml"/>
  <Override PartName="/ppt/slideLayouts/slideLayout419.xml" ContentType="application/vnd.openxmlformats-officedocument.presentationml.slideLayout+xml"/>
  <Override PartName="/ppt/tags/tag1470.xml" ContentType="application/vnd.openxmlformats-officedocument.presentationml.tags+xml"/>
  <Override PartName="/ppt/tags/tag1707.xml" ContentType="application/vnd.openxmlformats-officedocument.presentationml.tags+xml"/>
  <Override PartName="/ppt/slideLayouts/slideLayout605.xml" ContentType="application/vnd.openxmlformats-officedocument.presentationml.slideLayout+xml"/>
  <Override PartName="/ppt/tags/tag189.xml" ContentType="application/vnd.openxmlformats-officedocument.presentationml.tags+xml"/>
  <Override PartName="/ppt/slideLayouts/slideLayout113.xml" ContentType="application/vnd.openxmlformats-officedocument.presentationml.slideLayout+xml"/>
  <Override PartName="/ppt/tags/tag867.xml" ContentType="application/vnd.openxmlformats-officedocument.presentationml.tags+xml"/>
  <Override PartName="/ppt/tags/tag1199.xml" ContentType="application/vnd.openxmlformats-officedocument.presentationml.tags+xml"/>
  <Override PartName="/ppt/tags/tag1215.xml" ContentType="application/vnd.openxmlformats-officedocument.presentationml.tags+xml"/>
  <Override PartName="/ppt/tags/tag1401.xml" ContentType="application/vnd.openxmlformats-officedocument.presentationml.tags+xml"/>
  <Override PartName="/ppt/tags/tag1877.xml" ContentType="application/vnd.openxmlformats-officedocument.presentationml.tags+xml"/>
  <Override PartName="/ppt/slideLayouts/slideLayout589.xml" ContentType="application/vnd.openxmlformats-officedocument.presentationml.slideLayout+xml"/>
  <Override PartName="/ppt/tags/tag74.xml" ContentType="application/vnd.openxmlformats-officedocument.presentationml.tags+xml"/>
  <Override PartName="/ppt/tags/tag375.xml" ContentType="application/vnd.openxmlformats-officedocument.presentationml.tags+xml"/>
  <Override PartName="/ppt/tags/tag561.xml" ContentType="application/vnd.openxmlformats-officedocument.presentationml.tags+xml"/>
  <Override PartName="/ppt/slideLayouts/slideLayout283.xml" ContentType="application/vnd.openxmlformats-officedocument.presentationml.slideLayout+xml"/>
  <Override PartName="/ppt/tags/tag1385.xml" ContentType="application/vnd.openxmlformats-officedocument.presentationml.tags+xml"/>
  <Override PartName="/ppt/tags/tag1571.xml" ContentType="application/vnd.openxmlformats-officedocument.presentationml.tags+xml"/>
  <Override PartName="/ppt/slideMasters/slideMaster22.xml" ContentType="application/vnd.openxmlformats-officedocument.presentationml.slideMaster+xml"/>
  <Override PartName="/ppt/tags/tag306.xml" ContentType="application/vnd.openxmlformats-officedocument.presentationml.tags+xml"/>
  <Override PartName="/ppt/tags/tag968.xml" ContentType="application/vnd.openxmlformats-officedocument.presentationml.tags+xml"/>
  <Override PartName="/ppt/theme/theme43.xml" ContentType="application/vnd.openxmlformats-officedocument.theme+xml"/>
  <Override PartName="/ppt/tags/tag1316.xml" ContentType="application/vnd.openxmlformats-officedocument.presentationml.tags+xml"/>
  <Override PartName="/ppt/tags/tag1808.xml" ContentType="application/vnd.openxmlformats-officedocument.presentationml.tags+xml"/>
  <Override PartName="/ppt/tags/tag476.xml" ContentType="application/vnd.openxmlformats-officedocument.presentationml.tags+xml"/>
  <Override PartName="/ppt/slideLayouts/slideLayout198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400.xml" ContentType="application/vnd.openxmlformats-officedocument.presentationml.slideLayout+xml"/>
  <Override PartName="/ppt/tags/tag1502.xml" ContentType="application/vnd.openxmlformats-officedocument.presentationml.tags+xml"/>
  <Override PartName="/ppt/tags/tag1978.xml" ContentType="application/vnd.openxmlformats-officedocument.presentationml.tags+xml"/>
  <Override PartName="/ppt/tags/tag2051.xml" ContentType="application/vnd.openxmlformats-officedocument.presentationml.tags+xml"/>
  <Override PartName="/ppt/diagrams/layout1.xml" ContentType="application/vnd.openxmlformats-officedocument.drawingml.diagramLayout+xml"/>
  <Override PartName="/ppt/tags/tag662.xml" ContentType="application/vnd.openxmlformats-officedocument.presentationml.tags+xml"/>
  <Override PartName="/ppt/tags/tag1010.xml" ContentType="application/vnd.openxmlformats-officedocument.presentationml.tags+xml"/>
  <Override PartName="/ppt/slideLayouts/slideLayout384.xml" ContentType="application/vnd.openxmlformats-officedocument.presentationml.slideLayout+xml"/>
  <Override PartName="/ppt/tags/tag1486.xml" ContentType="application/vnd.openxmlformats-officedocument.presentationml.tags+xml"/>
  <Override PartName="/ppt/tags/tag1672.xml" ContentType="application/vnd.openxmlformats-officedocument.presentationml.tags+xml"/>
  <Override PartName="/ppt/slideLayouts/slideLayout570.xml" ContentType="application/vnd.openxmlformats-officedocument.presentationml.slideLayout+xml"/>
  <Override PartName="/ppt/tags/tag1909.xml" ContentType="application/vnd.openxmlformats-officedocument.presentationml.tags+xml"/>
  <Override PartName="/ppt/tags/tag170.xml" ContentType="application/vnd.openxmlformats-officedocument.presentationml.tags+xml"/>
  <Override PartName="/ppt/slideLayouts/slideLayout129.xml" ContentType="application/vnd.openxmlformats-officedocument.presentationml.slideLayout+xml"/>
  <Override PartName="/ppt/tags/tag407.xml" ContentType="application/vnd.openxmlformats-officedocument.presentationml.tags+xml"/>
  <Override PartName="/ppt/slideLayouts/slideLayout315.xml" ContentType="application/vnd.openxmlformats-officedocument.presentationml.slideLayout+xml"/>
  <Override PartName="/ppt/tags/tag1180.xml" ContentType="application/vnd.openxmlformats-officedocument.presentationml.tags+xml"/>
  <Override PartName="/ppt/tags/tag1417.xml" ContentType="application/vnd.openxmlformats-officedocument.presentationml.tags+xml"/>
  <Override PartName="/ppt/tags/tag101.xml" ContentType="application/vnd.openxmlformats-officedocument.presentationml.tags+xml"/>
  <Override PartName="/ppt/tags/tag577.xml" ContentType="application/vnd.openxmlformats-officedocument.presentationml.tags+xml"/>
  <Override PartName="/ppt/slideLayouts/slideLayout299.xml" ContentType="application/vnd.openxmlformats-officedocument.presentationml.slideLayout+xml"/>
  <Override PartName="/ppt/tags/tag1111.xml" ContentType="application/vnd.openxmlformats-officedocument.presentationml.tags+xml"/>
  <Override PartName="/ppt/slideLayouts/slideLayout485.xml" ContentType="application/vnd.openxmlformats-officedocument.presentationml.slideLayout+xml"/>
  <Override PartName="/ppt/tags/tag1587.xml" ContentType="application/vnd.openxmlformats-officedocument.presentationml.tags+xml"/>
  <Override PartName="/ppt/tags/tag1603.xml" ContentType="application/vnd.openxmlformats-officedocument.presentationml.tags+xml"/>
  <Override PartName="/ppt/slideLayouts/slideLayout501.xml" ContentType="application/vnd.openxmlformats-officedocument.presentationml.slideLayout+xml"/>
  <Override PartName="/ppt/tags/tag2152.xml" ContentType="application/vnd.openxmlformats-officedocument.presentationml.tags+xml"/>
  <Override PartName="/ppt/slideMasters/slideMaster38.xml" ContentType="application/vnd.openxmlformats-officedocument.presentationml.slideMaster+xml"/>
  <Override PartName="/ppt/slides/slide33.xml" ContentType="application/vnd.openxmlformats-officedocument.presentationml.slide+xml"/>
  <Override PartName="/ppt/tags/tag271.xml" ContentType="application/vnd.openxmlformats-officedocument.presentationml.tags+xml"/>
  <Override PartName="/ppt/tags/tag508.xml" ContentType="application/vnd.openxmlformats-officedocument.presentationml.tags+xml"/>
  <Override PartName="/ppt/tags/tag763.xml" ContentType="application/vnd.openxmlformats-officedocument.presentationml.tags+xml"/>
  <Override PartName="/ppt/tags/tag1095.xml" ContentType="application/vnd.openxmlformats-officedocument.presentationml.tags+xml"/>
  <Override PartName="/ppt/tags/tag1773.xml" ContentType="application/vnd.openxmlformats-officedocument.presentationml.tags+xml"/>
  <Override PartName="/ppt/theme/theme59.xml" ContentType="application/vnd.openxmlformats-officedocument.theme+xml"/>
  <Override PartName="/ppt/slideLayouts/slideLayout32.xml" ContentType="application/vnd.openxmlformats-officedocument.presentationml.slideLayout+xml"/>
  <Override PartName="/ppt/tags/tag1281.xml" ContentType="application/vnd.openxmlformats-officedocument.presentationml.tags+xml"/>
  <Override PartName="/ppt/slideLayouts/slideLayout416.xml" ContentType="application/vnd.openxmlformats-officedocument.presentationml.slideLayout+xml"/>
  <Override PartName="/ppt/tags/tag1518.xml" ContentType="application/vnd.openxmlformats-officedocument.presentationml.tags+xml"/>
  <Override PartName="/ppt/tags/tag1704.xml" ContentType="application/vnd.openxmlformats-officedocument.presentationml.tags+xml"/>
  <Override PartName="/ppt/slideLayouts/slideLayout602.xml" ContentType="application/vnd.openxmlformats-officedocument.presentationml.slideLayout+xml"/>
  <Override PartName="/ppt/tags/tag2067.xml" ContentType="application/vnd.openxmlformats-officedocument.presentationml.tags+xml"/>
  <Override PartName="/ppt/notesSlides/notesSlide24.xml" ContentType="application/vnd.openxmlformats-officedocument.presentationml.notesSlide+xml"/>
  <Override PartName="/ppt/tags/tag186.xml" ContentType="application/vnd.openxmlformats-officedocument.presentationml.tags+xml"/>
  <Override PartName="/ppt/tags/tag202.xml" ContentType="application/vnd.openxmlformats-officedocument.presentationml.tags+xml"/>
  <Override PartName="/ppt/slideLayouts/slideLayout110.xml" ContentType="application/vnd.openxmlformats-officedocument.presentationml.slideLayout+xml"/>
  <Override PartName="/ppt/tags/tag678.xml" ContentType="application/vnd.openxmlformats-officedocument.presentationml.tags+xml"/>
  <Override PartName="/ppt/tags/tag864.xml" ContentType="application/vnd.openxmlformats-officedocument.presentationml.tags+xml"/>
  <Override PartName="/ppt/tags/tag1026.xml" ContentType="application/vnd.openxmlformats-officedocument.presentationml.tags+xml"/>
  <Override PartName="/ppt/tags/tag1212.xml" ContentType="application/vnd.openxmlformats-officedocument.presentationml.tags+xml"/>
  <Override PartName="/ppt/tags/tag1688.xml" ContentType="application/vnd.openxmlformats-officedocument.presentationml.tags+xml"/>
  <Override PartName="/ppt/tags/tag1874.xml" ContentType="application/vnd.openxmlformats-officedocument.presentationml.tags+xml"/>
  <Override PartName="/ppt/slideLayouts/slideLayout586.xml" ContentType="application/vnd.openxmlformats-officedocument.presentationml.slideLayout+xml"/>
  <Override PartName="/ppt/tags/tag71.xml" ContentType="application/vnd.openxmlformats-officedocument.presentationml.tags+xml"/>
  <Override PartName="/ppt/tags/tag372.xml" ContentType="application/vnd.openxmlformats-officedocument.presentationml.tags+xml"/>
  <Override PartName="/ppt/tags/tag609.xml" ContentType="application/vnd.openxmlformats-officedocument.presentationml.tags+xml"/>
  <Override PartName="/ppt/slideLayouts/slideLayout280.xml" ContentType="application/vnd.openxmlformats-officedocument.presentationml.slideLayout+xml"/>
  <Override PartName="/ppt/tags/tag1196.xml" ContentType="application/vnd.openxmlformats-officedocument.presentationml.tags+xml"/>
  <Override PartName="/ppt/tags/tag1382.xml" ContentType="application/vnd.openxmlformats-officedocument.presentationml.tags+xml"/>
  <Override PartName="/ppt/tags/tag1619.xml" ContentType="application/vnd.openxmlformats-officedocument.presentationml.tags+xml"/>
  <Override PartName="/ppt/tags/tag2168.xml" ContentType="application/vnd.openxmlformats-officedocument.presentationml.tags+xml"/>
  <Override PartName="/ppt/tags/tag117.xml" ContentType="application/vnd.openxmlformats-officedocument.presentationml.tags+xml"/>
  <Override PartName="/ppt/tags/tag779.xml" ContentType="application/vnd.openxmlformats-officedocument.presentationml.tags+xml"/>
  <Override PartName="/ppt/tags/tag1127.xml" ContentType="application/vnd.openxmlformats-officedocument.presentationml.tags+xml"/>
  <Override PartName="/ppt/theme/theme40.xml" ContentType="application/vnd.openxmlformats-officedocument.theme+xml"/>
  <Override PartName="/ppt/slideLayouts/slideLayout517.xml" ContentType="application/vnd.openxmlformats-officedocument.presentationml.slideLayout+xml"/>
  <Override PartName="/ppt/tags/tag1805.xml" ContentType="application/vnd.openxmlformats-officedocument.presentationml.tags+xml"/>
  <Override PartName="/ppt/theme/theme7.xml" ContentType="application/vnd.openxmlformats-officedocument.theme+xml"/>
  <Override PartName="/ppt/tags/tag287.xml" ContentType="application/vnd.openxmlformats-officedocument.presentationml.tags+xml"/>
  <Override PartName="/ppt/tags/tag303.xml" ContentType="application/vnd.openxmlformats-officedocument.presentationml.tags+xml"/>
  <Override PartName="/ppt/slideLayouts/slideLayout211.xml" ContentType="application/vnd.openxmlformats-officedocument.presentationml.slideLayout+xml"/>
  <Override PartName="/ppt/tags/tag965.xml" ContentType="application/vnd.openxmlformats-officedocument.presentationml.tags+xml"/>
  <Override PartName="/ppt/tags/tag1297.xml" ContentType="application/vnd.openxmlformats-officedocument.presentationml.tags+xml"/>
  <Override PartName="/ppt/tags/tag1313.xml" ContentType="application/vnd.openxmlformats-officedocument.presentationml.tags+xml"/>
  <Override PartName="/ppt/tags/tag1789.xml" ContentType="application/vnd.openxmlformats-officedocument.presentationml.tags+xml"/>
  <Override PartName="/ppt/tags/tag1975.xml" ContentType="application/vnd.openxmlformats-officedocument.presentationml.tags+xml"/>
  <Override PartName="/ppt/slideLayouts/slideLayout48.xml" ContentType="application/vnd.openxmlformats-officedocument.presentationml.slideLayout+xml"/>
  <Override PartName="/ppt/tags/tag473.xml" ContentType="application/vnd.openxmlformats-officedocument.presentationml.tags+xml"/>
  <Override PartName="/ppt/slideLayouts/slideLayout195.xml" ContentType="application/vnd.openxmlformats-officedocument.presentationml.slideLayout+xml"/>
  <Override PartName="/ppt/slideLayouts/slideLayout381.xml" ContentType="application/vnd.openxmlformats-officedocument.presentationml.slideLayout+xml"/>
  <Override PartName="/ppt/tags/tag1483.xml" ContentType="application/vnd.openxmlformats-officedocument.presentationml.tags+xml"/>
  <Override PartName="/ppt/slideLayouts/slideLayout618.xml" ContentType="application/vnd.openxmlformats-officedocument.presentationml.slideLayout+xml"/>
  <Override PartName="/ppt/tags/tag218.xml" ContentType="application/vnd.openxmlformats-officedocument.presentationml.tags+xml"/>
  <Override PartName="/ppt/slideLayouts/slideLayout126.xml" ContentType="application/vnd.openxmlformats-officedocument.presentationml.slideLayout+xml"/>
  <Override PartName="/ppt/tags/tag404.xml" ContentType="application/vnd.openxmlformats-officedocument.presentationml.tags+xml"/>
  <Override PartName="/ppt/tags/tag1228.xml" ContentType="application/vnd.openxmlformats-officedocument.presentationml.tags+xml"/>
  <Override PartName="/ppt/tags/tag1414.xml" ContentType="application/vnd.openxmlformats-officedocument.presentationml.tags+xml"/>
  <Override PartName="/ppt/tags/tag1906.xml" ContentType="application/vnd.openxmlformats-officedocument.presentationml.tags+xml"/>
  <Override PartName="/ppt/tags/tag87.xml" ContentType="application/vnd.openxmlformats-officedocument.presentationml.tags+xml"/>
  <Override PartName="/ppt/tags/tag388.xml" ContentType="application/vnd.openxmlformats-officedocument.presentationml.tags+xml"/>
  <Override PartName="/ppt/tags/tag574.xml" ContentType="application/vnd.openxmlformats-officedocument.presentationml.tags+xml"/>
  <Override PartName="/ppt/slideLayouts/slideLayout296.xml" ContentType="application/vnd.openxmlformats-officedocument.presentationml.slideLayout+xml"/>
  <Override PartName="/ppt/slideLayouts/slideLayout312.xml" ContentType="application/vnd.openxmlformats-officedocument.presentationml.slideLayout+xml"/>
  <Override PartName="/ppt/tags/tag1398.xml" ContentType="application/vnd.openxmlformats-officedocument.presentationml.tags+xml"/>
  <Override PartName="/ppt/tags/tag1600.xml" ContentType="application/vnd.openxmlformats-officedocument.presentationml.tags+xml"/>
  <Override PartName="/ppt/slideMasters/slideMaster35.xml" ContentType="application/vnd.openxmlformats-officedocument.presentationml.slideMaster+xml"/>
  <Override PartName="/ppt/tags/tag319.xml" ContentType="application/vnd.openxmlformats-officedocument.presentationml.tags+xml"/>
  <Override PartName="/ppt/tags/tag760.xml" ContentType="application/vnd.openxmlformats-officedocument.presentationml.tags+xml"/>
  <Override PartName="/ppt/tags/tag1092.xml" ContentType="application/vnd.openxmlformats-officedocument.presentationml.tags+xml"/>
  <Override PartName="/ppt/slideLayouts/slideLayout482.xml" ContentType="application/vnd.openxmlformats-officedocument.presentationml.slideLayout+xml"/>
  <Override PartName="/ppt/tags/tag1584.xml" ContentType="application/vnd.openxmlformats-officedocument.presentationml.tags+xml"/>
  <Override PartName="/ppt/theme/theme56.xml" ContentType="application/vnd.openxmlformats-officedocument.theme+xml"/>
  <Override PartName="/ppt/tags/tag1770.xml" ContentType="application/vnd.openxmlformats-officedocument.presentationml.tags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505.xml" ContentType="application/vnd.openxmlformats-officedocument.presentationml.tags+xml"/>
  <Override PartName="/ppt/slideLayouts/slideLayout227.xml" ContentType="application/vnd.openxmlformats-officedocument.presentationml.slideLayout+xml"/>
  <Override PartName="/ppt/tags/tag1329.xml" ContentType="application/vnd.openxmlformats-officedocument.presentationml.tags+xml"/>
  <Override PartName="/ppt/slideLayouts/slideLayout413.xml" ContentType="application/vnd.openxmlformats-officedocument.presentationml.slideLayout+xml"/>
  <Override PartName="/ppt/tags/tag1515.xml" ContentType="application/vnd.openxmlformats-officedocument.presentationml.tags+xml"/>
  <Override PartName="/ppt/tags/tag2064.xml" ContentType="application/vnd.openxmlformats-officedocument.presentationml.tags+xml"/>
  <Override PartName="/ppt/tags/tag489.xml" ContentType="application/vnd.openxmlformats-officedocument.presentationml.tags+xml"/>
  <Override PartName="/ppt/tags/tag675.xml" ContentType="application/vnd.openxmlformats-officedocument.presentationml.tags+xml"/>
  <Override PartName="/ppt/tags/tag1023.xml" ContentType="application/vnd.openxmlformats-officedocument.presentationml.tags+xml"/>
  <Override PartName="/ppt/slideLayouts/slideLayout397.xml" ContentType="application/vnd.openxmlformats-officedocument.presentationml.slideLayout+xml"/>
  <Override PartName="/ppt/tags/tag1499.xml" ContentType="application/vnd.openxmlformats-officedocument.presentationml.tags+xml"/>
  <Override PartName="/ppt/tags/tag1685.xml" ContentType="application/vnd.openxmlformats-officedocument.presentationml.tags+xml"/>
  <Override PartName="/ppt/tags/tag1701.xml" ContentType="application/vnd.openxmlformats-officedocument.presentationml.tags+xml"/>
  <Override PartName="/ppt/notesSlides/notesSlide21.xml" ContentType="application/vnd.openxmlformats-officedocument.presentationml.notesSlide+xml"/>
  <Override PartName="/ppt/tags/tag183.xml" ContentType="application/vnd.openxmlformats-officedocument.presentationml.tags+xml"/>
  <Override PartName="/ppt/tags/tag861.xml" ContentType="application/vnd.openxmlformats-officedocument.presentationml.tags+xml"/>
  <Override PartName="/ppt/tags/tag1193.xml" ContentType="application/vnd.openxmlformats-officedocument.presentationml.tags+xml"/>
  <Override PartName="/ppt/tags/tag1871.xml" ContentType="application/vnd.openxmlformats-officedocument.presentationml.tags+xml"/>
  <Override PartName="/ppt/slideLayouts/slideLayout583.xml" ContentType="application/vnd.openxmlformats-officedocument.presentationml.slideLayout+xml"/>
  <Override PartName="/ppt/tags/tag114.xml" ContentType="application/vnd.openxmlformats-officedocument.presentationml.tags+xml"/>
  <Override PartName="/ppt/tags/tag606.xml" ContentType="application/vnd.openxmlformats-officedocument.presentationml.tags+xml"/>
  <Override PartName="/ppt/slideLayouts/slideLayout328.xml" ContentType="application/vnd.openxmlformats-officedocument.presentationml.slideLayout+xml"/>
  <Override PartName="/ppt/tags/tag1616.xml" ContentType="application/vnd.openxmlformats-officedocument.presentationml.tags+xml"/>
  <Override PartName="/ppt/slideLayouts/slideLayout514.xml" ContentType="application/vnd.openxmlformats-officedocument.presentationml.slideLayout+xml"/>
  <Override PartName="/ppt/tags/tag1802.xml" ContentType="application/vnd.openxmlformats-officedocument.presentationml.tags+xml"/>
  <Override PartName="/ppt/tags/tag2165.xml" ContentType="application/vnd.openxmlformats-officedocument.presentationml.tags+xml"/>
  <Override PartName="/ppt/theme/theme4.xml" ContentType="application/vnd.openxmlformats-officedocument.theme+xml"/>
  <Override PartName="/ppt/tags/tag300.xml" ContentType="application/vnd.openxmlformats-officedocument.presentationml.tags+xml"/>
  <Override PartName="/ppt/tags/tag776.xml" ContentType="application/vnd.openxmlformats-officedocument.presentationml.tags+xml"/>
  <Override PartName="/ppt/tags/tag962.xml" ContentType="application/vnd.openxmlformats-officedocument.presentationml.tags+xml"/>
  <Override PartName="/ppt/tags/tag1124.xml" ContentType="application/vnd.openxmlformats-officedocument.presentationml.tags+xml"/>
  <Override PartName="/ppt/tags/tag1310.xml" ContentType="application/vnd.openxmlformats-officedocument.presentationml.tags+xml"/>
  <Override PartName="/ppt/slideLayouts/slideLayout498.xml" ContentType="application/vnd.openxmlformats-officedocument.presentationml.slideLayout+xml"/>
  <Override PartName="/ppt/tags/tag1786.xml" ContentType="application/vnd.openxmlformats-officedocument.presentationml.tags+xml"/>
  <Override PartName="/ppt/slideLayouts/slideLayout45.xml" ContentType="application/vnd.openxmlformats-officedocument.presentationml.slideLayout+xml"/>
  <Override PartName="/ppt/tags/tag284.xml" ContentType="application/vnd.openxmlformats-officedocument.presentationml.tags+xml"/>
  <Override PartName="/ppt/tags/tag470.xml" ContentType="application/vnd.openxmlformats-officedocument.presentationml.tags+xml"/>
  <Override PartName="/ppt/slideLayouts/slideLayout192.xml" ContentType="application/vnd.openxmlformats-officedocument.presentationml.slideLayout+xml"/>
  <Override PartName="/ppt/tags/tag707.xml" ContentType="application/vnd.openxmlformats-officedocument.presentationml.tags+xml"/>
  <Override PartName="/ppt/tags/tag1294.xml" ContentType="application/vnd.openxmlformats-officedocument.presentationml.tags+xml"/>
  <Override PartName="/ppt/slideLayouts/slideLayout429.xml" ContentType="application/vnd.openxmlformats-officedocument.presentationml.slideLayout+xml"/>
  <Override PartName="/ppt/tags/tag1480.xml" ContentType="application/vnd.openxmlformats-officedocument.presentationml.tags+xml"/>
  <Override PartName="/ppt/tags/tag1972.xml" ContentType="application/vnd.openxmlformats-officedocument.presentationml.tags+xml"/>
  <Override PartName="/ppt/tags/tag215.xml" ContentType="application/vnd.openxmlformats-officedocument.presentationml.tags+xml"/>
  <Override PartName="/ppt/tags/tag877.xml" ContentType="application/vnd.openxmlformats-officedocument.presentationml.tags+xml"/>
  <Override PartName="/ppt/tags/tag1039.xml" ContentType="application/vnd.openxmlformats-officedocument.presentationml.tags+xml"/>
  <Override PartName="/ppt/tags/tag1225.xml" ContentType="application/vnd.openxmlformats-officedocument.presentationml.tags+xml"/>
  <Override PartName="/ppt/tags/tag1717.xml" ContentType="application/vnd.openxmlformats-officedocument.presentationml.tags+xml"/>
  <Override PartName="/ppt/tags/tag1903.xml" ContentType="application/vnd.openxmlformats-officedocument.presentationml.tags+xml"/>
  <Override PartName="/ppt/slideLayouts/slideLayout599.xml" ContentType="application/vnd.openxmlformats-officedocument.presentationml.slideLayout+xml"/>
  <Override PartName="/ppt/slideLayouts/slideLayout615.xml" ContentType="application/vnd.openxmlformats-officedocument.presentationml.slideLayout+xml"/>
  <Override PartName="/ppt/tags/tag84.xml" ContentType="application/vnd.openxmlformats-officedocument.presentationml.tags+xml"/>
  <Override PartName="/ppt/tags/tag199.xml" ContentType="application/vnd.openxmlformats-officedocument.presentationml.tags+xml"/>
  <Override PartName="/ppt/slideLayouts/slideLayout123.xml" ContentType="application/vnd.openxmlformats-officedocument.presentationml.slideLayout+xml"/>
  <Override PartName="/ppt/tags/tag385.xml" ContentType="application/vnd.openxmlformats-officedocument.presentationml.tags+xml"/>
  <Override PartName="/ppt/tags/tag401.xml" ContentType="application/vnd.openxmlformats-officedocument.presentationml.tags+xml"/>
  <Override PartName="/ppt/tags/tag1411.xml" ContentType="application/vnd.openxmlformats-officedocument.presentationml.tags+xml"/>
  <Override PartName="/ppt/tags/tag1887.xml" ContentType="application/vnd.openxmlformats-officedocument.presentationml.tags+xml"/>
  <Override PartName="/ppt/slideMasters/slideMaster32.xml" ContentType="application/vnd.openxmlformats-officedocument.presentationml.slideMaster+xml"/>
  <Override PartName="/ppt/tags/tag571.xml" ContentType="application/vnd.openxmlformats-officedocument.presentationml.tags+xml"/>
  <Override PartName="/ppt/tags/tag808.xml" ContentType="application/vnd.openxmlformats-officedocument.presentationml.tags+xml"/>
  <Override PartName="/ppt/slideLayouts/slideLayout293.xml" ContentType="application/vnd.openxmlformats-officedocument.presentationml.slideLayout+xml"/>
  <Override PartName="/ppt/tags/tag1395.xml" ContentType="application/vnd.openxmlformats-officedocument.presentationml.tags+xml"/>
  <Override PartName="/ppt/tags/tag1581.xml" ContentType="application/vnd.openxmlformats-officedocument.presentationml.tags+xml"/>
  <Override PartName="/ppt/tags/tag1818.xml" ContentType="application/vnd.openxmlformats-officedocument.presentationml.tags+xml"/>
  <Override PartName="/ppt/tags/tag15.xml" ContentType="application/vnd.openxmlformats-officedocument.presentationml.tags+xml"/>
  <Override PartName="/ppt/tags/tag316.xml" ContentType="application/vnd.openxmlformats-officedocument.presentationml.tags+xml"/>
  <Override PartName="/ppt/tags/tag502.xml" ContentType="application/vnd.openxmlformats-officedocument.presentationml.tags+xml"/>
  <Override PartName="/ppt/slideLayouts/slideLayout224.xml" ContentType="application/vnd.openxmlformats-officedocument.presentationml.slideLayout+xml"/>
  <Override PartName="/ppt/tags/tag978.xml" ContentType="application/vnd.openxmlformats-officedocument.presentationml.tags+xml"/>
  <Override PartName="/ppt/tags/tag1326.xml" ContentType="application/vnd.openxmlformats-officedocument.presentationml.tags+xml"/>
  <Override PartName="/ppt/theme/theme53.xml" ContentType="application/vnd.openxmlformats-officedocument.theme+xml"/>
  <Override PartName="/ppt/tags/tag1988.xml" ContentType="application/vnd.openxmlformats-officedocument.presentationml.tags+xml"/>
  <Override PartName="/ppt/tags/tag486.xml" ContentType="application/vnd.openxmlformats-officedocument.presentationml.tags+xml"/>
  <Override PartName="/ppt/tags/tag1020.xml" ContentType="application/vnd.openxmlformats-officedocument.presentationml.tags+xml"/>
  <Override PartName="/ppt/slideLayouts/slideLayout394.xml" ContentType="application/vnd.openxmlformats-officedocument.presentationml.slideLayout+xml"/>
  <Override PartName="/ppt/slideLayouts/slideLayout410.xml" ContentType="application/vnd.openxmlformats-officedocument.presentationml.slideLayout+xml"/>
  <Override PartName="/ppt/tags/tag1496.xml" ContentType="application/vnd.openxmlformats-officedocument.presentationml.tags+xml"/>
  <Override PartName="/ppt/tags/tag1512.xml" ContentType="application/vnd.openxmlformats-officedocument.presentationml.tags+xml"/>
  <Override PartName="/ppt/tags/tag2061.xml" ContentType="application/vnd.openxmlformats-officedocument.presentationml.tags+xml"/>
  <Override PartName="/ppt/tags/tag180.xml" ContentType="application/vnd.openxmlformats-officedocument.presentationml.tags+xml"/>
  <Override PartName="/ppt/slideLayouts/slideLayout139.xml" ContentType="application/vnd.openxmlformats-officedocument.presentationml.slideLayout+xml"/>
  <Override PartName="/ppt/tags/tag417.xml" ContentType="application/vnd.openxmlformats-officedocument.presentationml.tags+xml"/>
  <Override PartName="/ppt/tags/tag672.xml" ContentType="application/vnd.openxmlformats-officedocument.presentationml.tags+xml"/>
  <Override PartName="/ppt/tags/tag909.xml" ContentType="application/vnd.openxmlformats-officedocument.presentationml.tags+xml"/>
  <Override PartName="/ppt/tags/tag1682.xml" ContentType="application/vnd.openxmlformats-officedocument.presentationml.tags+xml"/>
  <Override PartName="/ppt/tags/tag1919.xml" ContentType="application/vnd.openxmlformats-officedocument.presentationml.tags+xml"/>
  <Override PartName="/ppt/slideLayouts/slideLayout580.xml" ContentType="application/vnd.openxmlformats-officedocument.presentationml.slideLayout+xml"/>
  <Override PartName="/ppt/tags/tag603.xml" ContentType="application/vnd.openxmlformats-officedocument.presentationml.tags+xml"/>
  <Override PartName="/ppt/slideLayouts/slideLayout325.xml" ContentType="application/vnd.openxmlformats-officedocument.presentationml.slideLayout+xml"/>
  <Override PartName="/ppt/tags/tag1190.xml" ContentType="application/vnd.openxmlformats-officedocument.presentationml.tags+xml"/>
  <Override PartName="/ppt/tags/tag1427.xml" ContentType="application/vnd.openxmlformats-officedocument.presentationml.tags+xml"/>
  <Override PartName="/ppt/tags/tag1613.xml" ContentType="application/vnd.openxmlformats-officedocument.presentationml.tags+xml"/>
  <Override PartName="/ppt/tags/tag2162.xml" ContentType="application/vnd.openxmlformats-officedocument.presentationml.tags+xml"/>
  <Override PartName="/ppt/slideMasters/slideMaster48.xml" ContentType="application/vnd.openxmlformats-officedocument.presentationml.slideMaster+xml"/>
  <Override PartName="/ppt/tags/tag111.xml" ContentType="application/vnd.openxmlformats-officedocument.presentationml.tags+xml"/>
  <Override PartName="/ppt/tags/tag587.xml" ContentType="application/vnd.openxmlformats-officedocument.presentationml.tags+xml"/>
  <Override PartName="/ppt/tags/tag773.xml" ContentType="application/vnd.openxmlformats-officedocument.presentationml.tags+xml"/>
  <Override PartName="/ppt/tags/tag1121.xml" ContentType="application/vnd.openxmlformats-officedocument.presentationml.tags+xml"/>
  <Override PartName="/ppt/tags/tag1597.xml" ContentType="application/vnd.openxmlformats-officedocument.presentationml.tags+xml"/>
  <Override PartName="/ppt/slideLayouts/slideLayout495.xml" ContentType="application/vnd.openxmlformats-officedocument.presentationml.slideLayout+xml"/>
  <Override PartName="/ppt/slideLayouts/slideLayout511.xml" ContentType="application/vnd.openxmlformats-officedocument.presentationml.slideLayout+xml"/>
  <Override PartName="/ppt/tags/tag1783.xml" ContentType="application/vnd.openxmlformats-officedocument.presentationml.tags+xml"/>
  <Override PartName="/ppt/theme/theme69.xml" ContentType="application/vnd.openxmlformats-officedocument.them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tags/tag281.xml" ContentType="application/vnd.openxmlformats-officedocument.presentationml.tags+xml"/>
  <Override PartName="/ppt/tags/tag518.xml" ContentType="application/vnd.openxmlformats-officedocument.presentationml.tags+xml"/>
  <Override PartName="/ppt/tags/tag1291.xml" ContentType="application/vnd.openxmlformats-officedocument.presentationml.tags+xml"/>
  <Override PartName="/ppt/tags/tag1528.xml" ContentType="application/vnd.openxmlformats-officedocument.presentationml.tags+xml"/>
  <Override PartName="/ppt/tags/tag2077.xml" ContentType="application/vnd.openxmlformats-officedocument.presentationml.tags+xml"/>
  <Override PartName="/ppt/slideLayouts/slideLayout42.xml" ContentType="application/vnd.openxmlformats-officedocument.presentationml.slideLayout+xml"/>
  <Override PartName="/ppt/tags/tag688.xml" ContentType="application/vnd.openxmlformats-officedocument.presentationml.tags+xml"/>
  <Override PartName="/ppt/tags/tag704.xml" ContentType="application/vnd.openxmlformats-officedocument.presentationml.tags+xml"/>
  <Override PartName="/ppt/tags/tag1036.xml" ContentType="application/vnd.openxmlformats-officedocument.presentationml.tags+xml"/>
  <Override PartName="/ppt/slideLayouts/slideLayout426.xml" ContentType="application/vnd.openxmlformats-officedocument.presentationml.slideLayout+xml"/>
  <Override PartName="/ppt/tags/tag1714.xml" ContentType="application/vnd.openxmlformats-officedocument.presentationml.tags+xml"/>
  <Override PartName="/ppt/slideLayouts/slideLayout612.xml" ContentType="application/vnd.openxmlformats-officedocument.presentationml.slideLayout+xml"/>
  <Override PartName="/ppt/tags/tag196.xml" ContentType="application/vnd.openxmlformats-officedocument.presentationml.tags+xml"/>
  <Override PartName="/ppt/tags/tag212.xml" ContentType="application/vnd.openxmlformats-officedocument.presentationml.tags+xml"/>
  <Override PartName="/ppt/slideLayouts/slideLayout120.xml" ContentType="application/vnd.openxmlformats-officedocument.presentationml.slideLayout+xml"/>
  <Override PartName="/ppt/tags/tag874.xml" ContentType="application/vnd.openxmlformats-officedocument.presentationml.tags+xml"/>
  <Override PartName="/ppt/tags/tag1222.xml" ContentType="application/vnd.openxmlformats-officedocument.presentationml.tags+xml"/>
  <Override PartName="/ppt/tags/tag1698.xml" ContentType="application/vnd.openxmlformats-officedocument.presentationml.tags+xml"/>
  <Override PartName="/ppt/tags/tag1884.xml" ContentType="application/vnd.openxmlformats-officedocument.presentationml.tags+xml"/>
  <Override PartName="/ppt/tags/tag1900.xml" ContentType="application/vnd.openxmlformats-officedocument.presentationml.tags+xml"/>
  <Override PartName="/ppt/slideLayouts/slideLayout596.xml" ContentType="application/vnd.openxmlformats-officedocument.presentationml.slideLayout+xml"/>
  <Override PartName="/ppt/tags/tag2008.xml" ContentType="application/vnd.openxmlformats-officedocument.presentationml.tags+xml"/>
  <Override PartName="/ppt/tags/tag81.xml" ContentType="application/vnd.openxmlformats-officedocument.presentationml.tags+xml"/>
  <Override PartName="/ppt/tags/tag382.xml" ContentType="application/vnd.openxmlformats-officedocument.presentationml.tags+xml"/>
  <Override PartName="/ppt/tags/tag619.xml" ContentType="application/vnd.openxmlformats-officedocument.presentationml.tags+xml"/>
  <Override PartName="/ppt/tags/tag805.xml" ContentType="application/vnd.openxmlformats-officedocument.presentationml.tags+xml"/>
  <Override PartName="/ppt/slideLayouts/slideLayout290.xml" ContentType="application/vnd.openxmlformats-officedocument.presentationml.slideLayout+xml"/>
  <Override PartName="/ppt/tags/tag1392.xml" ContentType="application/vnd.openxmlformats-officedocument.presentationml.tags+xml"/>
  <Override PartName="/ppt/tags/tag1629.xml" ContentType="application/vnd.openxmlformats-officedocument.presentationml.tags+xml"/>
  <Override PartName="/ppt/slideLayouts/slideLayout527.xml" ContentType="application/vnd.openxmlformats-officedocument.presentationml.slideLayout+xml"/>
  <Override PartName="/ppt/tags/tag2178.xml" ContentType="application/vnd.openxmlformats-officedocument.presentationml.tags+xml"/>
  <Override PartName="/ppt/tags/tag12.xml" ContentType="application/vnd.openxmlformats-officedocument.presentationml.tags+xml"/>
  <Override PartName="/ppt/tags/tag127.xml" ContentType="application/vnd.openxmlformats-officedocument.presentationml.tags+xml"/>
  <Override PartName="/ppt/tags/tag313.xml" ContentType="application/vnd.openxmlformats-officedocument.presentationml.tags+xml"/>
  <Override PartName="/ppt/tags/tag789.xml" ContentType="application/vnd.openxmlformats-officedocument.presentationml.tags+xml"/>
  <Override PartName="/ppt/tags/tag1137.xml" ContentType="application/vnd.openxmlformats-officedocument.presentationml.tags+xml"/>
  <Override PartName="/ppt/theme/theme50.xml" ContentType="application/vnd.openxmlformats-officedocument.theme+xml"/>
  <Override PartName="/ppt/tags/tag1799.xml" ContentType="application/vnd.openxmlformats-officedocument.presentationml.tags+xml"/>
  <Override PartName="/ppt/tags/tag1815.xml" ContentType="application/vnd.openxmlformats-officedocument.presentationml.tags+xml"/>
  <Override PartName="/ppt/tags/tag297.xml" ContentType="application/vnd.openxmlformats-officedocument.presentationml.tags+xml"/>
  <Override PartName="/ppt/tags/tag483.xml" ContentType="application/vnd.openxmlformats-officedocument.presentationml.tags+xml"/>
  <Override PartName="/ppt/slideLayouts/slideLayout221.xml" ContentType="application/vnd.openxmlformats-officedocument.presentationml.slideLayout+xml"/>
  <Override PartName="/ppt/tags/tag975.xml" ContentType="application/vnd.openxmlformats-officedocument.presentationml.tags+xml"/>
  <Override PartName="/ppt/tags/tag1323.xml" ContentType="application/vnd.openxmlformats-officedocument.presentationml.tags+xml"/>
  <Override PartName="/ppt/tags/tag1985.xml" ContentType="application/vnd.openxmlformats-officedocument.presentationml.tags+xml"/>
  <Override PartName="/ppt/tags/tag2109.xml" ContentType="application/vnd.openxmlformats-officedocument.presentationml.tags+xml"/>
  <Override PartName="/ppt/slideLayouts/slideLayout58.xml" ContentType="application/vnd.openxmlformats-officedocument.presentationml.slideLayout+xml"/>
  <Override PartName="/ppt/tags/tag228.xml" ContentType="application/vnd.openxmlformats-officedocument.presentationml.tags+xml"/>
  <Override PartName="/ppt/tags/tag906.xml" ContentType="application/vnd.openxmlformats-officedocument.presentationml.tags+xml"/>
  <Override PartName="/ppt/slideLayouts/slideLayout391.xml" ContentType="application/vnd.openxmlformats-officedocument.presentationml.slideLayout+xml"/>
  <Override PartName="/ppt/tags/tag1493.xml" ContentType="application/vnd.openxmlformats-officedocument.presentationml.tags+xml"/>
  <Override PartName="/ppt/tags/tag1916.xml" ContentType="application/vnd.openxmlformats-officedocument.presentationml.tags+xml"/>
  <Override PartName="/ppt/slideLayouts/slideLayout628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ags/tag414.xml" ContentType="application/vnd.openxmlformats-officedocument.presentationml.tags+xml"/>
  <Override PartName="/ppt/tags/tag600.xml" ContentType="application/vnd.openxmlformats-officedocument.presentationml.tags+xml"/>
  <Override PartName="/ppt/slideLayouts/slideLayout322.xml" ContentType="application/vnd.openxmlformats-officedocument.presentationml.slideLayout+xml"/>
  <Override PartName="/ppt/tags/tag1238.xml" ContentType="application/vnd.openxmlformats-officedocument.presentationml.tags+xml"/>
  <Override PartName="/ppt/tags/tag1424.xml" ContentType="application/vnd.openxmlformats-officedocument.presentationml.tags+xml"/>
  <Override PartName="/ppt/tags/tag97.xml" ContentType="application/vnd.openxmlformats-officedocument.presentationml.tags+xml"/>
  <Override PartName="/ppt/tags/tag398.xml" ContentType="application/vnd.openxmlformats-officedocument.presentationml.tags+xml"/>
  <Override PartName="/ppt/tags/tag584.xml" ContentType="application/vnd.openxmlformats-officedocument.presentationml.tags+xml"/>
  <Override PartName="/ppt/tags/tag1594.xml" ContentType="application/vnd.openxmlformats-officedocument.presentationml.tags+xml"/>
  <Override PartName="/ppt/tags/tag1610.xml" ContentType="application/vnd.openxmlformats-officedocument.presentationml.tags+xml"/>
  <Override PartName="/ppt/slideMasters/slideMaster45.xml" ContentType="application/vnd.openxmlformats-officedocument.presentationml.slideMaster+xml"/>
  <Override PartName="/ppt/tags/tag28.xml" ContentType="application/vnd.openxmlformats-officedocument.presentationml.tags+xml"/>
  <Override PartName="/ppt/tags/tag329.xml" ContentType="application/vnd.openxmlformats-officedocument.presentationml.tags+xml"/>
  <Override PartName="/ppt/tags/tag770.xml" ContentType="application/vnd.openxmlformats-officedocument.presentationml.tags+xml"/>
  <Override PartName="/ppt/tags/tag1339.xml" ContentType="application/vnd.openxmlformats-officedocument.presentationml.tags+xml"/>
  <Override PartName="/ppt/slideLayouts/slideLayout492.xml" ContentType="application/vnd.openxmlformats-officedocument.presentationml.slideLayout+xml"/>
  <Override PartName="/ppt/tags/tag1780.xml" ContentType="application/vnd.openxmlformats-officedocument.presentationml.tags+xml"/>
  <Override PartName="/ppt/theme/theme66.xml" ContentType="application/vnd.openxmlformats-officedocument.theme+xml"/>
  <Override PartName="/ppt/slides/slide40.xml" ContentType="application/vnd.openxmlformats-officedocument.presentationml.slide+xml"/>
  <Override PartName="/ppt/tags/tag499.xml" ContentType="application/vnd.openxmlformats-officedocument.presentationml.tags+xml"/>
  <Override PartName="/ppt/tags/tag515.xml" ContentType="application/vnd.openxmlformats-officedocument.presentationml.tags+xml"/>
  <Override PartName="/ppt/tags/tag701.xml" ContentType="application/vnd.openxmlformats-officedocument.presentationml.tags+xml"/>
  <Override PartName="/ppt/slideLayouts/slideLayout237.xml" ContentType="application/vnd.openxmlformats-officedocument.presentationml.slideLayout+xml"/>
  <Override PartName="/ppt/slideLayouts/slideLayout423.xml" ContentType="application/vnd.openxmlformats-officedocument.presentationml.slideLayout+xml"/>
  <Override PartName="/ppt/tags/tag1525.xml" ContentType="application/vnd.openxmlformats-officedocument.presentationml.tags+xml"/>
  <Override PartName="/ppt/tags/tag1711.xml" ContentType="application/vnd.openxmlformats-officedocument.presentationml.tags+xml"/>
  <Override PartName="/ppt/tags/tag2074.xml" ContentType="application/vnd.openxmlformats-officedocument.presentationml.tags+xml"/>
  <Override PartName="/ppt/tags/tag685.xml" ContentType="application/vnd.openxmlformats-officedocument.presentationml.tags+xml"/>
  <Override PartName="/ppt/tags/tag871.xml" ContentType="application/vnd.openxmlformats-officedocument.presentationml.tags+xml"/>
  <Override PartName="/ppt/tags/tag1033.xml" ContentType="application/vnd.openxmlformats-officedocument.presentationml.tags+xml"/>
  <Override PartName="/ppt/tags/tag1695.xml" ContentType="application/vnd.openxmlformats-officedocument.presentationml.tags+xml"/>
  <Override PartName="/ppt/slideLayouts/slideLayout593.xml" ContentType="application/vnd.openxmlformats-officedocument.presentationml.slideLayout+xml"/>
  <Override PartName="/ppt/tags/tag2005.xml" ContentType="application/vnd.openxmlformats-officedocument.presentationml.tags+xml"/>
  <Override PartName="/ppt/tags/tag193.xml" ContentType="application/vnd.openxmlformats-officedocument.presentationml.tags+xml"/>
  <Override PartName="/ppt/tags/tag616.xml" ContentType="application/vnd.openxmlformats-officedocument.presentationml.tags+xml"/>
  <Override PartName="/ppt/slideLayouts/slideLayout338.xml" ContentType="application/vnd.openxmlformats-officedocument.presentationml.slideLayout+xml"/>
  <Override PartName="/ppt/tags/tag1881.xml" ContentType="application/vnd.openxmlformats-officedocument.presentationml.tags+xml"/>
  <Override PartName="/ppt/tags/tag124.xml" ContentType="application/vnd.openxmlformats-officedocument.presentationml.tags+xml"/>
  <Override PartName="/ppt/tags/tag802.xml" ContentType="application/vnd.openxmlformats-officedocument.presentationml.tags+xml"/>
  <Override PartName="/ppt/tags/tag1134.xml" ContentType="application/vnd.openxmlformats-officedocument.presentationml.tags+xml"/>
  <Override PartName="/ppt/tags/tag1626.xml" ContentType="application/vnd.openxmlformats-officedocument.presentationml.tags+xml"/>
  <Override PartName="/ppt/slideLayouts/slideLayout524.xml" ContentType="application/vnd.openxmlformats-officedocument.presentationml.slideLayout+xml"/>
  <Override PartName="/ppt/tags/tag1812.xml" ContentType="application/vnd.openxmlformats-officedocument.presentationml.tags+xml"/>
  <Override PartName="/ppt/tags/tag2175.xml" ContentType="application/vnd.openxmlformats-officedocument.presentationml.tags+xml"/>
  <Override PartName="/customXml/itemProps3.xml" ContentType="application/vnd.openxmlformats-officedocument.customXmlProperties+xml"/>
  <Override PartName="/ppt/slideLayouts/slideLayout8.xml" ContentType="application/vnd.openxmlformats-officedocument.presentationml.slideLayout+xml"/>
  <Override PartName="/ppt/tags/tag294.xml" ContentType="application/vnd.openxmlformats-officedocument.presentationml.tags+xml"/>
  <Override PartName="/ppt/tags/tag310.xml" ContentType="application/vnd.openxmlformats-officedocument.presentationml.tags+xml"/>
  <Override PartName="/ppt/tags/tag786.xml" ContentType="application/vnd.openxmlformats-officedocument.presentationml.tags+xml"/>
  <Override PartName="/ppt/tags/tag972.xml" ContentType="application/vnd.openxmlformats-officedocument.presentationml.tags+xml"/>
  <Override PartName="/ppt/tags/tag1320.xml" ContentType="application/vnd.openxmlformats-officedocument.presentationml.tags+xml"/>
  <Override PartName="/ppt/tags/tag1796.xml" ContentType="application/vnd.openxmlformats-officedocument.presentationml.tags+xml"/>
  <Override PartName="/ppt/tags/tag1982.xml" ContentType="application/vnd.openxmlformats-officedocument.presentationml.tags+xml"/>
  <Override PartName="/ppt/tags/tag2106.xml" ContentType="application/vnd.openxmlformats-officedocument.presentationml.tags+xml"/>
  <Override PartName="/ppt/slideLayouts/slideLayout55.xml" ContentType="application/vnd.openxmlformats-officedocument.presentationml.slideLayout+xml"/>
  <Override PartName="/ppt/tags/tag480.xml" ContentType="application/vnd.openxmlformats-officedocument.presentationml.tags+xml"/>
  <Override PartName="/ppt/tags/tag717.xml" ContentType="application/vnd.openxmlformats-officedocument.presentationml.tags+xml"/>
  <Override PartName="/ppt/slideLayouts/slideLayout439.xml" ContentType="application/vnd.openxmlformats-officedocument.presentationml.slideLayout+xml"/>
  <Override PartName="/ppt/tags/tag1490.xml" ContentType="application/vnd.openxmlformats-officedocument.presentationml.tags+xml"/>
  <Override PartName="/ppt/tags/tag1727.xml" ContentType="application/vnd.openxmlformats-officedocument.presentationml.tags+xml"/>
  <Override PartName="/ppt/slideLayouts/slideLayout625.xml" ContentType="application/vnd.openxmlformats-officedocument.presentationml.slideLayout+xml"/>
  <Override PartName="/ppt/tags/tag225.xml" ContentType="application/vnd.openxmlformats-officedocument.presentationml.tags+xml"/>
  <Override PartName="/ppt/slideLayouts/slideLayout133.xml" ContentType="application/vnd.openxmlformats-officedocument.presentationml.slideLayout+xml"/>
  <Override PartName="/ppt/tags/tag411.xml" ContentType="application/vnd.openxmlformats-officedocument.presentationml.tags+xml"/>
  <Override PartName="/ppt/tags/tag887.xml" ContentType="application/vnd.openxmlformats-officedocument.presentationml.tags+xml"/>
  <Override PartName="/ppt/tags/tag903.xml" ContentType="application/vnd.openxmlformats-officedocument.presentationml.tags+xml"/>
  <Override PartName="/ppt/tags/tag1049.xml" ContentType="application/vnd.openxmlformats-officedocument.presentationml.tags+xml"/>
  <Override PartName="/ppt/tags/tag1235.xml" ContentType="application/vnd.openxmlformats-officedocument.presentationml.tags+xml"/>
  <Override PartName="/ppt/tags/tag1897.xml" ContentType="application/vnd.openxmlformats-officedocument.presentationml.tags+xml"/>
  <Override PartName="/ppt/tags/tag1913.xml" ContentType="application/vnd.openxmlformats-officedocument.presentationml.tags+xml"/>
  <Override PartName="/ppt/tags/tag94.xml" ContentType="application/vnd.openxmlformats-officedocument.presentationml.tags+xml"/>
  <Override PartName="/ppt/tags/tag395.xml" ContentType="application/vnd.openxmlformats-officedocument.presentationml.tags+xml"/>
  <Override PartName="/ppt/tags/tag1421.xml" ContentType="application/vnd.openxmlformats-officedocument.presentationml.tags+xml"/>
  <Override PartName="/ppt/slideMasters/slideMaster42.xml" ContentType="application/vnd.openxmlformats-officedocument.presentationml.slideMaster+xml"/>
  <Override PartName="/ppt/tags/tag581.xml" ContentType="application/vnd.openxmlformats-officedocument.presentationml.tags+xml"/>
  <Override PartName="/ppt/tags/tag818.xml" ContentType="application/vnd.openxmlformats-officedocument.presentationml.tags+xml"/>
  <Override PartName="/ppt/tags/tag1591.xml" ContentType="application/vnd.openxmlformats-officedocument.presentationml.tags+xml"/>
  <Override PartName="/ppt/tags/tag1828.xml" ContentType="application/vnd.openxmlformats-officedocument.presentationml.tags+xml"/>
  <Override PartName="/ppt/theme/theme63.xml" ContentType="application/vnd.openxmlformats-officedocument.theme+xml"/>
  <Override PartName="/ppt/tags/tag25.xml" ContentType="application/vnd.openxmlformats-officedocument.presentationml.tags+xml"/>
  <Override PartName="/ppt/tags/tag326.xml" ContentType="application/vnd.openxmlformats-officedocument.presentationml.tags+xml"/>
  <Override PartName="/ppt/tags/tag512.xml" ContentType="application/vnd.openxmlformats-officedocument.presentationml.tags+xml"/>
  <Override PartName="/ppt/slideLayouts/slideLayout234.xml" ContentType="application/vnd.openxmlformats-officedocument.presentationml.slideLayout+xml"/>
  <Override PartName="/ppt/tags/tag988.xml" ContentType="application/vnd.openxmlformats-officedocument.presentationml.tags+xml"/>
  <Override PartName="/ppt/tags/tag1336.xml" ContentType="application/vnd.openxmlformats-officedocument.presentationml.tags+xml"/>
  <Override PartName="/ppt/tags/tag1522.xml" ContentType="application/vnd.openxmlformats-officedocument.presentationml.tags+xml"/>
  <Override PartName="/ppt/tags/tag1998.xml" ContentType="application/vnd.openxmlformats-officedocument.presentationml.tags+xml"/>
  <Override PartName="/ppt/tags/tag2071.xml" ContentType="application/vnd.openxmlformats-officedocument.presentationml.tags+xml"/>
  <Override PartName="/ppt/tags/tag496.xml" ContentType="application/vnd.openxmlformats-officedocument.presentationml.tags+xml"/>
  <Override PartName="/ppt/tags/tag682.xml" ContentType="application/vnd.openxmlformats-officedocument.presentationml.tags+xml"/>
  <Override PartName="/ppt/tags/tag919.xml" ContentType="application/vnd.openxmlformats-officedocument.presentationml.tags+xml"/>
  <Override PartName="/ppt/tags/tag1030.xml" ContentType="application/vnd.openxmlformats-officedocument.presentationml.tags+xml"/>
  <Override PartName="/ppt/slideLayouts/slideLayout420.xml" ContentType="application/vnd.openxmlformats-officedocument.presentationml.slideLayout+xml"/>
  <Override PartName="/ppt/tags/tag190.xml" ContentType="application/vnd.openxmlformats-officedocument.presentationml.tags+xml"/>
  <Override PartName="/ppt/tags/tag427.xml" ContentType="application/vnd.openxmlformats-officedocument.presentationml.tags+xml"/>
  <Override PartName="/ppt/slideLayouts/slideLayout149.xml" ContentType="application/vnd.openxmlformats-officedocument.presentationml.slideLayout+xml"/>
  <Override PartName="/ppt/tags/tag1437.xml" ContentType="application/vnd.openxmlformats-officedocument.presentationml.tags+xml"/>
  <Override PartName="/ppt/tags/tag1692.xml" ContentType="application/vnd.openxmlformats-officedocument.presentationml.tags+xml"/>
  <Override PartName="/ppt/tags/tag1929.xml" ContentType="application/vnd.openxmlformats-officedocument.presentationml.tags+xml"/>
  <Override PartName="/ppt/slideLayouts/slideLayout590.xml" ContentType="application/vnd.openxmlformats-officedocument.presentationml.slideLayout+xml"/>
  <Override PartName="/ppt/tags/tag2002.xml" ContentType="application/vnd.openxmlformats-officedocument.presentationml.tags+xml"/>
  <Override PartName="/ppt/tags/tag597.xml" ContentType="application/vnd.openxmlformats-officedocument.presentationml.tags+xml"/>
  <Override PartName="/ppt/tags/tag613.xml" ContentType="application/vnd.openxmlformats-officedocument.presentationml.tags+xml"/>
  <Override PartName="/ppt/slideLayouts/slideLayout335.xml" ContentType="application/vnd.openxmlformats-officedocument.presentationml.slideLayout+xml"/>
  <Override PartName="/ppt/tags/tag1623.xml" ContentType="application/vnd.openxmlformats-officedocument.presentationml.tags+xml"/>
  <Override PartName="/ppt/slideLayouts/slideLayout521.xml" ContentType="application/vnd.openxmlformats-officedocument.presentationml.slideLayout+xml"/>
  <Override PartName="/ppt/tags/tag2172.xml" ContentType="application/vnd.openxmlformats-officedocument.presentationml.tags+xml"/>
  <Override PartName="/ppt/slideMasters/slideMaster58.xml" ContentType="application/vnd.openxmlformats-officedocument.presentationml.slideMaster+xml"/>
  <Override PartName="/ppt/slideLayouts/slideLayout5.xml" ContentType="application/vnd.openxmlformats-officedocument.presentationml.slideLayout+xml"/>
  <Override PartName="/ppt/tags/tag121.xml" ContentType="application/vnd.openxmlformats-officedocument.presentationml.tags+xml"/>
  <Override PartName="/ppt/tags/tag783.xml" ContentType="application/vnd.openxmlformats-officedocument.presentationml.tags+xml"/>
  <Override PartName="/ppt/tags/tag1131.xml" ContentType="application/vnd.openxmlformats-officedocument.presentationml.tags+xml"/>
  <Override PartName="/ppt/tags/tag1793.xml" ContentType="application/vnd.openxmlformats-officedocument.presentationml.tags+xml"/>
  <Override PartName="/ppt/tags/tag291.xml" ContentType="application/vnd.openxmlformats-officedocument.presentationml.tags+xml"/>
  <Override PartName="/ppt/tags/tag528.xml" ContentType="application/vnd.openxmlformats-officedocument.presentationml.tags+xml"/>
  <Override PartName="/ppt/tags/tag714.xml" ContentType="application/vnd.openxmlformats-officedocument.presentationml.tags+xml"/>
  <Override PartName="/ppt/slideLayouts/slideLayout436.xml" ContentType="application/vnd.openxmlformats-officedocument.presentationml.slideLayout+xml"/>
  <Override PartName="/ppt/tags/tag1538.xml" ContentType="application/vnd.openxmlformats-officedocument.presentationml.tags+xml"/>
  <Override PartName="/ppt/tags/tag2087.xml" ContentType="application/vnd.openxmlformats-officedocument.presentationml.tags+xml"/>
  <Override PartName="/ppt/tags/tag2103.xml" ContentType="application/vnd.openxmlformats-officedocument.presentationml.tags+xml"/>
  <Override PartName="/ppt/slideLayouts/slideLayout52.xml" ContentType="application/vnd.openxmlformats-officedocument.presentationml.slideLayout+xml"/>
  <Override PartName="/ppt/tags/tag222.xml" ContentType="application/vnd.openxmlformats-officedocument.presentationml.tags+xml"/>
  <Override PartName="/ppt/tags/tag698.xml" ContentType="application/vnd.openxmlformats-officedocument.presentationml.tags+xml"/>
  <Override PartName="/ppt/tags/tag900.xml" ContentType="application/vnd.openxmlformats-officedocument.presentationml.tags+xml"/>
  <Override PartName="/ppt/tags/tag1046.xml" ContentType="application/vnd.openxmlformats-officedocument.presentationml.tags+xml"/>
  <Override PartName="/ppt/tags/tag1724.xml" ContentType="application/vnd.openxmlformats-officedocument.presentationml.tags+xml"/>
  <Override PartName="/ppt/tags/tag1910.xml" ContentType="application/vnd.openxmlformats-officedocument.presentationml.tags+xml"/>
  <Override PartName="/ppt/slideLayouts/slideLayout622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ags/tag392.xml" ContentType="application/vnd.openxmlformats-officedocument.presentationml.tags+xml"/>
  <Override PartName="/ppt/tags/tag884.xml" ContentType="application/vnd.openxmlformats-officedocument.presentationml.tags+xml"/>
  <Override PartName="/ppt/tags/tag1232.xml" ContentType="application/vnd.openxmlformats-officedocument.presentationml.tags+xml"/>
  <Override PartName="/ppt/tags/tag1894.xml" ContentType="application/vnd.openxmlformats-officedocument.presentationml.tags+xml"/>
  <Override PartName="/ppt/tags/tag2018.xml" ContentType="application/vnd.openxmlformats-officedocument.presentationml.tags+xml"/>
  <Override PartName="/ppt/tags/tag91.xml" ContentType="application/vnd.openxmlformats-officedocument.presentationml.tags+xml"/>
  <Override PartName="/ppt/tags/tag137.xml" ContentType="application/vnd.openxmlformats-officedocument.presentationml.tags+xml"/>
  <Override PartName="/ppt/tags/tag629.xml" ContentType="application/vnd.openxmlformats-officedocument.presentationml.tags+xml"/>
  <Override PartName="/ppt/tags/tag815.xml" ContentType="application/vnd.openxmlformats-officedocument.presentationml.tags+xml"/>
  <Override PartName="/ppt/tags/tag1639.xml" ContentType="application/vnd.openxmlformats-officedocument.presentationml.tags+xml"/>
  <Override PartName="/ppt/slideLayouts/slideLayout537.xml" ContentType="application/vnd.openxmlformats-officedocument.presentationml.slideLayout+xml"/>
  <Override PartName="/ppt/tags/tag1825.xml" ContentType="application/vnd.openxmlformats-officedocument.presentationml.tags+xml"/>
  <Override PartName="/ppt/tags/tag2188.xml" ContentType="application/vnd.openxmlformats-officedocument.presentationml.tags+xml"/>
  <Override PartName="/ppt/tags/tag22.xml" ContentType="application/vnd.openxmlformats-officedocument.presentationml.tags+xml"/>
  <Override PartName="/ppt/tags/tag323.xml" ContentType="application/vnd.openxmlformats-officedocument.presentationml.tags+xml"/>
  <Override PartName="/ppt/slideLayouts/slideLayout231.xml" ContentType="application/vnd.openxmlformats-officedocument.presentationml.slideLayout+xml"/>
  <Override PartName="/ppt/tags/tag799.xml" ContentType="application/vnd.openxmlformats-officedocument.presentationml.tags+xml"/>
  <Override PartName="/ppt/tags/tag985.xml" ContentType="application/vnd.openxmlformats-officedocument.presentationml.tags+xml"/>
  <Override PartName="/ppt/tags/tag1147.xml" ContentType="application/vnd.openxmlformats-officedocument.presentationml.tags+xml"/>
  <Override PartName="/ppt/tags/tag1333.xml" ContentType="application/vnd.openxmlformats-officedocument.presentationml.tags+xml"/>
  <Override PartName="/ppt/theme/theme60.xml" ContentType="application/vnd.openxmlformats-officedocument.theme+xml"/>
  <Override PartName="/ppt/tags/tag2119.xml" ContentType="application/vnd.openxmlformats-officedocument.presentationml.tags+xml"/>
  <Override PartName="/ppt/slideLayouts/slideLayout68.xml" ContentType="application/vnd.openxmlformats-officedocument.presentationml.slideLayout+xml"/>
  <Override PartName="/ppt/tags/tag493.xml" ContentType="application/vnd.openxmlformats-officedocument.presentationml.tags+xml"/>
  <Override PartName="/ppt/tags/tag1995.xml" ContentType="application/vnd.openxmlformats-officedocument.presentationml.tags+xml"/>
  <Override PartName="/ppt/tags/tag8.xml" ContentType="application/vnd.openxmlformats-officedocument.presentationml.tags+xml"/>
  <Override PartName="/ppt/tags/tag238.xml" ContentType="application/vnd.openxmlformats-officedocument.presentationml.tags+xml"/>
  <Override PartName="/ppt/tags/tag916.xml" ContentType="application/vnd.openxmlformats-officedocument.presentationml.tags+xml"/>
  <Override PartName="/ppt/tags/tag1248.xml" ContentType="application/vnd.openxmlformats-officedocument.presentationml.tags+xml"/>
  <Override PartName="/ppt/tags/tag1926.xml" ContentType="application/vnd.openxmlformats-officedocument.presentationml.tags+xml"/>
  <Override PartName="/ppt/slideLayouts/slideLayout638.xml" ContentType="application/vnd.openxmlformats-officedocument.presentationml.slideLayout+xml"/>
  <Override PartName="/ppt/tags/tag424.xml" ContentType="application/vnd.openxmlformats-officedocument.presentationml.tags+xml"/>
  <Override PartName="/ppt/slideLayouts/slideLayout146.xml" ContentType="application/vnd.openxmlformats-officedocument.presentationml.slideLayout+xml"/>
  <Override PartName="/ppt/tags/tag610.xml" ContentType="application/vnd.openxmlformats-officedocument.presentationml.tags+xml"/>
  <Override PartName="/ppt/slideLayouts/slideLayout332.xml" ContentType="application/vnd.openxmlformats-officedocument.presentationml.slideLayout+xml"/>
  <Override PartName="/ppt/tags/tag1434.xml" ContentType="application/vnd.openxmlformats-officedocument.presentationml.tags+xml"/>
  <Override PartName="/ppt/tags/tag1620.xml" ContentType="application/vnd.openxmlformats-officedocument.presentationml.tags+xml"/>
  <Override PartName="/ppt/slideMasters/slideMaster55.xml" ContentType="application/vnd.openxmlformats-officedocument.presentationml.slideMaster+xml"/>
  <Override PartName="/ppt/slideLayouts/slideLayout2.xml" ContentType="application/vnd.openxmlformats-officedocument.presentationml.slideLayout+xml"/>
  <Override PartName="/ppt/tags/tag594.xml" ContentType="application/vnd.openxmlformats-officedocument.presentationml.tags+xml"/>
  <Override PartName="/ppt/tags/tag780.xml" ContentType="application/vnd.openxmlformats-officedocument.presentationml.tags+xml"/>
  <Override PartName="/ppt/tags/tag38.xml" ContentType="application/vnd.openxmlformats-officedocument.presentationml.tags+xml"/>
  <Override PartName="/ppt/tags/tag339.xml" ContentType="application/vnd.openxmlformats-officedocument.presentationml.tags+xml"/>
  <Override PartName="/ppt/tags/tag525.xml" ContentType="application/vnd.openxmlformats-officedocument.presentationml.tags+xml"/>
  <Override PartName="/ppt/slideLayouts/slideLayout247.xml" ContentType="application/vnd.openxmlformats-officedocument.presentationml.slideLayout+xml"/>
  <Override PartName="/ppt/tags/tag1349.xml" ContentType="application/vnd.openxmlformats-officedocument.presentationml.tags+xml"/>
  <Override PartName="/ppt/tags/tag1790.xml" ContentType="application/vnd.openxmlformats-officedocument.presentationml.tags+xml"/>
  <Override PartName="/ppt/tags/tag2100.xml" ContentType="application/vnd.openxmlformats-officedocument.presentationml.tags+xml"/>
  <Override PartName="/ppt/tags/tag711.xml" ContentType="application/vnd.openxmlformats-officedocument.presentationml.tags+xml"/>
  <Override PartName="/ppt/tags/tag1043.xml" ContentType="application/vnd.openxmlformats-officedocument.presentationml.tags+xml"/>
  <Override PartName="/ppt/slideLayouts/slideLayout433.xml" ContentType="application/vnd.openxmlformats-officedocument.presentationml.slideLayout+xml"/>
  <Override PartName="/ppt/tags/tag1535.xml" ContentType="application/vnd.openxmlformats-officedocument.presentationml.tags+xml"/>
  <Override PartName="/ppt/tags/tag1721.xml" ContentType="application/vnd.openxmlformats-officedocument.presentationml.tags+xml"/>
  <Override PartName="/ppt/tags/tag2084.xml" ContentType="application/vnd.openxmlformats-officedocument.presentationml.tags+xml"/>
  <Override PartName="/ppt/tags/tag695.xml" ContentType="application/vnd.openxmlformats-officedocument.presentationml.tags+xml"/>
  <Override PartName="/ppt/tags/tag881.xml" ContentType="application/vnd.openxmlformats-officedocument.presentationml.tags+xml"/>
  <Override PartName="/ppt/tags/tag1891.xml" ContentType="application/vnd.openxmlformats-officedocument.presentationml.tags+xml"/>
  <Override PartName="/ppt/tags/tag2015.xml" ContentType="application/vnd.openxmlformats-officedocument.presentationml.tags+xml"/>
  <Override PartName="/ppt/tags/tag626.xml" ContentType="application/vnd.openxmlformats-officedocument.presentationml.tags+xml"/>
  <Override PartName="/ppt/slideLayouts/slideLayout348.xml" ContentType="application/vnd.openxmlformats-officedocument.presentationml.slideLayout+xml"/>
  <Override PartName="/ppt/tags/tag1636.xml" ContentType="application/vnd.openxmlformats-officedocument.presentationml.tags+xml"/>
  <Override PartName="/ppt/tags/tag2185.xml" ContentType="application/vnd.openxmlformats-officedocument.presentationml.tags+xml"/>
  <Override PartName="/ppt/tags/tag2201.xml" ContentType="application/vnd.openxmlformats-officedocument.presentationml.tags+xml"/>
  <Override PartName="/ppt/notesSlides/notesSlide7.xml" ContentType="application/vnd.openxmlformats-officedocument.presentationml.notesSlide+xml"/>
  <Override PartName="/ppt/tags/tag134.xml" ContentType="application/vnd.openxmlformats-officedocument.presentationml.tags+xml"/>
  <Override PartName="/ppt/tags/tag320.xml" ContentType="application/vnd.openxmlformats-officedocument.presentationml.tags+xml"/>
  <Override PartName="/ppt/tags/tag796.xml" ContentType="application/vnd.openxmlformats-officedocument.presentationml.tags+xml"/>
  <Override PartName="/ppt/tags/tag812.xml" ContentType="application/vnd.openxmlformats-officedocument.presentationml.tags+xml"/>
  <Override PartName="/ppt/tags/tag1144.xml" ContentType="application/vnd.openxmlformats-officedocument.presentationml.tags+xml"/>
  <Override PartName="/ppt/slideLayouts/slideLayout534.xml" ContentType="application/vnd.openxmlformats-officedocument.presentationml.slideLayout+xml"/>
  <Override PartName="/ppt/tags/tag1822.xml" ContentType="application/vnd.openxmlformats-officedocument.presentationml.tags+xml"/>
  <Override PartName="/ppt/tags/tag982.xml" ContentType="application/vnd.openxmlformats-officedocument.presentationml.tags+xml"/>
  <Override PartName="/ppt/tags/tag1330.xml" ContentType="application/vnd.openxmlformats-officedocument.presentationml.tags+xml"/>
  <Override PartName="/ppt/tags/tag1992.xml" ContentType="application/vnd.openxmlformats-officedocument.presentationml.tags+xml"/>
  <Override PartName="/ppt/tags/tag2116.xml" ContentType="application/vnd.openxmlformats-officedocument.presentationml.tags+xml"/>
  <Override PartName="/ppt/tags/tag5.xml" ContentType="application/vnd.openxmlformats-officedocument.presentationml.tags+xml"/>
  <Override PartName="/ppt/slideLayouts/slideLayout65.xml" ContentType="application/vnd.openxmlformats-officedocument.presentationml.slideLayout+xml"/>
  <Override PartName="/ppt/tags/tag490.xml" ContentType="application/vnd.openxmlformats-officedocument.presentationml.tags+xml"/>
  <Override PartName="/ppt/tags/tag727.xml" ContentType="application/vnd.openxmlformats-officedocument.presentationml.tags+xml"/>
  <Override PartName="/ppt/tags/tag913.xml" ContentType="application/vnd.openxmlformats-officedocument.presentationml.tags+xml"/>
  <Override PartName="/ppt/tags/tag1059.xml" ContentType="application/vnd.openxmlformats-officedocument.presentationml.tags+xml"/>
  <Override PartName="/ppt/slideLayouts/slideLayout449.xml" ContentType="application/vnd.openxmlformats-officedocument.presentationml.slideLayout+xml"/>
  <Override PartName="/ppt/tags/tag1737.xml" ContentType="application/vnd.openxmlformats-officedocument.presentationml.tags+xml"/>
  <Override PartName="/ppt/slideLayouts/slideLayout635.xml" ContentType="application/vnd.openxmlformats-officedocument.presentationml.slideLayout+xml"/>
  <Override PartName="/ppt/tags/tag235.xml" ContentType="application/vnd.openxmlformats-officedocument.presentationml.tags+xml"/>
  <Override PartName="/ppt/slideLayouts/slideLayout143.xml" ContentType="application/vnd.openxmlformats-officedocument.presentationml.slideLayout+xml"/>
  <Override PartName="/ppt/tags/tag421.xml" ContentType="application/vnd.openxmlformats-officedocument.presentationml.tags+xml"/>
  <Override PartName="/ppt/tags/tag897.xml" ContentType="application/vnd.openxmlformats-officedocument.presentationml.tags+xml"/>
  <Override PartName="/ppt/tags/tag1245.xml" ContentType="application/vnd.openxmlformats-officedocument.presentationml.tags+xml"/>
  <Override PartName="/ppt/tags/tag1431.xml" ContentType="application/vnd.openxmlformats-officedocument.presentationml.tags+xml"/>
  <Override PartName="/ppt/tags/tag1923.xml" ContentType="application/vnd.openxmlformats-officedocument.presentationml.tags+xml"/>
  <Override PartName="/ppt/tags/tag591.xml" ContentType="application/vnd.openxmlformats-officedocument.presentationml.tags+xml"/>
  <Override PartName="/ppt/tags/tag828.xml" ContentType="application/vnd.openxmlformats-officedocument.presentationml.tags+xml"/>
  <Override PartName="/ppt/slideMasters/slideMaster52.xml" ContentType="application/vnd.openxmlformats-officedocument.presentationml.slideMaster+xml"/>
  <Override PartName="/ppt/tags/tag35.xml" ContentType="application/vnd.openxmlformats-officedocument.presentationml.tags+xml"/>
  <Override PartName="/ppt/tags/tag336.xml" ContentType="application/vnd.openxmlformats-officedocument.presentationml.tags+xml"/>
  <Override PartName="/ppt/tags/tag1346.xml" ContentType="application/vnd.openxmlformats-officedocument.presentationml.tags+xml"/>
  <Override PartName="/ppt/tags/tag1838.xml" ContentType="application/vnd.openxmlformats-officedocument.presentationml.tags+xml"/>
  <Override PartName="/ppt/tags/tag522.xml" ContentType="application/vnd.openxmlformats-officedocument.presentationml.tags+xml"/>
  <Override PartName="/ppt/slideLayouts/slideLayout244.xml" ContentType="application/vnd.openxmlformats-officedocument.presentationml.slideLayout+xml"/>
  <Override PartName="/ppt/tags/tag998.xml" ContentType="application/vnd.openxmlformats-officedocument.presentationml.tags+xml"/>
  <Override PartName="/ppt/slideLayouts/slideLayout430.xml" ContentType="application/vnd.openxmlformats-officedocument.presentationml.slideLayout+xml"/>
  <Override PartName="/ppt/tags/tag1532.xml" ContentType="application/vnd.openxmlformats-officedocument.presentationml.tags+xml"/>
  <Override PartName="/ppt/tags/tag2081.xml" ContentType="application/vnd.openxmlformats-officedocument.presentationml.tags+xml"/>
  <Override PartName="/ppt/tags/tag692.xml" ContentType="application/vnd.openxmlformats-officedocument.presentationml.tags+xml"/>
  <Override PartName="/ppt/tags/tag929.xml" ContentType="application/vnd.openxmlformats-officedocument.presentationml.tags+xml"/>
  <Override PartName="/ppt/tags/tag1040.xml" ContentType="application/vnd.openxmlformats-officedocument.presentationml.tags+xml"/>
  <Override PartName="/ppt/tags/tag1939.xml" ContentType="application/vnd.openxmlformats-officedocument.presentationml.tags+xml"/>
  <Override PartName="/ppt/tags/tag437.xml" ContentType="application/vnd.openxmlformats-officedocument.presentationml.tags+xml"/>
  <Override PartName="/ppt/slideLayouts/slideLayout159.xml" ContentType="application/vnd.openxmlformats-officedocument.presentationml.slideLayout+xml"/>
  <Override PartName="/ppt/tags/tag623.xml" ContentType="application/vnd.openxmlformats-officedocument.presentationml.tags+xml"/>
  <Override PartName="/ppt/slideLayouts/slideLayout345.xml" ContentType="application/vnd.openxmlformats-officedocument.presentationml.slideLayout+xml"/>
  <Override PartName="/ppt/tags/tag1447.xml" ContentType="application/vnd.openxmlformats-officedocument.presentationml.tags+xml"/>
  <Override PartName="/ppt/tags/tag2012.xml" ContentType="application/vnd.openxmlformats-officedocument.presentationml.tags+xml"/>
  <Override PartName="/ppt/notesSlides/notesSlide4.xml" ContentType="application/vnd.openxmlformats-officedocument.presentationml.notesSlide+xml"/>
  <Override PartName="/ppt/tags/tag131.xml" ContentType="application/vnd.openxmlformats-officedocument.presentationml.tags+xml"/>
  <Override PartName="/ppt/tags/tag1633.xml" ContentType="application/vnd.openxmlformats-officedocument.presentationml.tags+xml"/>
  <Override PartName="/ppt/slideLayouts/slideLayout531.xml" ContentType="application/vnd.openxmlformats-officedocument.presentationml.slideLayout+xml"/>
  <Override PartName="/ppt/tags/tag2182.xml" ContentType="application/vnd.openxmlformats-officedocument.presentationml.tags+xml"/>
  <Override PartName="/ppt/slideMasters/slideMaster68.xml" ContentType="application/vnd.openxmlformats-officedocument.presentationml.slideMaster+xml"/>
  <Override PartName="/ppt/tags/tag793.xml" ContentType="application/vnd.openxmlformats-officedocument.presentationml.tags+xml"/>
  <Override PartName="/ppt/tags/tag1141.xml" ContentType="application/vnd.openxmlformats-officedocument.presentationml.tags+xml"/>
  <Override PartName="/ppt/tags/tag2113.xml" ContentType="application/vnd.openxmlformats-officedocument.presentationml.tags+xml"/>
  <Override PartName="/ppt/tags/tag2.xml" ContentType="application/vnd.openxmlformats-officedocument.presentationml.tags+xml"/>
  <Override PartName="/ppt/slideLayouts/slideLayout62.xml" ContentType="application/vnd.openxmlformats-officedocument.presentationml.slideLayout+xml"/>
  <Override PartName="/ppt/tags/tag538.xml" ContentType="application/vnd.openxmlformats-officedocument.presentationml.tags+xml"/>
  <Override PartName="/ppt/tags/tag724.xml" ContentType="application/vnd.openxmlformats-officedocument.presentationml.tags+xml"/>
  <Override PartName="/ppt/slideLayouts/slideLayout446.xml" ContentType="application/vnd.openxmlformats-officedocument.presentationml.slideLayout+xml"/>
  <Override PartName="/ppt/tags/tag1548.xml" ContentType="application/vnd.openxmlformats-officedocument.presentationml.tags+xml"/>
  <Override PartName="/ppt/tags/tag1734.xml" ContentType="application/vnd.openxmlformats-officedocument.presentationml.tags+xml"/>
  <Override PartName="/ppt/tags/tag2097.xml" ContentType="application/vnd.openxmlformats-officedocument.presentationml.tags+xml"/>
  <Override PartName="/ppt/tags/tag232.xml" ContentType="application/vnd.openxmlformats-officedocument.presentationml.tags+xml"/>
  <Override PartName="/ppt/slideLayouts/slideLayout140.xml" ContentType="application/vnd.openxmlformats-officedocument.presentationml.slideLayout+xml"/>
  <Override PartName="/ppt/tags/tag894.xml" ContentType="application/vnd.openxmlformats-officedocument.presentationml.tags+xml"/>
  <Override PartName="/ppt/tags/tag910.xml" ContentType="application/vnd.openxmlformats-officedocument.presentationml.tags+xml"/>
  <Override PartName="/ppt/tags/tag1056.xml" ContentType="application/vnd.openxmlformats-officedocument.presentationml.tags+xml"/>
  <Override PartName="/ppt/tags/tag1242.xml" ContentType="application/vnd.openxmlformats-officedocument.presentationml.tags+xml"/>
  <Override PartName="/ppt/tags/tag1920.xml" ContentType="application/vnd.openxmlformats-officedocument.presentationml.tags+xml"/>
  <Override PartName="/ppt/tags/tag2028.xml" ContentType="application/vnd.openxmlformats-officedocument.presentationml.tags+xml"/>
  <Override PartName="/ppt/slideLayouts/slideLayout632.xml" ContentType="application/vnd.openxmlformats-officedocument.presentationml.slideLayout+xml"/>
  <Override PartName="/ppt/tags/tag639.xml" ContentType="application/vnd.openxmlformats-officedocument.presentationml.tags+xml"/>
  <Override PartName="/ppt/tags/tag147.xml" ContentType="application/vnd.openxmlformats-officedocument.presentationml.tags+xml"/>
  <Override PartName="/ppt/tags/tag825.xml" ContentType="application/vnd.openxmlformats-officedocument.presentationml.tags+xml"/>
  <Override PartName="/ppt/tags/tag1157.xml" ContentType="application/vnd.openxmlformats-officedocument.presentationml.tags+xml"/>
  <Override PartName="/ppt/tags/tag1649.xml" ContentType="application/vnd.openxmlformats-officedocument.presentationml.tags+xml"/>
  <Override PartName="/ppt/slideLayouts/slideLayout547.xml" ContentType="application/vnd.openxmlformats-officedocument.presentationml.slideLayout+xml"/>
  <Override PartName="/ppt/tags/tag1835.xml" ContentType="application/vnd.openxmlformats-officedocument.presentationml.tags+xml"/>
  <Override PartName="/ppt/tags/tag2198.xml" ContentType="application/vnd.openxmlformats-officedocument.presentationml.tags+xml"/>
  <Override PartName="/ppt/tags/tag32.xml" ContentType="application/vnd.openxmlformats-officedocument.presentationml.tags+xml"/>
  <Override PartName="/ppt/tags/tag333.xml" ContentType="application/vnd.openxmlformats-officedocument.presentationml.tags+xml"/>
  <Override PartName="/ppt/slideLayouts/slideLayout241.xml" ContentType="application/vnd.openxmlformats-officedocument.presentationml.slideLayout+xml"/>
  <Override PartName="/ppt/tags/tag995.xml" ContentType="application/vnd.openxmlformats-officedocument.presentationml.tags+xml"/>
  <Override PartName="/ppt/tags/tag1343.xml" ContentType="application/vnd.openxmlformats-officedocument.presentationml.tags+xml"/>
  <Override PartName="/ppt/tags/tag2129.xml" ContentType="application/vnd.openxmlformats-officedocument.presentationml.tags+xml"/>
  <Override PartName="/ppt/theme/theme70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648.xml" ContentType="application/vnd.openxmlformats-officedocument.presentationml.slideLayout+xml"/>
  <Override PartName="/ppt/tags/tag248.xml" ContentType="application/vnd.openxmlformats-officedocument.presentationml.tags+xml"/>
  <Override PartName="/ppt/tags/tag434.xml" ContentType="application/vnd.openxmlformats-officedocument.presentationml.tags+xml"/>
  <Override PartName="/ppt/slideLayouts/slideLayout156.xml" ContentType="application/vnd.openxmlformats-officedocument.presentationml.slideLayout+xml"/>
  <Override PartName="/ppt/tags/tag926.xml" ContentType="application/vnd.openxmlformats-officedocument.presentationml.tags+xml"/>
  <Override PartName="/ppt/tags/tag1258.xml" ContentType="application/vnd.openxmlformats-officedocument.presentationml.tags+xml"/>
  <Override PartName="/ppt/tags/tag1936.xml" ContentType="application/vnd.openxmlformats-officedocument.presentationml.tags+xml"/>
  <Override PartName="/ppt/notesSlides/notesSlide1.xml" ContentType="application/vnd.openxmlformats-officedocument.presentationml.notesSlide+xml"/>
  <Override PartName="/ppt/tags/tag620.xml" ContentType="application/vnd.openxmlformats-officedocument.presentationml.tags+xml"/>
  <Override PartName="/ppt/slideLayouts/slideLayout342.xml" ContentType="application/vnd.openxmlformats-officedocument.presentationml.slideLayout+xml"/>
  <Override PartName="/ppt/tags/tag1444.xml" ContentType="application/vnd.openxmlformats-officedocument.presentationml.tags+xml"/>
  <Override PartName="/ppt/tags/tag1630.xml" ContentType="application/vnd.openxmlformats-officedocument.presentationml.tags+xml"/>
  <Override PartName="/ppt/slideMasters/slideMaster65.xml" ContentType="application/vnd.openxmlformats-officedocument.presentationml.slideMaster+xml"/>
  <Override PartName="/ppt/tags/tag790.xml" ContentType="application/vnd.openxmlformats-officedocument.presentationml.tags+xml"/>
  <Override PartName="/ppt/tags/tag48.xml" ContentType="application/vnd.openxmlformats-officedocument.presentationml.tags+xml"/>
  <Override PartName="/ppt/tags/tag349.xml" ContentType="application/vnd.openxmlformats-officedocument.presentationml.tags+xml"/>
  <Override PartName="/ppt/tags/tag535.xml" ContentType="application/vnd.openxmlformats-officedocument.presentationml.tags+xml"/>
  <Override PartName="/ppt/slideLayouts/slideLayout257.xml" ContentType="application/vnd.openxmlformats-officedocument.presentationml.slideLayout+xml"/>
  <Override PartName="/ppt/tags/tag1359.xml" ContentType="application/vnd.openxmlformats-officedocument.presentationml.tags+xml"/>
  <Override PartName="/ppt/tags/tag1545.xml" ContentType="application/vnd.openxmlformats-officedocument.presentationml.tags+xml"/>
  <Override PartName="/ppt/tags/tag2094.xml" ContentType="application/vnd.openxmlformats-officedocument.presentationml.tags+xml"/>
  <Override PartName="/ppt/tags/tag2110.xml" ContentType="application/vnd.openxmlformats-officedocument.presentationml.tags+xml"/>
  <Override PartName="/ppt/theme/theme17.xml" ContentType="application/vnd.openxmlformats-officedocument.theme+xml"/>
  <Override PartName="/ppt/tags/tag721.xml" ContentType="application/vnd.openxmlformats-officedocument.presentationml.tags+xml"/>
  <Override PartName="/ppt/tags/tag1053.xml" ContentType="application/vnd.openxmlformats-officedocument.presentationml.tags+xml"/>
  <Override PartName="/ppt/slideLayouts/slideLayout443.xml" ContentType="application/vnd.openxmlformats-officedocument.presentationml.slideLayout+xml"/>
  <Override PartName="/ppt/tags/tag1731.xml" ContentType="application/vnd.openxmlformats-officedocument.presentationml.tags+xml"/>
  <Override PartName="/ppt/tags/tag891.xml" ContentType="application/vnd.openxmlformats-officedocument.presentationml.tags+xml"/>
  <Override PartName="/ppt/tags/tag2025.xml" ContentType="application/vnd.openxmlformats-officedocument.presentationml.tags+xml"/>
  <Override PartName="/ppt/tags/tag636.xml" ContentType="application/vnd.openxmlformats-officedocument.presentationml.tags+xml"/>
  <Override PartName="/ppt/tags/tag822.xml" ContentType="application/vnd.openxmlformats-officedocument.presentationml.tags+xml"/>
  <Override PartName="/ppt/slideLayouts/slideLayout358.xml" ContentType="application/vnd.openxmlformats-officedocument.presentationml.slideLayout+xml"/>
  <Override PartName="/ppt/tags/tag1646.xml" ContentType="application/vnd.openxmlformats-officedocument.presentationml.tags+xml"/>
  <Override PartName="/ppt/slideLayouts/slideLayout544.xml" ContentType="application/vnd.openxmlformats-officedocument.presentationml.slideLayout+xml"/>
  <Override PartName="/ppt/tags/tag2195.xml" ContentType="application/vnd.openxmlformats-officedocument.presentationml.tags+xml"/>
  <Override PartName="/ppt/tags/tag144.xml" ContentType="application/vnd.openxmlformats-officedocument.presentationml.tags+xml"/>
  <Override PartName="/ppt/tags/tag330.xml" ContentType="application/vnd.openxmlformats-officedocument.presentationml.tags+xml"/>
  <Override PartName="/ppt/tags/tag992.xml" ContentType="application/vnd.openxmlformats-officedocument.presentationml.tags+xml"/>
  <Override PartName="/ppt/tags/tag1154.xml" ContentType="application/vnd.openxmlformats-officedocument.presentationml.tags+xml"/>
  <Override PartName="/ppt/tags/tag1340.xml" ContentType="application/vnd.openxmlformats-officedocument.presentationml.tags+xml"/>
  <Override PartName="/ppt/tags/tag1832.xml" ContentType="application/vnd.openxmlformats-officedocument.presentationml.tags+xml"/>
  <Override PartName="/ppt/tags/tag737.xml" ContentType="application/vnd.openxmlformats-officedocument.presentationml.tags+xml"/>
  <Override PartName="/ppt/slideLayouts/slideLayout459.xml" ContentType="application/vnd.openxmlformats-officedocument.presentationml.slideLayout+xml"/>
  <Override PartName="/ppt/tags/tag2126.xml" ContentType="application/vnd.openxmlformats-officedocument.presentationml.tags+xml"/>
  <Override PartName="/ppt/diagrams/drawing2.xml" ContentType="application/vnd.ms-office.drawingml.diagramDrawing+xml"/>
  <Override PartName="/ppt/slideLayouts/slideLayout75.xml" ContentType="application/vnd.openxmlformats-officedocument.presentationml.slideLayout+xml"/>
  <Override PartName="/ppt/tags/tag245.xml" ContentType="application/vnd.openxmlformats-officedocument.presentationml.tags+xml"/>
  <Override PartName="/ppt/tags/tag923.xml" ContentType="application/vnd.openxmlformats-officedocument.presentationml.tags+xml"/>
  <Override PartName="/ppt/tags/tag1069.xml" ContentType="application/vnd.openxmlformats-officedocument.presentationml.tags+xml"/>
  <Override PartName="/ppt/tags/tag1747.xml" ContentType="application/vnd.openxmlformats-officedocument.presentationml.tags+xml"/>
  <Override PartName="/ppt/tags/tag1933.xml" ContentType="application/vnd.openxmlformats-officedocument.presentationml.tags+xml"/>
  <Override PartName="/ppt/slideLayouts/slideLayout645.xml" ContentType="application/vnd.openxmlformats-officedocument.presentationml.slideLayout+xml"/>
  <Override PartName="/ppt/tags/tag431.xml" ContentType="application/vnd.openxmlformats-officedocument.presentationml.tags+xml"/>
  <Override PartName="/ppt/slideLayouts/slideLayout153.xml" ContentType="application/vnd.openxmlformats-officedocument.presentationml.slideLayout+xml"/>
  <Override PartName="/ppt/tags/tag1255.xml" ContentType="application/vnd.openxmlformats-officedocument.presentationml.tags+xml"/>
  <Override PartName="/ppt/tags/tag1441.xml" ContentType="application/vnd.openxmlformats-officedocument.presentationml.tags+xml"/>
  <Override PartName="/ppt/tags/tag838.xml" ContentType="application/vnd.openxmlformats-officedocument.presentationml.tags+xml"/>
  <Override PartName="/ppt/tags/tag1848.xml" ContentType="application/vnd.openxmlformats-officedocument.presentationml.tags+xml"/>
  <Override PartName="/ppt/slideMasters/slideMaster62.xml" ContentType="application/vnd.openxmlformats-officedocument.presentationml.slideMaster+xml"/>
  <Override PartName="/ppt/tags/tag45.xml" ContentType="application/vnd.openxmlformats-officedocument.presentationml.tags+xml"/>
  <Override PartName="/ppt/tags/tag346.xml" ContentType="application/vnd.openxmlformats-officedocument.presentationml.tags+xml"/>
  <Override PartName="/ppt/tags/tag532.xml" ContentType="application/vnd.openxmlformats-officedocument.presentationml.tags+xml"/>
  <Override PartName="/ppt/slideLayouts/slideLayout254.xml" ContentType="application/vnd.openxmlformats-officedocument.presentationml.slideLayout+xml"/>
  <Override PartName="/ppt/tags/tag1356.xml" ContentType="application/vnd.openxmlformats-officedocument.presentationml.tags+xml"/>
  <Override PartName="/ppt/theme/theme14.xml" ContentType="application/vnd.openxmlformats-officedocument.theme+xml"/>
  <Override PartName="/ppt/slideLayouts/slideLayout440.xml" ContentType="application/vnd.openxmlformats-officedocument.presentationml.slideLayout+xml"/>
  <Override PartName="/ppt/tags/tag1542.xml" ContentType="application/vnd.openxmlformats-officedocument.presentationml.tags+xml"/>
  <Override PartName="/ppt/tags/tag2091.xml" ContentType="application/vnd.openxmlformats-officedocument.presentationml.tags+xml"/>
  <Override PartName="/ppt/tags/tag939.xml" ContentType="application/vnd.openxmlformats-officedocument.presentationml.tags+xml"/>
  <Override PartName="/ppt/tags/tag1050.xml" ContentType="application/vnd.openxmlformats-officedocument.presentationml.tags+xml"/>
  <Override PartName="/ppt/tags/tag1949.xml" ContentType="application/vnd.openxmlformats-officedocument.presentationml.tags+xml"/>
  <Override PartName="/ppt/tags/tag2022.xml" ContentType="application/vnd.openxmlformats-officedocument.presentationml.tags+xml"/>
  <Override PartName="/ppt/tags/tag447.xml" ContentType="application/vnd.openxmlformats-officedocument.presentationml.tags+xml"/>
  <Override PartName="/ppt/slideLayouts/slideLayout169.xml" ContentType="application/vnd.openxmlformats-officedocument.presentationml.slideLayout+xml"/>
  <Override PartName="/ppt/tags/tag633.xml" ContentType="application/vnd.openxmlformats-officedocument.presentationml.tags+xml"/>
  <Override PartName="/ppt/slideLayouts/slideLayout355.xml" ContentType="application/vnd.openxmlformats-officedocument.presentationml.slideLayout+xml"/>
  <Override PartName="/ppt/tags/tag1457.xml" ContentType="application/vnd.openxmlformats-officedocument.presentationml.tags+xml"/>
  <Override PartName="/ppt/tags/tag1643.xml" ContentType="application/vnd.openxmlformats-officedocument.presentationml.tags+xml"/>
  <Override PartName="/ppt/tags/tag2192.xml" ContentType="application/vnd.openxmlformats-officedocument.presentationml.tags+xml"/>
  <Override PartName="/ppt/tags/tag141.xml" ContentType="application/vnd.openxmlformats-officedocument.presentationml.tags+xml"/>
  <Override PartName="/ppt/tags/tag1151.xml" ContentType="application/vnd.openxmlformats-officedocument.presentationml.tags+xml"/>
  <Override PartName="/ppt/slideLayouts/slideLayout541.xml" ContentType="application/vnd.openxmlformats-officedocument.presentationml.slideLayout+xml"/>
  <Override PartName="/ppt/tags/tag548.xml" ContentType="application/vnd.openxmlformats-officedocument.presentationml.tags+xml"/>
  <Override PartName="/ppt/tags/tag2123.xml" ContentType="application/vnd.openxmlformats-officedocument.presentationml.tags+xml"/>
  <Override PartName="/ppt/slideLayouts/slideLayout72.xml" ContentType="application/vnd.openxmlformats-officedocument.presentationml.slideLayout+xml"/>
  <Override PartName="/ppt/tags/tag734.xml" ContentType="application/vnd.openxmlformats-officedocument.presentationml.tags+xml"/>
  <Override PartName="/ppt/tags/tag920.xml" ContentType="application/vnd.openxmlformats-officedocument.presentationml.tags+xml"/>
  <Override PartName="/ppt/tags/tag1066.xml" ContentType="application/vnd.openxmlformats-officedocument.presentationml.tags+xml"/>
  <Override PartName="/ppt/slideLayouts/slideLayout456.xml" ContentType="application/vnd.openxmlformats-officedocument.presentationml.slideLayout+xml"/>
  <Override PartName="/ppt/tags/tag1558.xml" ContentType="application/vnd.openxmlformats-officedocument.presentationml.tags+xml"/>
  <Override PartName="/ppt/tags/tag1744.xml" ContentType="application/vnd.openxmlformats-officedocument.presentationml.tags+xml"/>
  <Override PartName="/ppt/slideLayouts/slideLayout642.xml" ContentType="application/vnd.openxmlformats-officedocument.presentationml.slideLayout+xml"/>
  <Override PartName="/ppt/tags/tag242.xml" ContentType="application/vnd.openxmlformats-officedocument.presentationml.tags+xml"/>
  <Override PartName="/ppt/slideLayouts/slideLayout150.xml" ContentType="application/vnd.openxmlformats-officedocument.presentationml.slideLayout+xml"/>
  <Override PartName="/ppt/tags/tag1252.xml" ContentType="application/vnd.openxmlformats-officedocument.presentationml.tags+xml"/>
  <Override PartName="/ppt/tags/tag1930.xml" ContentType="application/vnd.openxmlformats-officedocument.presentationml.tags+xml"/>
  <Override PartName="/ppt/tags/tag2038.xml" ContentType="application/vnd.openxmlformats-officedocument.presentationml.tags+xml"/>
  <Override PartName="/ppt/tags/tag649.xml" ContentType="application/vnd.openxmlformats-officedocument.presentationml.tags+xml"/>
  <Override PartName="/ppt/tags/tag1659.xml" ContentType="application/vnd.openxmlformats-officedocument.presentationml.tags+xml"/>
  <Override PartName="/ppt/slideLayouts/slideLayout557.xml" ContentType="application/vnd.openxmlformats-officedocument.presentationml.slideLayout+xml"/>
  <Override PartName="/ppt/slideMasters/slideMaster9.xml" ContentType="application/vnd.openxmlformats-officedocument.presentationml.slideMaster+xml"/>
  <Override PartName="/ppt/tags/tag157.xml" ContentType="application/vnd.openxmlformats-officedocument.presentationml.tags+xml"/>
  <Override PartName="/ppt/tags/tag343.xml" ContentType="application/vnd.openxmlformats-officedocument.presentationml.tags+xml"/>
  <Override PartName="/ppt/tags/tag835.xml" ContentType="application/vnd.openxmlformats-officedocument.presentationml.tags+xml"/>
  <Override PartName="/ppt/tags/tag1167.xml" ContentType="application/vnd.openxmlformats-officedocument.presentationml.tags+xml"/>
  <Override PartName="/ppt/tags/tag1845.xml" ContentType="application/vnd.openxmlformats-officedocument.presentationml.tags+xml"/>
  <Override PartName="/ppt/tags/tag42.xml" ContentType="application/vnd.openxmlformats-officedocument.presentationml.tags+xml"/>
  <Override PartName="/ppt/slideLayouts/slideLayout251.xml" ContentType="application/vnd.openxmlformats-officedocument.presentationml.slideLayout+xml"/>
  <Override PartName="/ppt/tags/tag1353.xml" ContentType="application/vnd.openxmlformats-officedocument.presentationml.tags+xml"/>
  <Override PartName="/ppt/tags/tag2139.xml" ContentType="application/vnd.openxmlformats-officedocument.presentationml.tags+xml"/>
  <Override PartName="/ppt/theme/theme11.xml" ContentType="application/vnd.openxmlformats-officedocument.theme+xml"/>
  <Override PartName="/ppt/slideLayouts/slideLayout88.xml" ContentType="application/vnd.openxmlformats-officedocument.presentationml.slideLayout+xml"/>
  <Override PartName="/ppt/tags/tag936.xml" ContentType="application/vnd.openxmlformats-officedocument.presentationml.tags+xml"/>
  <Override PartName="/ppt/slideLayouts/slideLayout65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58.xml" ContentType="application/vnd.openxmlformats-officedocument.presentationml.tags+xml"/>
  <Override PartName="/ppt/tags/tag444.xml" ContentType="application/vnd.openxmlformats-officedocument.presentationml.tags+xml"/>
  <Override PartName="/ppt/slideLayouts/slideLayout166.xml" ContentType="application/vnd.openxmlformats-officedocument.presentationml.slideLayout+xml"/>
  <Override PartName="/ppt/tags/tag1268.xml" ContentType="application/vnd.openxmlformats-officedocument.presentationml.tags+xml"/>
  <Override PartName="/ppt/tags/tag1454.xml" ContentType="application/vnd.openxmlformats-officedocument.presentationml.tags+xml"/>
  <Override PartName="/ppt/tags/tag1946.xml" ContentType="application/vnd.openxmlformats-officedocument.presentationml.tags+xml"/>
  <Override PartName="/ppt/tags/tag630.xml" ContentType="application/vnd.openxmlformats-officedocument.presentationml.tags+xml"/>
  <Override PartName="/ppt/slideLayouts/slideLayout352.xml" ContentType="application/vnd.openxmlformats-officedocument.presentationml.slideLayout+xml"/>
  <Override PartName="/ppt/tags/tag1640.xml" ContentType="application/vnd.openxmlformats-officedocument.presentationml.tags+xml"/>
  <Override PartName="/ppt/tags/tag58.xml" ContentType="application/vnd.openxmlformats-officedocument.presentationml.tags+xml"/>
  <Override PartName="/ppt/tags/tag359.xml" ContentType="application/vnd.openxmlformats-officedocument.presentationml.tags+xml"/>
  <Override PartName="/ppt/tags/tag1369.xml" ContentType="application/vnd.openxmlformats-officedocument.presentationml.tags+xml"/>
  <Override PartName="/ppt/tags/tag2120.xml" ContentType="application/vnd.openxmlformats-officedocument.presentationml.tags+xml"/>
  <Override PartName="/ppt/tags/tag545.xml" ContentType="application/vnd.openxmlformats-officedocument.presentationml.tags+xml"/>
  <Override PartName="/ppt/tags/tag731.xml" ContentType="application/vnd.openxmlformats-officedocument.presentationml.tags+xml"/>
  <Override PartName="/ppt/slideLayouts/slideLayout267.xml" ContentType="application/vnd.openxmlformats-officedocument.presentationml.slideLayout+xml"/>
  <Override PartName="/ppt/slideLayouts/slideLayout453.xml" ContentType="application/vnd.openxmlformats-officedocument.presentationml.slideLayout+xml"/>
  <Override PartName="/ppt/tags/tag1555.xml" ContentType="application/vnd.openxmlformats-officedocument.presentationml.tags+xml"/>
  <Override PartName="/ppt/theme/theme27.xml" ContentType="application/vnd.openxmlformats-officedocument.theme+xml"/>
  <Override PartName="/ppt/tags/tag1063.xml" ContentType="application/vnd.openxmlformats-officedocument.presentationml.tags+xml"/>
  <Override PartName="/ppt/tags/tag1741.xml" ContentType="application/vnd.openxmlformats-officedocument.presentationml.tags+xml"/>
  <Override PartName="/ppt/tags/tag646.xml" ContentType="application/vnd.openxmlformats-officedocument.presentationml.tags+xml"/>
  <Override PartName="/ppt/slideLayouts/slideLayout368.xml" ContentType="application/vnd.openxmlformats-officedocument.presentationml.slideLayout+xml"/>
  <Override PartName="/ppt/tags/tag2035.xml" ContentType="application/vnd.openxmlformats-officedocument.presentationml.tags+xml"/>
  <Override PartName="/ppt/slideMasters/slideMaster6.xml" ContentType="application/vnd.openxmlformats-officedocument.presentationml.slideMaster+xml"/>
  <Override PartName="/ppt/tags/tag154.xml" ContentType="application/vnd.openxmlformats-officedocument.presentationml.tags+xml"/>
  <Override PartName="/ppt/tags/tag832.xml" ContentType="application/vnd.openxmlformats-officedocument.presentationml.tags+xml"/>
  <Override PartName="/ppt/tags/tag1656.xml" ContentType="application/vnd.openxmlformats-officedocument.presentationml.tags+xml"/>
  <Override PartName="/ppt/slideLayouts/slideLayout554.xml" ContentType="application/vnd.openxmlformats-officedocument.presentationml.slideLayout+xml"/>
  <Override PartName="/ppt/tags/tag1842.xml" ContentType="application/vnd.openxmlformats-officedocument.presentationml.tags+xml"/>
  <Override PartName="/ppt/tags/tag340.xml" ContentType="application/vnd.openxmlformats-officedocument.presentationml.tags+xml"/>
  <Override PartName="/ppt/tags/tag1164.xml" ContentType="application/vnd.openxmlformats-officedocument.presentationml.tags+xml"/>
  <Override PartName="/ppt/tags/tag1350.xml" ContentType="application/vnd.openxmlformats-officedocument.presentationml.tags+xml"/>
  <Override PartName="/ppt/tags/tag2136.xml" ContentType="application/vnd.openxmlformats-officedocument.presentationml.tags+xml"/>
  <Override PartName="/ppt/slideLayouts/slideLayout85.xml" ContentType="application/vnd.openxmlformats-officedocument.presentationml.slideLayout+xml"/>
  <Override PartName="/ppt/tags/tag747.xml" ContentType="application/vnd.openxmlformats-officedocument.presentationml.tags+xml"/>
  <Override PartName="/ppt/slideLayouts/slideLayout469.xml" ContentType="application/vnd.openxmlformats-officedocument.presentationml.slideLayout+xml"/>
  <Override PartName="/ppt/tags/tag1757.xml" ContentType="application/vnd.openxmlformats-officedocument.presentationml.tags+xml"/>
  <Override PartName="/ppt/slides/slide17.xml" ContentType="application/vnd.openxmlformats-officedocument.presentationml.slide+xml"/>
  <Override PartName="/ppt/tags/tag255.xml" ContentType="application/vnd.openxmlformats-officedocument.presentationml.tags+xml"/>
  <Override PartName="/ppt/slideLayouts/slideLayout163.xml" ContentType="application/vnd.openxmlformats-officedocument.presentationml.slideLayout+xml"/>
  <Override PartName="/ppt/tags/tag933.xml" ContentType="application/vnd.openxmlformats-officedocument.presentationml.tags+xml"/>
  <Override PartName="/ppt/tags/tag1079.xml" ContentType="application/vnd.openxmlformats-officedocument.presentationml.tags+xml"/>
  <Override PartName="/ppt/tags/tag1265.xml" ContentType="application/vnd.openxmlformats-officedocument.presentationml.tags+xml"/>
  <Override PartName="/ppt/tags/tag1943.xml" ContentType="application/vnd.openxmlformats-officedocument.presentationml.tags+xml"/>
  <Override PartName="/ppt/slideLayouts/slideLayout65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441.xml" ContentType="application/vnd.openxmlformats-officedocument.presentationml.tags+xml"/>
  <Override PartName="/ppt/tags/tag1451.xml" ContentType="application/vnd.openxmlformats-officedocument.presentationml.tags+xml"/>
  <Override PartName="/ppt/tags/tag848.xml" ContentType="application/vnd.openxmlformats-officedocument.presentationml.tags+xml"/>
  <Override PartName="/ppt/tags/tag1858.xml" ContentType="application/vnd.openxmlformats-officedocument.presentationml.tags+xml"/>
  <Override PartName="/ppt/tags/tag55.xml" ContentType="application/vnd.openxmlformats-officedocument.presentationml.tags+xml"/>
  <Override PartName="/ppt/tags/tag356.xml" ContentType="application/vnd.openxmlformats-officedocument.presentationml.tags+xml"/>
  <Override PartName="/ppt/tags/tag542.xml" ContentType="application/vnd.openxmlformats-officedocument.presentationml.tags+xml"/>
  <Override PartName="/ppt/slideLayouts/slideLayout264.xml" ContentType="application/vnd.openxmlformats-officedocument.presentationml.slideLayout+xml"/>
  <Override PartName="/ppt/tags/tag1366.xml" ContentType="application/vnd.openxmlformats-officedocument.presentationml.tags+xml"/>
  <Override PartName="/ppt/tags/tag1552.xml" ContentType="application/vnd.openxmlformats-officedocument.presentationml.tags+xml"/>
  <Override PartName="/ppt/theme/theme24.xml" ContentType="application/vnd.openxmlformats-officedocument.theme+xml"/>
  <Override PartName="/ppt/tags/tag1060.xml" ContentType="application/vnd.openxmlformats-officedocument.presentationml.tags+xml"/>
  <Override PartName="/ppt/slideLayouts/slideLayout450.xml" ContentType="application/vnd.openxmlformats-officedocument.presentationml.slideLayout+xml"/>
  <Override PartName="/ppt/tags/tag457.xml" ContentType="application/vnd.openxmlformats-officedocument.presentationml.tags+xml"/>
  <Override PartName="/ppt/slideLayouts/slideLayout179.xml" ContentType="application/vnd.openxmlformats-officedocument.presentationml.slideLayout+xml"/>
  <Override PartName="/ppt/tags/tag949.xml" ContentType="application/vnd.openxmlformats-officedocument.presentationml.tags+xml"/>
  <Override PartName="/ppt/tags/tag1959.xml" ContentType="application/vnd.openxmlformats-officedocument.presentationml.tags+xml"/>
  <Override PartName="/ppt/tags/tag2032.xml" ContentType="application/vnd.openxmlformats-officedocument.presentationml.tags+xml"/>
  <Override PartName="/ppt/slides/slide8.xml" ContentType="application/vnd.openxmlformats-officedocument.presentationml.slide+xml"/>
  <Override PartName="/ppt/tags/tag643.xml" ContentType="application/vnd.openxmlformats-officedocument.presentationml.tags+xml"/>
  <Override PartName="/ppt/slideLayouts/slideLayout365.xml" ContentType="application/vnd.openxmlformats-officedocument.presentationml.slideLayout+xml"/>
  <Override PartName="/ppt/tags/tag1467.xml" ContentType="application/vnd.openxmlformats-officedocument.presentationml.tags+xml"/>
  <Override PartName="/ppt/tags/tag1653.xml" ContentType="application/vnd.openxmlformats-officedocument.presentationml.tags+xml"/>
  <Override PartName="/ppt/slideLayouts/slideLayout551.xml" ContentType="application/vnd.openxmlformats-officedocument.presentationml.slideLayout+xml"/>
  <Override PartName="/ppt/slideMasters/slideMaster3.xml" ContentType="application/vnd.openxmlformats-officedocument.presentationml.slideMaster+xml"/>
  <Override PartName="/ppt/tags/tag151.xml" ContentType="application/vnd.openxmlformats-officedocument.presentationml.tags+xml"/>
  <Override PartName="/ppt/tags/tag1161.xml" ContentType="application/vnd.openxmlformats-officedocument.presentationml.tags+xml"/>
  <Override PartName="/ppt/tags/tag558.xml" ContentType="application/vnd.openxmlformats-officedocument.presentationml.tags+xml"/>
  <Override PartName="/ppt/tags/tag1568.xml" ContentType="application/vnd.openxmlformats-officedocument.presentationml.tags+xml"/>
  <Override PartName="/ppt/tags/tag2133.xml" ContentType="application/vnd.openxmlformats-officedocument.presentationml.tags+xml"/>
  <Override PartName="/ppt/slideMasters/slideMaster19.xml" ContentType="application/vnd.openxmlformats-officedocument.presentationml.slideMaster+xml"/>
  <Override PartName="/ppt/slideLayouts/slideLayout82.xml" ContentType="application/vnd.openxmlformats-officedocument.presentationml.slideLayout+xml"/>
  <Override PartName="/ppt/tags/tag252.xml" ContentType="application/vnd.openxmlformats-officedocument.presentationml.tags+xml"/>
  <Override PartName="/ppt/tags/tag744.xml" ContentType="application/vnd.openxmlformats-officedocument.presentationml.tags+xml"/>
  <Override PartName="/ppt/tags/tag930.xml" ContentType="application/vnd.openxmlformats-officedocument.presentationml.tags+xml"/>
  <Override PartName="/ppt/tags/tag1076.xml" ContentType="application/vnd.openxmlformats-officedocument.presentationml.tags+xml"/>
  <Override PartName="/ppt/slideLayouts/slideLayout466.xml" ContentType="application/vnd.openxmlformats-officedocument.presentationml.slideLayout+xml"/>
  <Override PartName="/ppt/tags/tag1754.xml" ContentType="application/vnd.openxmlformats-officedocument.presentationml.tags+xml"/>
  <Override PartName="/ppt/tags/tag1940.xml" ContentType="application/vnd.openxmlformats-officedocument.presentationml.tags+xml"/>
  <Override PartName="/ppt/slideLayouts/slideLayout652.xml" ContentType="application/vnd.openxmlformats-officedocument.presentationml.slideLayout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ags/tag1262.xml" ContentType="application/vnd.openxmlformats-officedocument.presentationml.tags+xml"/>
  <Override PartName="/ppt/tags/tag2048.xml" ContentType="application/vnd.openxmlformats-officedocument.presentationml.tags+xml"/>
  <Override PartName="/ppt/tags/tag659.xml" ContentType="application/vnd.openxmlformats-officedocument.presentationml.tags+xml"/>
  <Override PartName="/ppt/tags/tag845.xml" ContentType="application/vnd.openxmlformats-officedocument.presentationml.tags+xml"/>
  <Override PartName="/ppt/tags/tag1007.xml" ContentType="application/vnd.openxmlformats-officedocument.presentationml.tags+xml"/>
  <Override PartName="/ppt/tags/tag1669.xml" ContentType="application/vnd.openxmlformats-officedocument.presentationml.tags+xml"/>
  <Override PartName="/ppt/slideLayouts/slideLayout567.xml" ContentType="application/vnd.openxmlformats-officedocument.presentationml.slideLayout+xml"/>
  <Override PartName="/ppt/tags/tag52.xml" ContentType="application/vnd.openxmlformats-officedocument.presentationml.tags+xml"/>
  <Override PartName="/ppt/tags/tag167.xml" ContentType="application/vnd.openxmlformats-officedocument.presentationml.tags+xml"/>
  <Override PartName="/ppt/tags/tag353.xml" ContentType="application/vnd.openxmlformats-officedocument.presentationml.tags+xml"/>
  <Override PartName="/ppt/tags/tag1177.xml" ContentType="application/vnd.openxmlformats-officedocument.presentationml.tags+xml"/>
  <Override PartName="/ppt/tags/tag1363.xml" ContentType="application/vnd.openxmlformats-officedocument.presentationml.tags+xml"/>
  <Override PartName="/ppt/tags/tag1855.xml" ContentType="application/vnd.openxmlformats-officedocument.presentationml.tags+xml"/>
  <Override PartName="/ppt/tags/tag2149.xml" ContentType="application/vnd.openxmlformats-officedocument.presentationml.tags+xml"/>
  <Override PartName="/ppt/theme/theme21.xml" ContentType="application/vnd.openxmlformats-officedocument.theme+xml"/>
  <Override PartName="/ppt/slideLayouts/slideLayout261.xml" ContentType="application/vnd.openxmlformats-officedocument.presentationml.slideLayout+xml"/>
  <Override PartName="/ppt/tags/tag1108.xml" ContentType="application/vnd.openxmlformats-officedocument.presentationml.tags+xml"/>
  <Override PartName="/ppt/tags/tag268.xml" ContentType="application/vnd.openxmlformats-officedocument.presentationml.tags+xml"/>
  <Override PartName="/ppt/slideLayouts/slideLayout98.xml" ContentType="application/vnd.openxmlformats-officedocument.presentationml.slideLayout+xml"/>
  <Override PartName="/ppt/tags/tag946.xml" ContentType="application/vnd.openxmlformats-officedocument.presentationml.tags+xml"/>
  <Override PartName="/ppt/tags/tag1956.xml" ContentType="application/vnd.openxmlformats-officedocument.presentationml.tags+xml"/>
  <Override PartName="/ppt/slides/slide5.xml" ContentType="application/vnd.openxmlformats-officedocument.presentationml.slide+xml"/>
  <Override PartName="/ppt/slideLayouts/slideLayout29.xml" ContentType="application/vnd.openxmlformats-officedocument.presentationml.slideLayout+xml"/>
  <Override PartName="/ppt/tags/tag454.xml" ContentType="application/vnd.openxmlformats-officedocument.presentationml.tags+xml"/>
  <Override PartName="/ppt/slideLayouts/slideLayout176.xml" ContentType="application/vnd.openxmlformats-officedocument.presentationml.slideLayout+xml"/>
  <Override PartName="/ppt/tags/tag640.xml" ContentType="application/vnd.openxmlformats-officedocument.presentationml.tags+xml"/>
  <Override PartName="/ppt/slideLayouts/slideLayout362.xml" ContentType="application/vnd.openxmlformats-officedocument.presentationml.slideLayout+xml"/>
  <Override PartName="/ppt/tags/tag1278.xml" ContentType="application/vnd.openxmlformats-officedocument.presentationml.tags+xml"/>
  <Override PartName="/ppt/tags/tag1464.xml" ContentType="application/vnd.openxmlformats-officedocument.presentationml.tags+xml"/>
  <Override PartName="/ppt/slideLayouts/slideLayout107.xml" ContentType="application/vnd.openxmlformats-officedocument.presentationml.slideLayout+xml"/>
  <Override PartName="/ppt/tags/tag1209.xml" ContentType="application/vnd.openxmlformats-officedocument.presentationml.tags+xml"/>
  <Override PartName="/ppt/tags/tag1650.xml" ContentType="application/vnd.openxmlformats-officedocument.presentationml.tags+xml"/>
  <Override PartName="/ppt/tags/tag68.xml" ContentType="application/vnd.openxmlformats-officedocument.presentationml.tags+xml"/>
  <Override PartName="/ppt/tags/tag369.xml" ContentType="application/vnd.openxmlformats-officedocument.presentationml.tags+xml"/>
  <Override PartName="/ppt/tags/tag555.xml" ContentType="application/vnd.openxmlformats-officedocument.presentationml.tags+xml"/>
  <Override PartName="/ppt/slideLayouts/slideLayout277.xml" ContentType="application/vnd.openxmlformats-officedocument.presentationml.slideLayout+xml"/>
  <Override PartName="/ppt/tags/tag1379.xml" ContentType="application/vnd.openxmlformats-officedocument.presentationml.tags+xml"/>
  <Override PartName="/ppt/tags/tag2130.xml" ContentType="application/vnd.openxmlformats-officedocument.presentationml.tags+xml"/>
  <Override PartName="/ppt/slideMasters/slideMaster16.xml" ContentType="application/vnd.openxmlformats-officedocument.presentationml.slideMaster+xml"/>
  <Override PartName="/ppt/tags/tag741.xml" ContentType="application/vnd.openxmlformats-officedocument.presentationml.tags+xml"/>
  <Override PartName="/ppt/theme/theme37.xml" ContentType="application/vnd.openxmlformats-officedocument.theme+xml"/>
  <Override PartName="/ppt/slideLayouts/slideLayout463.xml" ContentType="application/vnd.openxmlformats-officedocument.presentationml.slideLayout+xml"/>
  <Override PartName="/ppt/tags/tag1565.xml" ContentType="application/vnd.openxmlformats-officedocument.presentationml.tags+xml"/>
  <Override PartName="/ppt/tags/tag1751.xml" ContentType="application/vnd.openxmlformats-officedocument.presentationml.tags+xml"/>
  <Override PartName="/ppt/slides/slide11.xml" ContentType="application/vnd.openxmlformats-officedocument.presentationml.slide+xml"/>
  <Override PartName="/ppt/slideLayouts/slideLayout208.xml" ContentType="application/vnd.openxmlformats-officedocument.presentationml.slideLayout+xml"/>
  <Override PartName="/ppt/tags/tag1073.xml" ContentType="application/vnd.openxmlformats-officedocument.presentationml.tags+xml"/>
  <Override PartName="/ppt/tags/tag2045.xml" ContentType="application/vnd.openxmlformats-officedocument.presentationml.tags+xml"/>
  <Override PartName="/ppt/slideLayouts/slideLayout10.xml" ContentType="application/vnd.openxmlformats-officedocument.presentationml.slideLayout+xml"/>
  <Override PartName="/ppt/tags/tag656.xml" ContentType="application/vnd.openxmlformats-officedocument.presentationml.tags+xml"/>
  <Override PartName="/ppt/tags/tag1004.xml" ContentType="application/vnd.openxmlformats-officedocument.presentationml.tags+xml"/>
  <Override PartName="/ppt/slideLayouts/slideLayout378.xml" ContentType="application/vnd.openxmlformats-officedocument.presentationml.slideLayout+xml"/>
  <Override PartName="/ppt/tags/tag1666.xml" ContentType="application/vnd.openxmlformats-officedocument.presentationml.tags+xml"/>
  <Override PartName="/ppt/tags/tag164.xml" ContentType="application/vnd.openxmlformats-officedocument.presentationml.tags+xml"/>
  <Override PartName="/ppt/tags/tag842.xml" ContentType="application/vnd.openxmlformats-officedocument.presentationml.tags+xml"/>
  <Override PartName="/ppt/tags/tag1174.xml" ContentType="application/vnd.openxmlformats-officedocument.presentationml.tags+xml"/>
  <Override PartName="/ppt/slideLayouts/slideLayout564.xml" ContentType="application/vnd.openxmlformats-officedocument.presentationml.slideLayout+xml"/>
  <Override PartName="/ppt/tags/tag1852.xml" ContentType="application/vnd.openxmlformats-officedocument.presentationml.tags+xml"/>
  <Override PartName="/ppt/tags/tag350.xml" ContentType="application/vnd.openxmlformats-officedocument.presentationml.tags+xml"/>
  <Override PartName="/ppt/slideLayouts/slideLayout309.xml" ContentType="application/vnd.openxmlformats-officedocument.presentationml.slideLayout+xml"/>
  <Override PartName="/ppt/tags/tag1360.xml" ContentType="application/vnd.openxmlformats-officedocument.presentationml.tags+xml"/>
  <Override PartName="/ppt/tags/tag2146.xml" ContentType="application/vnd.openxmlformats-officedocument.presentationml.tags+xml"/>
  <Override PartName="/ppt/slideLayouts/slideLayout95.xml" ContentType="application/vnd.openxmlformats-officedocument.presentationml.slideLayout+xml"/>
  <Override PartName="/ppt/tags/tag757.xml" ContentType="application/vnd.openxmlformats-officedocument.presentationml.tags+xml"/>
  <Override PartName="/ppt/tags/tag943.xml" ContentType="application/vnd.openxmlformats-officedocument.presentationml.tags+xml"/>
  <Override PartName="/ppt/tags/tag1089.xml" ContentType="application/vnd.openxmlformats-officedocument.presentationml.tags+xml"/>
  <Override PartName="/ppt/tags/tag1105.xml" ContentType="application/vnd.openxmlformats-officedocument.presentationml.tags+xml"/>
  <Override PartName="/ppt/slideLayouts/slideLayout479.xml" ContentType="application/vnd.openxmlformats-officedocument.presentationml.slideLayout+xml"/>
  <Override PartName="/ppt/tags/tag1767.xml" ContentType="application/vnd.openxmlformats-officedocument.presentationml.tags+xml"/>
  <Override PartName="/ppt/slides/slide27.xml" ContentType="application/vnd.openxmlformats-officedocument.presentationml.slide+xml"/>
  <Override PartName="/ppt/tags/tag265.xml" ContentType="application/vnd.openxmlformats-officedocument.presentationml.tags+xml"/>
  <Override PartName="/ppt/tags/tag451.xml" ContentType="application/vnd.openxmlformats-officedocument.presentationml.tags+xml"/>
  <Override PartName="/ppt/slideLayouts/slideLayout173.xml" ContentType="application/vnd.openxmlformats-officedocument.presentationml.slideLayout+xml"/>
  <Override PartName="/ppt/tags/tag1275.xml" ContentType="application/vnd.openxmlformats-officedocument.presentationml.tags+xml"/>
  <Override PartName="/ppt/tags/tag1461.xml" ContentType="application/vnd.openxmlformats-officedocument.presentationml.tags+xml"/>
  <Override PartName="/ppt/tags/tag1953.xml" ContentType="application/vnd.openxmlformats-officedocument.presentationml.tags+xml"/>
  <Override PartName="/ppt/slides/slide2.xml" ContentType="application/vnd.openxmlformats-officedocument.presentationml.slide+xml"/>
  <Override PartName="/ppt/slideLayouts/slideLayout26.xml" ContentType="application/vnd.openxmlformats-officedocument.presentationml.slideLayout+xml"/>
  <Override PartName="/ppt/tags/tag1206.xml" ContentType="application/vnd.openxmlformats-officedocument.presentationml.tags+xml"/>
  <Override PartName="/ppt/notesSlides/notesSlide18.xml" ContentType="application/vnd.openxmlformats-officedocument.presentationml.notesSlide+xml"/>
  <Override PartName="/ppt/slideLayouts/slideLayout104.xml" ContentType="application/vnd.openxmlformats-officedocument.presentationml.slideLayout+xml"/>
  <Override PartName="/ppt/tags/tag366.xml" ContentType="application/vnd.openxmlformats-officedocument.presentationml.tags+xml"/>
  <Override PartName="/ppt/tags/tag858.xml" ContentType="application/vnd.openxmlformats-officedocument.presentationml.tags+xml"/>
  <Override PartName="/ppt/tags/tag1868.xml" ContentType="application/vnd.openxmlformats-officedocument.presentationml.tags+xml"/>
  <Override PartName="/ppt/tags/tag65.xml" ContentType="application/vnd.openxmlformats-officedocument.presentationml.tags+xml"/>
  <Override PartName="/ppt/tags/tag552.xml" ContentType="application/vnd.openxmlformats-officedocument.presentationml.tags+xml"/>
  <Override PartName="/ppt/slideLayouts/slideLayout274.xml" ContentType="application/vnd.openxmlformats-officedocument.presentationml.slideLayout+xml"/>
  <Override PartName="/ppt/tags/tag1376.xml" ContentType="application/vnd.openxmlformats-officedocument.presentationml.tags+xml"/>
  <Override PartName="/ppt/slideLayouts/slideLayout460.xml" ContentType="application/vnd.openxmlformats-officedocument.presentationml.slideLayout+xml"/>
  <Override PartName="/ppt/tags/tag1562.xml" ContentType="application/vnd.openxmlformats-officedocument.presentationml.tags+xml"/>
  <Override PartName="/ppt/slideMasters/slideMaster13.xml" ContentType="application/vnd.openxmlformats-officedocument.presentationml.slideMaster+xml"/>
  <Override PartName="/ppt/slideLayouts/slideLayout205.xml" ContentType="application/vnd.openxmlformats-officedocument.presentationml.slideLayout+xml"/>
  <Override PartName="/ppt/theme/theme34.xml" ContentType="application/vnd.openxmlformats-officedocument.theme+xml"/>
  <Override PartName="/ppt/tags/tag959.xml" ContentType="application/vnd.openxmlformats-officedocument.presentationml.tags+xml"/>
  <Override PartName="/ppt/tags/tag1070.xml" ContentType="application/vnd.openxmlformats-officedocument.presentationml.tags+xml"/>
  <Override PartName="/ppt/tags/tag1307.xml" ContentType="application/vnd.openxmlformats-officedocument.presentationml.tags+xml"/>
  <Override PartName="/ppt/tags/tag467.xml" ContentType="application/vnd.openxmlformats-officedocument.presentationml.tags+xml"/>
  <Override PartName="/ppt/slideLayouts/slideLayout189.xml" ContentType="application/vnd.openxmlformats-officedocument.presentationml.slideLayout+xml"/>
  <Override PartName="/ppt/tags/tag1477.xml" ContentType="application/vnd.openxmlformats-officedocument.presentationml.tags+xml"/>
  <Override PartName="/ppt/tags/tag1969.xml" ContentType="application/vnd.openxmlformats-officedocument.presentationml.tags+xml"/>
  <Override PartName="/ppt/tags/tag2042.xml" ContentType="application/vnd.openxmlformats-officedocument.presentationml.tags+xml"/>
  <Override PartName="/ppt/tags/tag161.xml" ContentType="application/vnd.openxmlformats-officedocument.presentationml.tags+xml"/>
  <Override PartName="/ppt/tags/tag653.xml" ContentType="application/vnd.openxmlformats-officedocument.presentationml.tags+xml"/>
  <Override PartName="/ppt/tags/tag1001.xml" ContentType="application/vnd.openxmlformats-officedocument.presentationml.tags+xml"/>
  <Override PartName="/ppt/slideLayouts/slideLayout375.xml" ContentType="application/vnd.openxmlformats-officedocument.presentationml.slideLayout+xml"/>
  <Override PartName="/ppt/tags/tag1663.xml" ContentType="application/vnd.openxmlformats-officedocument.presentationml.tags+xml"/>
  <Override PartName="/ppt/slideLayouts/slideLayout561.xml" ContentType="application/vnd.openxmlformats-officedocument.presentationml.slideLayout+xml"/>
  <Override PartName="/ppt/slideLayouts/slideLayout306.xml" ContentType="application/vnd.openxmlformats-officedocument.presentationml.slideLayout+xml"/>
  <Override PartName="/ppt/tags/tag1171.xml" ContentType="application/vnd.openxmlformats-officedocument.presentationml.tags+xml"/>
  <Override PartName="/ppt/tags/tag1408.xml" ContentType="application/vnd.openxmlformats-officedocument.presentationml.tags+xml"/>
  <Override PartName="/ppt/tags/tag2143.xml" ContentType="application/vnd.openxmlformats-officedocument.presentationml.tags+xml"/>
  <Override PartName="/ppt/slideMasters/slideMaster29.xml" ContentType="application/vnd.openxmlformats-officedocument.presentationml.slideMaster+xml"/>
  <Override PartName="/ppt/tags/tag568.xml" ContentType="application/vnd.openxmlformats-officedocument.presentationml.tags+xml"/>
  <Override PartName="/ppt/tags/tag754.xml" ContentType="application/vnd.openxmlformats-officedocument.presentationml.tags+xml"/>
  <Override PartName="/ppt/tags/tag1102.xml" ContentType="application/vnd.openxmlformats-officedocument.presentationml.tags+xml"/>
  <Override PartName="/ppt/slideLayouts/slideLayout476.xml" ContentType="application/vnd.openxmlformats-officedocument.presentationml.slideLayout+xml"/>
  <Override PartName="/ppt/tags/tag1578.xml" ContentType="application/vnd.openxmlformats-officedocument.presentationml.tags+xml"/>
  <Override PartName="/ppt/slides/slide24.xml" ContentType="application/vnd.openxmlformats-officedocument.presentationml.slide+xml"/>
  <Override PartName="/ppt/slideLayouts/slideLayout92.xml" ContentType="application/vnd.openxmlformats-officedocument.presentationml.slideLayout+xml"/>
  <Override PartName="/ppt/tags/tag262.xml" ContentType="application/vnd.openxmlformats-officedocument.presentationml.tags+xml"/>
  <Override PartName="/ppt/tags/tag940.xml" ContentType="application/vnd.openxmlformats-officedocument.presentationml.tags+xml"/>
  <Override PartName="/ppt/tags/tag1086.xml" ContentType="application/vnd.openxmlformats-officedocument.presentationml.tags+xml"/>
  <Override PartName="/ppt/tags/tag1272.xml" ContentType="application/vnd.openxmlformats-officedocument.presentationml.tags+xml"/>
  <Override PartName="/ppt/tags/tag1764.xml" ContentType="application/vnd.openxmlformats-officedocument.presentationml.tags+xml"/>
  <Override PartName="/ppt/tags/tag1950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170.xml" ContentType="application/vnd.openxmlformats-officedocument.presentationml.slideLayout+xml"/>
  <Override PartName="/ppt/tags/tag669.xml" ContentType="application/vnd.openxmlformats-officedocument.presentationml.tags+xml"/>
  <Override PartName="/ppt/tags/tag1017.xml" ContentType="application/vnd.openxmlformats-officedocument.presentationml.tags+xml"/>
  <Override PartName="/ppt/slideLayouts/slideLayout407.xml" ContentType="application/vnd.openxmlformats-officedocument.presentationml.slideLayout+xml"/>
  <Override PartName="/ppt/tags/tag1509.xml" ContentType="application/vnd.openxmlformats-officedocument.presentationml.tags+xml"/>
  <Override PartName="/ppt/tags/tag2058.xml" ContentType="application/vnd.openxmlformats-officedocument.presentationml.tags+xml"/>
  <Override PartName="/ppt/notesSlides/notesSlide15.xml" ContentType="application/vnd.openxmlformats-officedocument.presentationml.notesSlide+xml"/>
  <Override PartName="/ppt/tags/tag177.xml" ContentType="application/vnd.openxmlformats-officedocument.presentationml.tags+xml"/>
  <Override PartName="/ppt/slideLayouts/slideLayout101.xml" ContentType="application/vnd.openxmlformats-officedocument.presentationml.slideLayout+xml"/>
  <Override PartName="/ppt/tags/tag855.xml" ContentType="application/vnd.openxmlformats-officedocument.presentationml.tags+xml"/>
  <Override PartName="/ppt/tags/tag1203.xml" ContentType="application/vnd.openxmlformats-officedocument.presentationml.tags+xml"/>
  <Override PartName="/ppt/tags/tag1679.xml" ContentType="application/vnd.openxmlformats-officedocument.presentationml.tags+xml"/>
  <Override PartName="/ppt/tags/tag1865.xml" ContentType="application/vnd.openxmlformats-officedocument.presentationml.tags+xml"/>
  <Override PartName="/ppt/slideLayouts/slideLayout577.xml" ContentType="application/vnd.openxmlformats-officedocument.presentationml.slideLayout+xml"/>
  <Override PartName="/ppt/tags/tag62.xml" ContentType="application/vnd.openxmlformats-officedocument.presentationml.tags+xml"/>
  <Override PartName="/ppt/tags/tag363.xml" ContentType="application/vnd.openxmlformats-officedocument.presentationml.tags+xml"/>
  <Override PartName="/ppt/slideLayouts/slideLayout271.xml" ContentType="application/vnd.openxmlformats-officedocument.presentationml.slideLayout+xml"/>
  <Override PartName="/ppt/tags/tag1187.xml" ContentType="application/vnd.openxmlformats-officedocument.presentationml.tags+xml"/>
  <Override PartName="/ppt/tags/tag1373.xml" ContentType="application/vnd.openxmlformats-officedocument.presentationml.tags+xml"/>
  <Override PartName="/ppt/slideLayouts/slideLayout508.xml" ContentType="application/vnd.openxmlformats-officedocument.presentationml.slideLayout+xml"/>
  <Override PartName="/ppt/tags/tag2159.xml" ContentType="application/vnd.openxmlformats-officedocument.presentationml.tags+xml"/>
  <Override PartName="/ppt/slideMasters/slideMaster10.xml" ContentType="application/vnd.openxmlformats-officedocument.presentationml.slideMaster+xml"/>
  <Override PartName="/ppt/tags/tag108.xml" ContentType="application/vnd.openxmlformats-officedocument.presentationml.tags+xml"/>
  <Override PartName="/ppt/theme/theme31.xml" ContentType="application/vnd.openxmlformats-officedocument.theme+xml"/>
  <Override PartName="/ppt/tags/tag1118.xml" ContentType="application/vnd.openxmlformats-officedocument.presentationml.tags+xml"/>
  <Override PartName="/ppt/tags/tag278.xml" ContentType="application/vnd.openxmlformats-officedocument.presentationml.tags+xml"/>
  <Override PartName="/ppt/slideLayouts/slideLayout186.xml" ContentType="application/vnd.openxmlformats-officedocument.presentationml.slideLayout+xml"/>
  <Override PartName="/ppt/slideLayouts/slideLayout202.xml" ContentType="application/vnd.openxmlformats-officedocument.presentationml.slideLayout+xml"/>
  <Override PartName="/ppt/tags/tag956.xml" ContentType="application/vnd.openxmlformats-officedocument.presentationml.tags+xml"/>
  <Override PartName="/ppt/tags/tag1288.xml" ContentType="application/vnd.openxmlformats-officedocument.presentationml.tags+xml"/>
  <Override PartName="/ppt/tags/tag1304.xml" ContentType="application/vnd.openxmlformats-officedocument.presentationml.tags+xml"/>
  <Override PartName="/ppt/tags/tag1966.xml" ContentType="application/vnd.openxmlformats-officedocument.presentationml.tags+xml"/>
  <Override PartName="/ppt/slideLayouts/slideLayout39.xml" ContentType="application/vnd.openxmlformats-officedocument.presentationml.slideLayout+xml"/>
  <Override PartName="/ppt/tags/tag209.xml" ContentType="application/vnd.openxmlformats-officedocument.presentationml.tags+xml"/>
  <Override PartName="/ppt/tags/tag464.xml" ContentType="application/vnd.openxmlformats-officedocument.presentationml.tags+xml"/>
  <Override PartName="/ppt/tags/tag650.xml" ContentType="application/vnd.openxmlformats-officedocument.presentationml.tags+xml"/>
  <Override PartName="/ppt/slideLayouts/slideLayout372.xml" ContentType="application/vnd.openxmlformats-officedocument.presentationml.slideLayout+xml"/>
  <Override PartName="/ppt/tags/tag1474.xml" ContentType="application/vnd.openxmlformats-officedocument.presentationml.tags+xml"/>
  <Override PartName="/ppt/tags/tag1660.xml" ContentType="application/vnd.openxmlformats-officedocument.presentationml.tags+xml"/>
  <Override PartName="/ppt/slideLayouts/slideLayout609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303.xml" ContentType="application/vnd.openxmlformats-officedocument.presentationml.slideLayout+xml"/>
  <Override PartName="/ppt/tags/tag1219.xml" ContentType="application/vnd.openxmlformats-officedocument.presentationml.tags+xml"/>
  <Override PartName="/ppt/tags/tag1405.xml" ContentType="application/vnd.openxmlformats-officedocument.presentationml.tags+xml"/>
  <Override PartName="/ppt/diagrams/quickStyle2.xml" ContentType="application/vnd.openxmlformats-officedocument.drawingml.diagramStyle+xml"/>
  <Override PartName="/ppt/tags/tag78.xml" ContentType="application/vnd.openxmlformats-officedocument.presentationml.tags+xml"/>
  <Override PartName="/ppt/tags/tag379.xml" ContentType="application/vnd.openxmlformats-officedocument.presentationml.tags+xml"/>
  <Override PartName="/ppt/tags/tag565.xml" ContentType="application/vnd.openxmlformats-officedocument.presentationml.tags+xml"/>
  <Override PartName="/ppt/slideLayouts/slideLayout287.xml" ContentType="application/vnd.openxmlformats-officedocument.presentationml.slideLayout+xml"/>
  <Override PartName="/ppt/tags/tag1389.xml" ContentType="application/vnd.openxmlformats-officedocument.presentationml.tags+xml"/>
  <Override PartName="/ppt/tags/tag1575.xml" ContentType="application/vnd.openxmlformats-officedocument.presentationml.tags+xml"/>
  <Override PartName="/ppt/tags/tag2140.xml" ContentType="application/vnd.openxmlformats-officedocument.presentationml.tags+xml"/>
  <Override PartName="/ppt/slideMasters/slideMaster26.xml" ContentType="application/vnd.openxmlformats-officedocument.presentationml.slideMaster+xml"/>
  <Override PartName="/ppt/tags/tag751.xml" ContentType="application/vnd.openxmlformats-officedocument.presentationml.tags+xml"/>
  <Override PartName="/ppt/tags/tag1083.xml" ContentType="application/vnd.openxmlformats-officedocument.presentationml.tags+xml"/>
  <Override PartName="/ppt/theme/theme47.xml" ContentType="application/vnd.openxmlformats-officedocument.theme+xml"/>
  <Override PartName="/ppt/slideLayouts/slideLayout473.xml" ContentType="application/vnd.openxmlformats-officedocument.presentationml.slideLayout+xml"/>
  <Override PartName="/ppt/tags/tag1761.xml" ContentType="application/vnd.openxmlformats-officedocument.presentationml.tags+xml"/>
  <Override PartName="/ppt/slides/slide21.xml" ContentType="application/vnd.openxmlformats-officedocument.presentationml.slide+xml"/>
  <Override PartName="/ppt/slideLayouts/slideLayout20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404.xml" ContentType="application/vnd.openxmlformats-officedocument.presentationml.slideLayout+xml"/>
  <Override PartName="/ppt/tags/tag1506.xml" ContentType="application/vnd.openxmlformats-officedocument.presentationml.tags+xml"/>
  <Override PartName="/ppt/tags/tag2055.xml" ContentType="application/vnd.openxmlformats-officedocument.presentationml.tags+xml"/>
  <Override PartName="/ppt/tags/tag666.xml" ContentType="application/vnd.openxmlformats-officedocument.presentationml.tags+xml"/>
  <Override PartName="/ppt/tags/tag852.xml" ContentType="application/vnd.openxmlformats-officedocument.presentationml.tags+xml"/>
  <Override PartName="/ppt/tags/tag1014.xml" ContentType="application/vnd.openxmlformats-officedocument.presentationml.tags+xml"/>
  <Override PartName="/ppt/tags/tag1200.xml" ContentType="application/vnd.openxmlformats-officedocument.presentationml.tags+xml"/>
  <Override PartName="/ppt/slideLayouts/slideLayout388.xml" ContentType="application/vnd.openxmlformats-officedocument.presentationml.slideLayout+xml"/>
  <Override PartName="/ppt/tags/tag1676.xml" ContentType="application/vnd.openxmlformats-officedocument.presentationml.tags+xml"/>
  <Override PartName="/ppt/slideLayouts/slideLayout574.xml" ContentType="application/vnd.openxmlformats-officedocument.presentationml.slideLayout+xml"/>
  <Override PartName="/ppt/notesSlides/notesSlide12.xml" ContentType="application/vnd.openxmlformats-officedocument.presentationml.notesSlide+xml"/>
  <Override PartName="/ppt/tags/tag174.xml" ContentType="application/vnd.openxmlformats-officedocument.presentationml.tags+xml"/>
  <Override PartName="/ppt/tags/tag360.xml" ContentType="application/vnd.openxmlformats-officedocument.presentationml.tags+xml"/>
  <Override PartName="/ppt/slideLayouts/slideLayout319.xml" ContentType="application/vnd.openxmlformats-officedocument.presentationml.slideLayout+xml"/>
  <Override PartName="/ppt/tags/tag1184.xml" ContentType="application/vnd.openxmlformats-officedocument.presentationml.tags+xml"/>
  <Override PartName="/ppt/tags/tag1862.xml" ContentType="application/vnd.openxmlformats-officedocument.presentationml.tags+xml"/>
  <Override PartName="/ppt/tags/tag105.xml" ContentType="application/vnd.openxmlformats-officedocument.presentationml.tags+xml"/>
  <Override PartName="/ppt/tags/tag1115.xml" ContentType="application/vnd.openxmlformats-officedocument.presentationml.tags+xml"/>
  <Override PartName="/ppt/tags/tag1370.xml" ContentType="application/vnd.openxmlformats-officedocument.presentationml.tags+xml"/>
  <Override PartName="/ppt/tags/tag1607.xml" ContentType="application/vnd.openxmlformats-officedocument.presentationml.tags+xml"/>
  <Override PartName="/ppt/slideLayouts/slideLayout505.xml" ContentType="application/vnd.openxmlformats-officedocument.presentationml.slideLayout+xml"/>
  <Override PartName="/ppt/tags/tag2156.xml" ContentType="application/vnd.openxmlformats-officedocument.presentationml.tags+xml"/>
  <Override PartName="/ppt/tags/tag275.xml" ContentType="application/vnd.openxmlformats-officedocument.presentationml.tags+xml"/>
  <Override PartName="/ppt/tags/tag767.xml" ContentType="application/vnd.openxmlformats-officedocument.presentationml.tags+xml"/>
  <Override PartName="/ppt/tags/tag953.xml" ContentType="application/vnd.openxmlformats-officedocument.presentationml.tags+xml"/>
  <Override PartName="/ppt/tags/tag1099.xml" ContentType="application/vnd.openxmlformats-officedocument.presentationml.tags+xml"/>
  <Override PartName="/ppt/tags/tag1301.xml" ContentType="application/vnd.openxmlformats-officedocument.presentationml.tags+xml"/>
  <Override PartName="/ppt/slideLayouts/slideLayout489.xml" ContentType="application/vnd.openxmlformats-officedocument.presentationml.slideLayout+xml"/>
  <Override PartName="/ppt/tags/tag1777.xml" ContentType="application/vnd.openxmlformats-officedocument.presentationml.tags+xml"/>
  <Override PartName="/ppt/tags/tag1963.xml" ContentType="application/vnd.openxmlformats-officedocument.presentationml.tags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tags/tag461.xml" ContentType="application/vnd.openxmlformats-officedocument.presentationml.tags+xml"/>
  <Override PartName="/ppt/slideLayouts/slideLayout183.xml" ContentType="application/vnd.openxmlformats-officedocument.presentationml.slideLayout+xml"/>
  <Override PartName="/ppt/tags/tag1285.xml" ContentType="application/vnd.openxmlformats-officedocument.presentationml.tags+xml"/>
  <Override PartName="/ppt/tags/tag1471.xml" ContentType="application/vnd.openxmlformats-officedocument.presentationml.tags+xml"/>
  <Override PartName="/ppt/tags/tag1708.xml" ContentType="application/vnd.openxmlformats-officedocument.presentationml.tags+xml"/>
  <Override PartName="/ppt/tags/tag206.xml" ContentType="application/vnd.openxmlformats-officedocument.presentationml.tags+xml"/>
  <Override PartName="/ppt/slideLayouts/slideLayout114.xml" ContentType="application/vnd.openxmlformats-officedocument.presentationml.slideLayout+xml"/>
  <Override PartName="/ppt/tags/tag868.xml" ContentType="application/vnd.openxmlformats-officedocument.presentationml.tags+xml"/>
  <Override PartName="/ppt/tags/tag1216.xml" ContentType="application/vnd.openxmlformats-officedocument.presentationml.tags+xml"/>
  <Override PartName="/ppt/slideLayouts/slideLayout606.xml" ContentType="application/vnd.openxmlformats-officedocument.presentationml.slideLayout+xml"/>
  <Override PartName="/ppt/tags/tag75.xml" ContentType="application/vnd.openxmlformats-officedocument.presentationml.tags+xml"/>
  <Override PartName="/ppt/tags/tag376.xml" ContentType="application/vnd.openxmlformats-officedocument.presentationml.tags+xml"/>
  <Override PartName="/ppt/slideLayouts/slideLayout300.xml" ContentType="application/vnd.openxmlformats-officedocument.presentationml.slideLayout+xml"/>
  <Override PartName="/ppt/tags/tag1386.xml" ContentType="application/vnd.openxmlformats-officedocument.presentationml.tags+xml"/>
  <Override PartName="/ppt/tags/tag1402.xml" ContentType="application/vnd.openxmlformats-officedocument.presentationml.tags+xml"/>
  <Override PartName="/ppt/tags/tag1878.xml" ContentType="application/vnd.openxmlformats-officedocument.presentationml.tags+xml"/>
  <Override PartName="/ppt/slideMasters/slideMaster23.xml" ContentType="application/vnd.openxmlformats-officedocument.presentationml.slideMaster+xml"/>
  <Override PartName="/ppt/tags/tag562.xml" ContentType="application/vnd.openxmlformats-officedocument.presentationml.tags+xml"/>
  <Override PartName="/ppt/slideLayouts/slideLayout284.xml" ContentType="application/vnd.openxmlformats-officedocument.presentationml.slideLayout+xml"/>
  <Override PartName="/ppt/theme/theme44.xml" ContentType="application/vnd.openxmlformats-officedocument.theme+xml"/>
  <Override PartName="/ppt/slideLayouts/slideLayout470.xml" ContentType="application/vnd.openxmlformats-officedocument.presentationml.slideLayout+xml"/>
  <Override PartName="/ppt/tags/tag1572.xml" ContentType="application/vnd.openxmlformats-officedocument.presentationml.tags+xml"/>
  <Override PartName="/ppt/tags/tag1809.xml" ContentType="application/vnd.openxmlformats-officedocument.presentationml.tags+xml"/>
  <Override PartName="/ppt/tags/tag307.xml" ContentType="application/vnd.openxmlformats-officedocument.presentationml.tags+xml"/>
  <Override PartName="/ppt/slideLayouts/slideLayout215.xml" ContentType="application/vnd.openxmlformats-officedocument.presentationml.slideLayout+xml"/>
  <Override PartName="/ppt/tags/tag969.xml" ContentType="application/vnd.openxmlformats-officedocument.presentationml.tags+xml"/>
  <Override PartName="/ppt/tags/tag1080.xml" ContentType="application/vnd.openxmlformats-officedocument.presentationml.tags+xml"/>
  <Override PartName="/ppt/tags/tag1317.xml" ContentType="application/vnd.openxmlformats-officedocument.presentationml.tags+xml"/>
  <Override PartName="/ppt/tags/tag1503.xml" ContentType="application/vnd.openxmlformats-officedocument.presentationml.tags+xml"/>
  <Override PartName="/ppt/tags/tag1979.xml" ContentType="application/vnd.openxmlformats-officedocument.presentationml.tags+xml"/>
  <Override PartName="/ppt/tags/tag2052.xml" ContentType="application/vnd.openxmlformats-officedocument.presentationml.tags+xml"/>
  <Override PartName="/ppt/diagrams/layout2.xml" ContentType="application/vnd.openxmlformats-officedocument.drawingml.diagramLayout+xml"/>
  <Override PartName="/ppt/tags/tag477.xml" ContentType="application/vnd.openxmlformats-officedocument.presentationml.tags+xml"/>
  <Override PartName="/ppt/slideLayouts/slideLayout199.xml" ContentType="application/vnd.openxmlformats-officedocument.presentationml.slideLayout+xml"/>
  <Override PartName="/ppt/tags/tag663.xml" ContentType="application/vnd.openxmlformats-officedocument.presentationml.tags+xml"/>
  <Override PartName="/ppt/tags/tag1011.xml" ContentType="application/vnd.openxmlformats-officedocument.presentationml.tags+xml"/>
  <Override PartName="/ppt/slideLayouts/slideLayout385.xml" ContentType="application/vnd.openxmlformats-officedocument.presentationml.slideLayout+xml"/>
  <Override PartName="/ppt/slideLayouts/slideLayout401.xml" ContentType="application/vnd.openxmlformats-officedocument.presentationml.slideLayout+xml"/>
  <Override PartName="/ppt/tags/tag1487.xml" ContentType="application/vnd.openxmlformats-officedocument.presentationml.tags+xml"/>
  <Override PartName="/ppt/tags/tag171.xml" ContentType="application/vnd.openxmlformats-officedocument.presentationml.tags+xml"/>
  <Override PartName="/ppt/tags/tag408.xml" ContentType="application/vnd.openxmlformats-officedocument.presentationml.tags+xml"/>
  <Override PartName="/ppt/tags/tag1181.xml" ContentType="application/vnd.openxmlformats-officedocument.presentationml.tags+xml"/>
  <Override PartName="/ppt/tags/tag1673.xml" ContentType="application/vnd.openxmlformats-officedocument.presentationml.tags+xml"/>
  <Override PartName="/ppt/slideLayouts/slideLayout571.xml" ContentType="application/vnd.openxmlformats-officedocument.presentationml.slideLayout+xml"/>
  <Override PartName="/ppt/tags/tag578.xml" ContentType="application/vnd.openxmlformats-officedocument.presentationml.tags+xml"/>
  <Override PartName="/ppt/slideLayouts/slideLayout316.xml" ContentType="application/vnd.openxmlformats-officedocument.presentationml.slideLayout+xml"/>
  <Override PartName="/ppt/tags/tag1418.xml" ContentType="application/vnd.openxmlformats-officedocument.presentationml.tags+xml"/>
  <Override PartName="/ppt/tags/tag1604.xml" ContentType="application/vnd.openxmlformats-officedocument.presentationml.tags+xml"/>
  <Override PartName="/ppt/slideLayouts/slideLayout502.xml" ContentType="application/vnd.openxmlformats-officedocument.presentationml.slideLayout+xml"/>
  <Override PartName="/ppt/tags/tag2153.xml" ContentType="application/vnd.openxmlformats-officedocument.presentationml.tags+xml"/>
  <Override PartName="/ppt/slideMasters/slideMaster39.xml" ContentType="application/vnd.openxmlformats-officedocument.presentationml.slideMaster+xml"/>
  <Override PartName="/ppt/tags/tag102.xml" ContentType="application/vnd.openxmlformats-officedocument.presentationml.tags+xml"/>
  <Override PartName="/ppt/tags/tag764.xml" ContentType="application/vnd.openxmlformats-officedocument.presentationml.tags+xml"/>
  <Override PartName="/ppt/tags/tag1112.xml" ContentType="application/vnd.openxmlformats-officedocument.presentationml.tags+xml"/>
  <Override PartName="/ppt/slideLayouts/slideLayout486.xml" ContentType="application/vnd.openxmlformats-officedocument.presentationml.slideLayout+xml"/>
  <Override PartName="/ppt/tags/tag1588.xml" ContentType="application/vnd.openxmlformats-officedocument.presentationml.tags+xml"/>
  <Override PartName="/ppt/tags/tag1774.xml" ContentType="application/vnd.openxmlformats-officedocument.presentationml.tags+xml"/>
  <Override PartName="/ppt/slides/slide34.xml" ContentType="application/vnd.openxmlformats-officedocument.presentationml.slide+xml"/>
  <Override PartName="/ppt/tags/tag272.xml" ContentType="application/vnd.openxmlformats-officedocument.presentationml.tags+xml"/>
  <Override PartName="/ppt/tags/tag509.xml" ContentType="application/vnd.openxmlformats-officedocument.presentationml.tags+xml"/>
  <Override PartName="/ppt/slideLayouts/slideLayout180.xml" ContentType="application/vnd.openxmlformats-officedocument.presentationml.slideLayout+xml"/>
  <Override PartName="/ppt/tags/tag950.xml" ContentType="application/vnd.openxmlformats-officedocument.presentationml.tags+xml"/>
  <Override PartName="/ppt/tags/tag1096.xml" ContentType="application/vnd.openxmlformats-officedocument.presentationml.tags+xml"/>
  <Override PartName="/ppt/tags/tag1282.xml" ContentType="application/vnd.openxmlformats-officedocument.presentationml.tags+xml"/>
  <Override PartName="/ppt/slideLayouts/slideLayout417.xml" ContentType="application/vnd.openxmlformats-officedocument.presentationml.slideLayout+xml"/>
  <Override PartName="/ppt/tags/tag1519.xml" ContentType="application/vnd.openxmlformats-officedocument.presentationml.tags+xml"/>
  <Override PartName="/ppt/tags/tag1960.xml" ContentType="application/vnd.openxmlformats-officedocument.presentationml.tags+xml"/>
  <Override PartName="/ppt/tags/tag2068.xml" ContentType="application/vnd.openxmlformats-officedocument.presentationml.tags+xml"/>
  <Override PartName="/ppt/slideLayouts/slideLayout33.xml" ContentType="application/vnd.openxmlformats-officedocument.presentationml.slideLayout+xml"/>
  <Override PartName="/ppt/tags/tag203.xml" ContentType="application/vnd.openxmlformats-officedocument.presentationml.tags+xml"/>
  <Override PartName="/ppt/tags/tag679.xml" ContentType="application/vnd.openxmlformats-officedocument.presentationml.tags+xml"/>
  <Override PartName="/ppt/tags/tag1027.xml" ContentType="application/vnd.openxmlformats-officedocument.presentationml.tags+xml"/>
  <Override PartName="/ppt/tags/tag1689.xml" ContentType="application/vnd.openxmlformats-officedocument.presentationml.tags+xml"/>
  <Override PartName="/ppt/tags/tag1705.xml" ContentType="application/vnd.openxmlformats-officedocument.presentationml.tags+xml"/>
  <Override PartName="/ppt/slideLayouts/slideLayout603.xml" ContentType="application/vnd.openxmlformats-officedocument.presentationml.slideLayout+xml"/>
  <Override PartName="/ppt/tags/tag187.xml" ContentType="application/vnd.openxmlformats-officedocument.presentationml.tags+xml"/>
  <Override PartName="/ppt/slideLayouts/slideLayout111.xml" ContentType="application/vnd.openxmlformats-officedocument.presentationml.slideLayout+xml"/>
  <Override PartName="/ppt/tags/tag865.xml" ContentType="application/vnd.openxmlformats-officedocument.presentationml.tags+xml"/>
  <Override PartName="/ppt/tags/tag1197.xml" ContentType="application/vnd.openxmlformats-officedocument.presentationml.tags+xml"/>
  <Override PartName="/ppt/tags/tag1213.xml" ContentType="application/vnd.openxmlformats-officedocument.presentationml.tags+xml"/>
  <Override PartName="/ppt/tags/tag1875.xml" ContentType="application/vnd.openxmlformats-officedocument.presentationml.tags+xml"/>
  <Override PartName="/ppt/slideLayouts/slideLayout587.xml" ContentType="application/vnd.openxmlformats-officedocument.presentationml.slideLayout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373.xml" ContentType="application/vnd.openxmlformats-officedocument.presentationml.tags+xml"/>
  <Override PartName="/ppt/slideLayouts/slideLayout281.xml" ContentType="application/vnd.openxmlformats-officedocument.presentationml.slideLayout+xml"/>
  <Override PartName="/ppt/tags/tag1383.xml" ContentType="application/vnd.openxmlformats-officedocument.presentationml.tags+xml"/>
  <Override PartName="/ppt/slideLayouts/slideLayout518.xml" ContentType="application/vnd.openxmlformats-officedocument.presentationml.slideLayout+xml"/>
  <Override PartName="/ppt/tags/tag2169.xml" ContentType="application/vnd.openxmlformats-officedocument.presentationml.tags+xml"/>
  <Override PartName="/ppt/slideMasters/slideMaster20.xml" ContentType="application/vnd.openxmlformats-officedocument.presentationml.slideMaster+xml"/>
  <Override PartName="/ppt/theme/theme8.xml" ContentType="application/vnd.openxmlformats-officedocument.theme+xml"/>
  <Override PartName="/ppt/tags/tag304.xml" ContentType="application/vnd.openxmlformats-officedocument.presentationml.tags+xml"/>
  <Override PartName="/ppt/tags/tag966.xml" ContentType="application/vnd.openxmlformats-officedocument.presentationml.tags+xml"/>
  <Override PartName="/ppt/tags/tag1128.xml" ContentType="application/vnd.openxmlformats-officedocument.presentationml.tags+xml"/>
  <Override PartName="/ppt/theme/theme41.xml" ContentType="application/vnd.openxmlformats-officedocument.theme+xml"/>
  <Override PartName="/ppt/tags/tag1314.xml" ContentType="application/vnd.openxmlformats-officedocument.presentationml.tags+xml"/>
  <Override PartName="/ppt/tags/tag1806.xml" ContentType="application/vnd.openxmlformats-officedocument.presentationml.tags+xml"/>
  <Override PartName="/ppt/tags/tag288.xml" ContentType="application/vnd.openxmlformats-officedocument.presentationml.tags+xml"/>
  <Override PartName="/ppt/tags/tag474.xml" ContentType="application/vnd.openxmlformats-officedocument.presentationml.tags+xml"/>
  <Override PartName="/ppt/slideLayouts/slideLayout196.xml" ContentType="application/vnd.openxmlformats-officedocument.presentationml.slideLayout+xml"/>
  <Override PartName="/ppt/slideLayouts/slideLayout212.xml" ContentType="application/vnd.openxmlformats-officedocument.presentationml.slideLayout+xml"/>
  <Override PartName="/ppt/tags/tag1298.xml" ContentType="application/vnd.openxmlformats-officedocument.presentationml.tags+xml"/>
  <Override PartName="/ppt/tags/tag1484.xml" ContentType="application/vnd.openxmlformats-officedocument.presentationml.tags+xml"/>
  <Override PartName="/ppt/tags/tag1500.xml" ContentType="application/vnd.openxmlformats-officedocument.presentationml.tags+xml"/>
  <Override PartName="/ppt/tags/tag1976.xml" ContentType="application/vnd.openxmlformats-officedocument.presentationml.tags+xml"/>
  <Override PartName="/ppt/slideLayouts/slideLayout49.xml" ContentType="application/vnd.openxmlformats-officedocument.presentationml.slideLayout+xml"/>
  <Override PartName="/ppt/tags/tag219.xml" ContentType="application/vnd.openxmlformats-officedocument.presentationml.tags+xml"/>
  <Override PartName="/ppt/tags/tag660.xml" ContentType="application/vnd.openxmlformats-officedocument.presentationml.tags+xml"/>
  <Override PartName="/ppt/slideLayouts/slideLayout382.xml" ContentType="application/vnd.openxmlformats-officedocument.presentationml.slideLayout+xml"/>
  <Override PartName="/ppt/tags/tag1229.xml" ContentType="application/vnd.openxmlformats-officedocument.presentationml.tags+xml"/>
  <Override PartName="/ppt/tags/tag1670.xml" ContentType="application/vnd.openxmlformats-officedocument.presentationml.tags+xml"/>
  <Override PartName="/ppt/tags/tag1907.xml" ContentType="application/vnd.openxmlformats-officedocument.presentationml.tags+xml"/>
  <Override PartName="/ppt/slideLayouts/slideLayout619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ags/tag389.xml" ContentType="application/vnd.openxmlformats-officedocument.presentationml.tags+xml"/>
  <Override PartName="/ppt/tags/tag405.xml" ContentType="application/vnd.openxmlformats-officedocument.presentationml.tags+xml"/>
  <Override PartName="/ppt/slideLayouts/slideLayout313.xml" ContentType="application/vnd.openxmlformats-officedocument.presentationml.slideLayout+xml"/>
  <Override PartName="/ppt/tags/tag1415.xml" ContentType="application/vnd.openxmlformats-officedocument.presentationml.tags+xml"/>
  <Override PartName="/ppt/tags/tag88.xml" ContentType="application/vnd.openxmlformats-officedocument.presentationml.tags+xml"/>
  <Override PartName="/ppt/tags/tag575.xml" ContentType="application/vnd.openxmlformats-officedocument.presentationml.tags+xml"/>
  <Override PartName="/ppt/tags/tag761.xml" ContentType="application/vnd.openxmlformats-officedocument.presentationml.tags+xml"/>
  <Override PartName="/ppt/slideLayouts/slideLayout297.xml" ContentType="application/vnd.openxmlformats-officedocument.presentationml.slideLayout+xml"/>
  <Override PartName="/ppt/tags/tag1399.xml" ContentType="application/vnd.openxmlformats-officedocument.presentationml.tags+xml"/>
  <Override PartName="/ppt/slideLayouts/slideLayout483.xml" ContentType="application/vnd.openxmlformats-officedocument.presentationml.slideLayout+xml"/>
  <Override PartName="/ppt/tags/tag1585.xml" ContentType="application/vnd.openxmlformats-officedocument.presentationml.tags+xml"/>
  <Override PartName="/ppt/tags/tag1601.xml" ContentType="application/vnd.openxmlformats-officedocument.presentationml.tags+xml"/>
  <Override PartName="/ppt/tags/tag2150.xml" ContentType="application/vnd.openxmlformats-officedocument.presentationml.tags+xml"/>
  <Override PartName="/ppt/slideMasters/slideMaster36.xml" ContentType="application/vnd.openxmlformats-officedocument.presentationml.slideMaster+xml"/>
  <Override PartName="/ppt/slides/slide31.xml" ContentType="application/vnd.openxmlformats-officedocument.presentationml.slide+xml"/>
  <Override PartName="/ppt/tags/tag19.xml" ContentType="application/vnd.openxmlformats-officedocument.presentationml.tags+xml"/>
  <Override PartName="/ppt/tags/tag506.xml" ContentType="application/vnd.openxmlformats-officedocument.presentationml.tags+xml"/>
  <Override PartName="/ppt/slideLayouts/slideLayout228.xml" ContentType="application/vnd.openxmlformats-officedocument.presentationml.slideLayout+xml"/>
  <Override PartName="/ppt/tags/tag1093.xml" ContentType="application/vnd.openxmlformats-officedocument.presentationml.tags+xml"/>
  <Override PartName="/ppt/theme/theme57.xml" ContentType="application/vnd.openxmlformats-officedocument.theme+xml"/>
  <Override PartName="/ppt/tags/tag1771.xml" ContentType="application/vnd.openxmlformats-officedocument.presentationml.tags+xml"/>
  <Override PartName="/ppt/slideLayouts/slideLayout30.xml" ContentType="application/vnd.openxmlformats-officedocument.presentationml.slideLayout+xml"/>
  <Override PartName="/ppt/tags/tag1024.xml" ContentType="application/vnd.openxmlformats-officedocument.presentationml.tags+xml"/>
  <Override PartName="/ppt/slideLayouts/slideLayout414.xml" ContentType="application/vnd.openxmlformats-officedocument.presentationml.slideLayout+xml"/>
  <Override PartName="/ppt/tags/tag1516.xml" ContentType="application/vnd.openxmlformats-officedocument.presentationml.tags+xml"/>
  <Override PartName="/ppt/tags/tag1702.xml" ContentType="application/vnd.openxmlformats-officedocument.presentationml.tags+xml"/>
  <Override PartName="/ppt/slideLayouts/slideLayout600.xml" ContentType="application/vnd.openxmlformats-officedocument.presentationml.slideLayout+xml"/>
  <Override PartName="/ppt/tags/tag2065.xml" ContentType="application/vnd.openxmlformats-officedocument.presentationml.tags+xml"/>
  <Override PartName="/ppt/notesSlides/notesSlide22.xml" ContentType="application/vnd.openxmlformats-officedocument.presentationml.notesSlide+xml"/>
  <Override PartName="/ppt/tags/tag184.xml" ContentType="application/vnd.openxmlformats-officedocument.presentationml.tags+xml"/>
  <Override PartName="/ppt/tags/tag200.xml" ContentType="application/vnd.openxmlformats-officedocument.presentationml.tags+xml"/>
  <Override PartName="/ppt/tags/tag676.xml" ContentType="application/vnd.openxmlformats-officedocument.presentationml.tags+xml"/>
  <Override PartName="/ppt/tags/tag862.xml" ContentType="application/vnd.openxmlformats-officedocument.presentationml.tags+xml"/>
  <Override PartName="/ppt/tags/tag1210.xml" ContentType="application/vnd.openxmlformats-officedocument.presentationml.tags+xml"/>
  <Override PartName="/ppt/slideLayouts/slideLayout398.xml" ContentType="application/vnd.openxmlformats-officedocument.presentationml.slideLayout+xml"/>
  <Override PartName="/ppt/tags/tag1686.xml" ContentType="application/vnd.openxmlformats-officedocument.presentationml.tags+xml"/>
  <Override PartName="/ppt/tags/tag1872.xml" ContentType="application/vnd.openxmlformats-officedocument.presentationml.tags+xml"/>
  <Override PartName="/ppt/slideLayouts/slideLayout584.xml" ContentType="application/vnd.openxmlformats-officedocument.presentationml.slideLayout+xml"/>
  <Override PartName="/ppt/tags/tag370.xml" ContentType="application/vnd.openxmlformats-officedocument.presentationml.tags+xml"/>
  <Override PartName="/ppt/tags/tag607.xml" ContentType="application/vnd.openxmlformats-officedocument.presentationml.tags+xml"/>
  <Override PartName="/ppt/slideLayouts/slideLayout329.xml" ContentType="application/vnd.openxmlformats-officedocument.presentationml.slideLayout+xml"/>
  <Override PartName="/ppt/tags/tag1194.xml" ContentType="application/vnd.openxmlformats-officedocument.presentationml.tags+xml"/>
  <Override PartName="/ppt/tags/tag1380.xml" ContentType="application/vnd.openxmlformats-officedocument.presentationml.tags+xml"/>
  <Override PartName="/ppt/tags/tag1617.xml" ContentType="application/vnd.openxmlformats-officedocument.presentationml.tags+xml"/>
  <Override PartName="/ppt/tags/tag2166.xml" ContentType="application/vnd.openxmlformats-officedocument.presentationml.tags+xml"/>
  <Override PartName="/ppt/tags/tag115.xml" ContentType="application/vnd.openxmlformats-officedocument.presentationml.tags+xml"/>
  <Override PartName="/ppt/tags/tag301.xml" ContentType="application/vnd.openxmlformats-officedocument.presentationml.tags+xml"/>
  <Override PartName="/ppt/tags/tag777.xml" ContentType="application/vnd.openxmlformats-officedocument.presentationml.tags+xml"/>
  <Override PartName="/ppt/tags/tag1125.xml" ContentType="application/vnd.openxmlformats-officedocument.presentationml.tags+xml"/>
  <Override PartName="/ppt/slideLayouts/slideLayout499.xml" ContentType="application/vnd.openxmlformats-officedocument.presentationml.slideLayout+xml"/>
  <Override PartName="/ppt/slideLayouts/slideLayout515.xml" ContentType="application/vnd.openxmlformats-officedocument.presentationml.slideLayout+xml"/>
  <Override PartName="/ppt/tags/tag1803.xml" ContentType="application/vnd.openxmlformats-officedocument.presentationml.tags+xml"/>
  <Override PartName="/ppt/theme/theme5.xml" ContentType="application/vnd.openxmlformats-officedocument.theme+xml"/>
  <Override PartName="/ppt/tags/tag285.xml" ContentType="application/vnd.openxmlformats-officedocument.presentationml.tags+xml"/>
  <Override PartName="/ppt/tags/tag963.xml" ContentType="application/vnd.openxmlformats-officedocument.presentationml.tags+xml"/>
  <Override PartName="/ppt/tags/tag1295.xml" ContentType="application/vnd.openxmlformats-officedocument.presentationml.tags+xml"/>
  <Override PartName="/ppt/tags/tag1311.xml" ContentType="application/vnd.openxmlformats-officedocument.presentationml.tags+xml"/>
  <Override PartName="/ppt/tags/tag1787.xml" ContentType="application/vnd.openxmlformats-officedocument.presentationml.tags+xml"/>
  <Override PartName="/ppt/tags/tag1973.xml" ContentType="application/vnd.openxmlformats-officedocument.presentationml.tags+xml"/>
  <Override PartName="/ppt/slideLayouts/slideLayout46.xml" ContentType="application/vnd.openxmlformats-officedocument.presentationml.slideLayout+xml"/>
  <Override PartName="/ppt/tags/tag471.xml" ContentType="application/vnd.openxmlformats-officedocument.presentationml.tags+xml"/>
  <Override PartName="/ppt/slideLayouts/slideLayout193.xml" ContentType="application/vnd.openxmlformats-officedocument.presentationml.slideLayout+xml"/>
  <Override PartName="/ppt/tags/tag708.xml" ContentType="application/vnd.openxmlformats-officedocument.presentationml.tags+xml"/>
  <Override PartName="/ppt/tags/tag1481.xml" ContentType="application/vnd.openxmlformats-officedocument.presentationml.tags+xml"/>
  <Override PartName="/ppt/tags/tag1718.xml" ContentType="application/vnd.openxmlformats-officedocument.presentationml.tags+xml"/>
  <Override PartName="/ppt/slideLayouts/slideLayout616.xml" ContentType="application/vnd.openxmlformats-officedocument.presentationml.slideLayout+xml"/>
  <Override PartName="/ppt/tags/tag216.xml" ContentType="application/vnd.openxmlformats-officedocument.presentationml.tags+xml"/>
  <Override PartName="/ppt/slideLayouts/slideLayout124.xml" ContentType="application/vnd.openxmlformats-officedocument.presentationml.slideLayout+xml"/>
  <Override PartName="/ppt/tags/tag402.xml" ContentType="application/vnd.openxmlformats-officedocument.presentationml.tags+xml"/>
  <Override PartName="/ppt/tags/tag878.xml" ContentType="application/vnd.openxmlformats-officedocument.presentationml.tags+xml"/>
  <Override PartName="/ppt/tags/tag1226.xml" ContentType="application/vnd.openxmlformats-officedocument.presentationml.tags+xml"/>
  <Override PartName="/ppt/tags/tag1412.xml" ContentType="application/vnd.openxmlformats-officedocument.presentationml.tags+xml"/>
  <Override PartName="/ppt/tags/tag1888.xml" ContentType="application/vnd.openxmlformats-officedocument.presentationml.tags+xml"/>
  <Override PartName="/ppt/tags/tag1904.xml" ContentType="application/vnd.openxmlformats-officedocument.presentationml.tags+xml"/>
  <Override PartName="/ppt/tags/tag85.xml" ContentType="application/vnd.openxmlformats-officedocument.presentationml.tags+xml"/>
  <Override PartName="/ppt/tags/tag386.xml" ContentType="application/vnd.openxmlformats-officedocument.presentationml.tags+xml"/>
  <Override PartName="/ppt/tags/tag572.xml" ContentType="application/vnd.openxmlformats-officedocument.presentationml.tags+xml"/>
  <Override PartName="/ppt/slideLayouts/slideLayout294.xml" ContentType="application/vnd.openxmlformats-officedocument.presentationml.slideLayout+xml"/>
  <Override PartName="/ppt/slideLayouts/slideLayout310.xml" ContentType="application/vnd.openxmlformats-officedocument.presentationml.slideLayout+xml"/>
  <Override PartName="/ppt/tags/tag1396.xml" ContentType="application/vnd.openxmlformats-officedocument.presentationml.tags+xml"/>
  <Override PartName="/ppt/slideMasters/slideMaster33.xml" ContentType="application/vnd.openxmlformats-officedocument.presentationml.slideMaster+xml"/>
  <Override PartName="/ppt/tags/tag16.xml" ContentType="application/vnd.openxmlformats-officedocument.presentationml.tags+xml"/>
  <Override PartName="/ppt/tags/tag317.xml" ContentType="application/vnd.openxmlformats-officedocument.presentationml.tags+xml"/>
  <Override PartName="/ppt/tags/tag809.xml" ContentType="application/vnd.openxmlformats-officedocument.presentationml.tags+xml"/>
  <Override PartName="/ppt/tags/tag1090.xml" ContentType="application/vnd.openxmlformats-officedocument.presentationml.tags+xml"/>
  <Override PartName="/ppt/slideLayouts/slideLayout480.xml" ContentType="application/vnd.openxmlformats-officedocument.presentationml.slideLayout+xml"/>
  <Override PartName="/ppt/tags/tag1582.xml" ContentType="application/vnd.openxmlformats-officedocument.presentationml.tags+xml"/>
  <Override PartName="/ppt/theme/theme54.xml" ContentType="application/vnd.openxmlformats-officedocument.theme+xml"/>
  <Override PartName="/ppt/tags/tag1819.xml" ContentType="application/vnd.openxmlformats-officedocument.presentationml.tags+xml"/>
  <Override PartName="/ppt/tags/tag487.xml" ContentType="application/vnd.openxmlformats-officedocument.presentationml.tags+xml"/>
  <Override PartName="/ppt/tags/tag503.xml" ContentType="application/vnd.openxmlformats-officedocument.presentationml.tags+xml"/>
  <Override PartName="/ppt/slideLayouts/slideLayout225.xml" ContentType="application/vnd.openxmlformats-officedocument.presentationml.slideLayout+xml"/>
  <Override PartName="/ppt/tags/tag979.xml" ContentType="application/vnd.openxmlformats-officedocument.presentationml.tags+xml"/>
  <Override PartName="/ppt/slideLayouts/slideLayout411.xml" ContentType="application/vnd.openxmlformats-officedocument.presentationml.slideLayout+xml"/>
  <Override PartName="/ppt/tags/tag1327.xml" ContentType="application/vnd.openxmlformats-officedocument.presentationml.tags+xml"/>
  <Override PartName="/ppt/tags/tag1513.xml" ContentType="application/vnd.openxmlformats-officedocument.presentationml.tags+xml"/>
  <Override PartName="/ppt/tags/tag1989.xml" ContentType="application/vnd.openxmlformats-officedocument.presentationml.tags+xml"/>
  <Override PartName="/ppt/tags/tag2062.xml" ContentType="application/vnd.openxmlformats-officedocument.presentationml.tags+xml"/>
  <Override PartName="/ppt/tags/tag673.xml" ContentType="application/vnd.openxmlformats-officedocument.presentationml.tags+xml"/>
  <Override PartName="/ppt/tags/tag1021.xml" ContentType="application/vnd.openxmlformats-officedocument.presentationml.tags+xml"/>
  <Override PartName="/ppt/slideLayouts/slideLayout395.xml" ContentType="application/vnd.openxmlformats-officedocument.presentationml.slideLayout+xml"/>
  <Override PartName="/ppt/tags/tag1497.xml" ContentType="application/vnd.openxmlformats-officedocument.presentationml.tags+xml"/>
  <Override PartName="/ppt/tags/tag1683.xml" ContentType="application/vnd.openxmlformats-officedocument.presentationml.tags+xml"/>
  <Override PartName="/ppt/tags/tag181.xml" ContentType="application/vnd.openxmlformats-officedocument.presentationml.tags+xml"/>
  <Override PartName="/ppt/tags/tag418.xml" ContentType="application/vnd.openxmlformats-officedocument.presentationml.tags+xml"/>
  <Override PartName="/ppt/slideLayouts/slideLayout326.xml" ContentType="application/vnd.openxmlformats-officedocument.presentationml.slideLayout+xml"/>
  <Override PartName="/ppt/tags/tag1191.xml" ContentType="application/vnd.openxmlformats-officedocument.presentationml.tags+xml"/>
  <Override PartName="/ppt/tags/tag1428.xml" ContentType="application/vnd.openxmlformats-officedocument.presentationml.tags+xml"/>
  <Override PartName="/ppt/slideLayouts/slideLayout581.xml" ContentType="application/vnd.openxmlformats-officedocument.presentationml.slideLayout+xml"/>
  <Override PartName="/ppt/tags/tag112.xml" ContentType="application/vnd.openxmlformats-officedocument.presentationml.tags+xml"/>
  <Override PartName="/ppt/tags/tag588.xml" ContentType="application/vnd.openxmlformats-officedocument.presentationml.tags+xml"/>
  <Override PartName="/ppt/tags/tag604.xml" ContentType="application/vnd.openxmlformats-officedocument.presentationml.tags+xml"/>
  <Override PartName="/ppt/tags/tag1598.xml" ContentType="application/vnd.openxmlformats-officedocument.presentationml.tags+xml"/>
  <Override PartName="/ppt/tags/tag1614.xml" ContentType="application/vnd.openxmlformats-officedocument.presentationml.tags+xml"/>
  <Override PartName="/ppt/slideLayouts/slideLayout512.xml" ContentType="application/vnd.openxmlformats-officedocument.presentationml.slideLayout+xml"/>
  <Override PartName="/ppt/tags/tag1800.xml" ContentType="application/vnd.openxmlformats-officedocument.presentationml.tags+xml"/>
  <Override PartName="/ppt/tags/tag2163.xml" ContentType="application/vnd.openxmlformats-officedocument.presentationml.tags+xml"/>
  <Override PartName="/ppt/slideMasters/slideMaster49.xml" ContentType="application/vnd.openxmlformats-officedocument.presentationml.slideMaster+xml"/>
  <Override PartName="/ppt/theme/theme2.xml" ContentType="application/vnd.openxmlformats-officedocument.theme+xml"/>
  <Override PartName="/ppt/tags/tag774.xml" ContentType="application/vnd.openxmlformats-officedocument.presentationml.tags+xml"/>
  <Override PartName="/ppt/tags/tag960.xml" ContentType="application/vnd.openxmlformats-officedocument.presentationml.tags+xml"/>
  <Override PartName="/ppt/tags/tag1122.xml" ContentType="application/vnd.openxmlformats-officedocument.presentationml.tags+xml"/>
  <Override PartName="/ppt/slideLayouts/slideLayout496.xml" ContentType="application/vnd.openxmlformats-officedocument.presentationml.slideLayout+xml"/>
  <Override PartName="/ppt/tags/tag1784.xml" ContentType="application/vnd.openxmlformats-officedocument.presentationml.tags+xml"/>
  <Override PartName="/ppt/slides/slide44.xml" ContentType="application/vnd.openxmlformats-officedocument.presentationml.slide+xml"/>
  <Default Extension="emf" ContentType="image/x-emf"/>
  <Override PartName="/ppt/slideLayouts/slideLayout43.xml" ContentType="application/vnd.openxmlformats-officedocument.presentationml.slideLayout+xml"/>
  <Override PartName="/ppt/tags/tag282.xml" ContentType="application/vnd.openxmlformats-officedocument.presentationml.tags+xml"/>
  <Override PartName="/ppt/tags/tag519.xml" ContentType="application/vnd.openxmlformats-officedocument.presentationml.tags+xml"/>
  <Override PartName="/ppt/slideLayouts/slideLayout190.xml" ContentType="application/vnd.openxmlformats-officedocument.presentationml.slideLayout+xml"/>
  <Override PartName="/ppt/tags/tag705.xml" ContentType="application/vnd.openxmlformats-officedocument.presentationml.tags+xml"/>
  <Override PartName="/ppt/tags/tag1292.xml" ContentType="application/vnd.openxmlformats-officedocument.presentationml.tags+xml"/>
  <Override PartName="/ppt/slideLayouts/slideLayout427.xml" ContentType="application/vnd.openxmlformats-officedocument.presentationml.slideLayout+xml"/>
  <Override PartName="/ppt/tags/tag1529.xml" ContentType="application/vnd.openxmlformats-officedocument.presentationml.tags+xml"/>
  <Override PartName="/ppt/tags/tag1970.xml" ContentType="application/vnd.openxmlformats-officedocument.presentationml.tags+xml"/>
  <Override PartName="/ppt/tags/tag2078.xml" ContentType="application/vnd.openxmlformats-officedocument.presentationml.tags+xml"/>
  <Override PartName="/ppt/tags/tag213.xml" ContentType="application/vnd.openxmlformats-officedocument.presentationml.tags+xml"/>
  <Override PartName="/ppt/tags/tag689.xml" ContentType="application/vnd.openxmlformats-officedocument.presentationml.tags+xml"/>
  <Override PartName="/ppt/tags/tag875.xml" ContentType="application/vnd.openxmlformats-officedocument.presentationml.tags+xml"/>
  <Override PartName="/ppt/tags/tag1037.xml" ContentType="application/vnd.openxmlformats-officedocument.presentationml.tags+xml"/>
  <Override PartName="/ppt/tags/tag1223.xml" ContentType="application/vnd.openxmlformats-officedocument.presentationml.tags+xml"/>
  <Override PartName="/ppt/tags/tag1699.xml" ContentType="application/vnd.openxmlformats-officedocument.presentationml.tags+xml"/>
  <Override PartName="/ppt/tags/tag1715.xml" ContentType="application/vnd.openxmlformats-officedocument.presentationml.tags+xml"/>
  <Override PartName="/ppt/tags/tag1901.xml" ContentType="application/vnd.openxmlformats-officedocument.presentationml.tags+xml"/>
  <Override PartName="/ppt/slideLayouts/slideLayout597.xml" ContentType="application/vnd.openxmlformats-officedocument.presentationml.slideLayout+xml"/>
  <Override PartName="/ppt/tags/tag2009.xml" ContentType="application/vnd.openxmlformats-officedocument.presentationml.tags+xml"/>
  <Override PartName="/ppt/slideLayouts/slideLayout613.xml" ContentType="application/vnd.openxmlformats-officedocument.presentationml.slideLayout+xml"/>
  <Override PartName="/ppt/tags/tag82.xml" ContentType="application/vnd.openxmlformats-officedocument.presentationml.tags+xml"/>
  <Override PartName="/ppt/tags/tag197.xml" ContentType="application/vnd.openxmlformats-officedocument.presentationml.tags+xml"/>
  <Override PartName="/ppt/slideLayouts/slideLayout121.xml" ContentType="application/vnd.openxmlformats-officedocument.presentationml.slideLayout+xml"/>
  <Override PartName="/ppt/tags/tag383.xml" ContentType="application/vnd.openxmlformats-officedocument.presentationml.tags+xml"/>
  <Override PartName="/ppt/tags/tag1885.xml" ContentType="application/vnd.openxmlformats-officedocument.presentationml.tags+xml"/>
  <Override PartName="/ppt/slideMasters/slideMaster30.xml" ContentType="application/vnd.openxmlformats-officedocument.presentationml.slideMaster+xml"/>
  <Override PartName="/ppt/tags/tag128.xml" ContentType="application/vnd.openxmlformats-officedocument.presentationml.tags+xml"/>
  <Override PartName="/ppt/tags/tag806.xml" ContentType="application/vnd.openxmlformats-officedocument.presentationml.tags+xml"/>
  <Override PartName="/ppt/slideLayouts/slideLayout291.xml" ContentType="application/vnd.openxmlformats-officedocument.presentationml.slideLayout+xml"/>
  <Override PartName="/ppt/tags/tag1138.xml" ContentType="application/vnd.openxmlformats-officedocument.presentationml.tags+xml"/>
  <Override PartName="/ppt/tags/tag1393.xml" ContentType="application/vnd.openxmlformats-officedocument.presentationml.tags+xml"/>
  <Override PartName="/ppt/slideLayouts/slideLayout528.xml" ContentType="application/vnd.openxmlformats-officedocument.presentationml.slideLayout+xml"/>
  <Override PartName="/ppt/tags/tag1816.xml" ContentType="application/vnd.openxmlformats-officedocument.presentationml.tags+xml"/>
  <Override PartName="/ppt/tags/tag2179.xml" ContentType="application/vnd.openxmlformats-officedocument.presentationml.tags+xml"/>
  <Override PartName="/ppt/tags/tag13.xml" ContentType="application/vnd.openxmlformats-officedocument.presentationml.tags+xml"/>
  <Override PartName="/ppt/tags/tag298.xml" ContentType="application/vnd.openxmlformats-officedocument.presentationml.tags+xml"/>
  <Override PartName="/ppt/tags/tag314.xml" ContentType="application/vnd.openxmlformats-officedocument.presentationml.tags+xml"/>
  <Override PartName="/ppt/tags/tag500.xml" ContentType="application/vnd.openxmlformats-officedocument.presentationml.tags+xml"/>
  <Override PartName="/ppt/slideLayouts/slideLayout222.xml" ContentType="application/vnd.openxmlformats-officedocument.presentationml.slideLayout+xml"/>
  <Override PartName="/ppt/tags/tag976.xml" ContentType="application/vnd.openxmlformats-officedocument.presentationml.tags+xml"/>
  <Override PartName="/ppt/tags/tag1324.xml" ContentType="application/vnd.openxmlformats-officedocument.presentationml.tags+xml"/>
  <Override PartName="/ppt/theme/theme51.xml" ContentType="application/vnd.openxmlformats-officedocument.theme+xml"/>
  <Override PartName="/ppt/tags/tag1986.xml" ContentType="application/vnd.openxmlformats-officedocument.presentationml.tags+xml"/>
  <Override PartName="/ppt/slideLayouts/slideLayout59.xml" ContentType="application/vnd.openxmlformats-officedocument.presentationml.slideLayout+xml"/>
  <Override PartName="/ppt/tags/tag484.xml" ContentType="application/vnd.openxmlformats-officedocument.presentationml.tags+xml"/>
  <Override PartName="/ppt/tags/tag670.xml" ContentType="application/vnd.openxmlformats-officedocument.presentationml.tags+xml"/>
  <Override PartName="/ppt/slideLayouts/slideLayout392.xml" ContentType="application/vnd.openxmlformats-officedocument.presentationml.slideLayout+xml"/>
  <Override PartName="/ppt/tags/tag1494.xml" ContentType="application/vnd.openxmlformats-officedocument.presentationml.tags+xml"/>
  <Override PartName="/ppt/tags/tag1510.xml" ContentType="application/vnd.openxmlformats-officedocument.presentationml.tags+xml"/>
  <Override PartName="/ppt/tags/tag229.xml" ContentType="application/vnd.openxmlformats-officedocument.presentationml.tags+xml"/>
  <Override PartName="/ppt/slideLayouts/slideLayout137.xml" ContentType="application/vnd.openxmlformats-officedocument.presentationml.slideLayout+xml"/>
  <Override PartName="/ppt/tags/tag415.xml" ContentType="application/vnd.openxmlformats-officedocument.presentationml.tags+xml"/>
  <Override PartName="/ppt/tags/tag907.xml" ContentType="application/vnd.openxmlformats-officedocument.presentationml.tags+xml"/>
  <Override PartName="/ppt/tags/tag1239.xml" ContentType="application/vnd.openxmlformats-officedocument.presentationml.tags+xml"/>
  <Override PartName="/ppt/tags/tag1680.xml" ContentType="application/vnd.openxmlformats-officedocument.presentationml.tags+xml"/>
  <Override PartName="/ppt/tags/tag1917.xml" ContentType="application/vnd.openxmlformats-officedocument.presentationml.tags+xml"/>
  <Override PartName="/ppt/slideLayouts/slideLayout629.xml" ContentType="application/vnd.openxmlformats-officedocument.presentationml.slideLayout+xml"/>
  <Override PartName="/ppt/diagrams/colors1.xml" ContentType="application/vnd.openxmlformats-officedocument.drawingml.diagramColors+xml"/>
  <Override PartName="/ppt/tags/tag98.xml" ContentType="application/vnd.openxmlformats-officedocument.presentationml.tags+xml"/>
  <Override PartName="/ppt/tags/tag399.xml" ContentType="application/vnd.openxmlformats-officedocument.presentationml.tags+xml"/>
  <Override PartName="/ppt/tags/tag601.xml" ContentType="application/vnd.openxmlformats-officedocument.presentationml.tags+xml"/>
  <Override PartName="/ppt/slideLayouts/slideLayout323.xml" ContentType="application/vnd.openxmlformats-officedocument.presentationml.slideLayout+xml"/>
  <Override PartName="/ppt/tags/tag1425.xml" ContentType="application/vnd.openxmlformats-officedocument.presentationml.tags+xml"/>
  <Override PartName="/ppt/tags/tag1611.xml" ContentType="application/vnd.openxmlformats-officedocument.presentationml.tags+xml"/>
  <Override PartName="/ppt/tags/tag2160.xml" ContentType="application/vnd.openxmlformats-officedocument.presentationml.tags+xml"/>
  <Override PartName="/ppt/slideMasters/slideMaster46.xml" ContentType="application/vnd.openxmlformats-officedocument.presentationml.slideMaster+xml"/>
  <Override PartName="/ppt/tags/tag585.xml" ContentType="application/vnd.openxmlformats-officedocument.presentationml.tags+xml"/>
  <Override PartName="/ppt/tags/tag771.xml" ContentType="application/vnd.openxmlformats-officedocument.presentationml.tags+xml"/>
  <Override PartName="/ppt/tags/tag1595.xml" ContentType="application/vnd.openxmlformats-officedocument.presentationml.tags+xml"/>
  <Override PartName="/ppt/slideLayouts/slideLayout493.xml" ContentType="application/vnd.openxmlformats-officedocument.presentationml.slideLayout+xml"/>
  <Override PartName="/ppt/tags/tag1781.xml" ContentType="application/vnd.openxmlformats-officedocument.presentationml.tags+xml"/>
  <Override PartName="/ppt/theme/theme67.xml" ContentType="application/vnd.openxmlformats-officedocument.theme+xml"/>
  <Override PartName="/ppt/slides/slide41.xml" ContentType="application/vnd.openxmlformats-officedocument.presentationml.slide+xml"/>
  <Override PartName="/ppt/tags/tag29.xml" ContentType="application/vnd.openxmlformats-officedocument.presentationml.tags+xml"/>
  <Override PartName="/ppt/tags/tag516.xml" ContentType="application/vnd.openxmlformats-officedocument.presentationml.tags+xml"/>
  <Override PartName="/ppt/slideLayouts/slideLayout238.xml" ContentType="application/vnd.openxmlformats-officedocument.presentationml.slideLayout+xml"/>
  <Override PartName="/ppt/tags/tag1526.xml" ContentType="application/vnd.openxmlformats-officedocument.presentationml.tags+xml"/>
  <Override PartName="/ppt/tags/tag2075.xml" ContentType="application/vnd.openxmlformats-officedocument.presentationml.tags+xml"/>
  <Override PartName="/ppt/slideLayouts/slideLayout40.xml" ContentType="application/vnd.openxmlformats-officedocument.presentationml.slideLayout+xml"/>
  <Override PartName="/ppt/tags/tag210.xml" ContentType="application/vnd.openxmlformats-officedocument.presentationml.tags+xml"/>
  <Override PartName="/ppt/tags/tag686.xml" ContentType="application/vnd.openxmlformats-officedocument.presentationml.tags+xml"/>
  <Override PartName="/ppt/tags/tag702.xml" ContentType="application/vnd.openxmlformats-officedocument.presentationml.tags+xml"/>
  <Override PartName="/ppt/tags/tag1034.xml" ContentType="application/vnd.openxmlformats-officedocument.presentationml.tags+xml"/>
  <Override PartName="/ppt/slideLayouts/slideLayout424.xml" ContentType="application/vnd.openxmlformats-officedocument.presentationml.slideLayout+xml"/>
  <Override PartName="/ppt/tags/tag1712.xml" ContentType="application/vnd.openxmlformats-officedocument.presentationml.tags+xml"/>
  <Override PartName="/ppt/slideLayouts/slideLayout610.xml" ContentType="application/vnd.openxmlformats-officedocument.presentationml.slideLayout+xml"/>
  <Override PartName="/ppt/tags/tag194.xml" ContentType="application/vnd.openxmlformats-officedocument.presentationml.tags+xml"/>
  <Override PartName="/ppt/tags/tag872.xml" ContentType="application/vnd.openxmlformats-officedocument.presentationml.tags+xml"/>
  <Override PartName="/ppt/tags/tag1220.xml" ContentType="application/vnd.openxmlformats-officedocument.presentationml.tags+xml"/>
  <Override PartName="/ppt/tags/tag1696.xml" ContentType="application/vnd.openxmlformats-officedocument.presentationml.tags+xml"/>
  <Override PartName="/ppt/tags/tag1882.xml" ContentType="application/vnd.openxmlformats-officedocument.presentationml.tags+xml"/>
  <Override PartName="/ppt/slideLayouts/slideLayout594.xml" ContentType="application/vnd.openxmlformats-officedocument.presentationml.slideLayout+xml"/>
  <Override PartName="/ppt/tags/tag2006.xml" ContentType="application/vnd.openxmlformats-officedocument.presentationml.tags+xml"/>
  <Override PartName="/ppt/tags/tag380.xml" ContentType="application/vnd.openxmlformats-officedocument.presentationml.tags+xml"/>
  <Override PartName="/ppt/tags/tag617.xml" ContentType="application/vnd.openxmlformats-officedocument.presentationml.tags+xml"/>
  <Override PartName="/ppt/tags/tag803.xml" ContentType="application/vnd.openxmlformats-officedocument.presentationml.tags+xml"/>
  <Override PartName="/ppt/slideLayouts/slideLayout339.xml" ContentType="application/vnd.openxmlformats-officedocument.presentationml.slideLayout+xml"/>
  <Override PartName="/ppt/tags/tag1390.xml" ContentType="application/vnd.openxmlformats-officedocument.presentationml.tags+xml"/>
  <Override PartName="/ppt/tags/tag1627.xml" ContentType="application/vnd.openxmlformats-officedocument.presentationml.tags+xml"/>
  <Override PartName="/ppt/slideLayouts/slideLayout525.xml" ContentType="application/vnd.openxmlformats-officedocument.presentationml.slideLayout+xml"/>
  <Override PartName="/ppt/tags/tag2176.xml" ContentType="application/vnd.openxmlformats-officedocument.presentationml.tags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125.xml" ContentType="application/vnd.openxmlformats-officedocument.presentationml.tags+xml"/>
  <Override PartName="/ppt/tags/tag311.xml" ContentType="application/vnd.openxmlformats-officedocument.presentationml.tags+xml"/>
  <Override PartName="/ppt/tags/tag787.xml" ContentType="application/vnd.openxmlformats-officedocument.presentationml.tags+xml"/>
  <Override PartName="/ppt/tags/tag1135.xml" ContentType="application/vnd.openxmlformats-officedocument.presentationml.tags+xml"/>
  <Override PartName="/ppt/tags/tag1321.xml" ContentType="application/vnd.openxmlformats-officedocument.presentationml.tags+xml"/>
  <Override PartName="/ppt/tags/tag1797.xml" ContentType="application/vnd.openxmlformats-officedocument.presentationml.tags+xml"/>
  <Override PartName="/ppt/tags/tag1813.xml" ContentType="application/vnd.openxmlformats-officedocument.presentationml.tags+xml"/>
  <Override PartName="/ppt/tags/tag295.xml" ContentType="application/vnd.openxmlformats-officedocument.presentationml.tags+xml"/>
  <Override PartName="/ppt/tags/tag481.xml" ContentType="application/vnd.openxmlformats-officedocument.presentationml.tags+xml"/>
  <Override PartName="/ppt/tags/tag973.xml" ContentType="application/vnd.openxmlformats-officedocument.presentationml.tags+xml"/>
  <Override PartName="/ppt/tags/tag1983.xml" ContentType="application/vnd.openxmlformats-officedocument.presentationml.tags+xml"/>
  <Override PartName="/ppt/tags/tag2107.xml" ContentType="application/vnd.openxmlformats-officedocument.presentationml.tags+xml"/>
  <Override PartName="/ppt/slideLayouts/slideLayout56.xml" ContentType="application/vnd.openxmlformats-officedocument.presentationml.slideLayout+xml"/>
  <Override PartName="/ppt/tags/tag226.xml" ContentType="application/vnd.openxmlformats-officedocument.presentationml.tags+xml"/>
  <Override PartName="/ppt/tags/tag718.xml" ContentType="application/vnd.openxmlformats-officedocument.presentationml.tags+xml"/>
  <Override PartName="/ppt/tags/tag904.xml" ContentType="application/vnd.openxmlformats-officedocument.presentationml.tags+xml"/>
  <Override PartName="/ppt/tags/tag1491.xml" ContentType="application/vnd.openxmlformats-officedocument.presentationml.tags+xml"/>
  <Override PartName="/ppt/tags/tag1728.xml" ContentType="application/vnd.openxmlformats-officedocument.presentationml.tags+xml"/>
  <Override PartName="/ppt/tags/tag1914.xml" ContentType="application/vnd.openxmlformats-officedocument.presentationml.tags+xml"/>
  <Override PartName="/ppt/slideLayouts/slideLayout626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ags/tag412.xml" ContentType="application/vnd.openxmlformats-officedocument.presentationml.tags+xml"/>
  <Override PartName="/ppt/tags/tag888.xml" ContentType="application/vnd.openxmlformats-officedocument.presentationml.tags+xml"/>
  <Override PartName="/ppt/slideLayouts/slideLayout320.xml" ContentType="application/vnd.openxmlformats-officedocument.presentationml.slideLayout+xml"/>
  <Override PartName="/ppt/tags/tag1236.xml" ContentType="application/vnd.openxmlformats-officedocument.presentationml.tags+xml"/>
  <Override PartName="/ppt/tags/tag1422.xml" ContentType="application/vnd.openxmlformats-officedocument.presentationml.tags+xml"/>
  <Override PartName="/ppt/tags/tag1898.xml" ContentType="application/vnd.openxmlformats-officedocument.presentationml.tags+xml"/>
  <Override PartName="/ppt/tags/tag95.xml" ContentType="application/vnd.openxmlformats-officedocument.presentationml.tags+xml"/>
  <Override PartName="/ppt/tags/tag396.xml" ContentType="application/vnd.openxmlformats-officedocument.presentationml.tags+xml"/>
  <Override PartName="/ppt/tags/tag582.xml" ContentType="application/vnd.openxmlformats-officedocument.presentationml.tags+xml"/>
  <Override PartName="/ppt/tags/tag819.xml" ContentType="application/vnd.openxmlformats-officedocument.presentationml.tags+xml"/>
  <Override PartName="/ppt/tags/tag1592.xml" ContentType="application/vnd.openxmlformats-officedocument.presentationml.tags+xml"/>
  <Override PartName="/ppt/slideMasters/slideMaster43.xml" ContentType="application/vnd.openxmlformats-officedocument.presentationml.slideMaster+xml"/>
  <Override PartName="/ppt/tags/tag26.xml" ContentType="application/vnd.openxmlformats-officedocument.presentationml.tags+xml"/>
  <Override PartName="/ppt/tags/tag327.xml" ContentType="application/vnd.openxmlformats-officedocument.presentationml.tags+xml"/>
  <Override PartName="/ppt/slideLayouts/slideLayout235.xml" ContentType="application/vnd.openxmlformats-officedocument.presentationml.slideLayout+xml"/>
  <Override PartName="/ppt/tags/tag989.xml" ContentType="application/vnd.openxmlformats-officedocument.presentationml.tags+xml"/>
  <Override PartName="/ppt/tags/tag1337.xml" ContentType="application/vnd.openxmlformats-officedocument.presentationml.tags+xml"/>
  <Override PartName="/ppt/slideLayouts/slideLayout490.xml" ContentType="application/vnd.openxmlformats-officedocument.presentationml.slideLayout+xml"/>
  <Override PartName="/ppt/tags/tag1829.xml" ContentType="application/vnd.openxmlformats-officedocument.presentationml.tags+xml"/>
  <Override PartName="/ppt/theme/theme64.xml" ContentType="application/vnd.openxmlformats-officedocument.theme+xml"/>
  <Override PartName="/ppt/tags/tag497.xml" ContentType="application/vnd.openxmlformats-officedocument.presentationml.tags+xml"/>
  <Override PartName="/ppt/tags/tag513.xml" ContentType="application/vnd.openxmlformats-officedocument.presentationml.tags+xml"/>
  <Override PartName="/ppt/slideLayouts/slideLayout421.xml" ContentType="application/vnd.openxmlformats-officedocument.presentationml.slideLayout+xml"/>
  <Override PartName="/ppt/tags/tag1523.xml" ContentType="application/vnd.openxmlformats-officedocument.presentationml.tags+xml"/>
  <Override PartName="/ppt/tags/tag1999.xml" ContentType="application/vnd.openxmlformats-officedocument.presentationml.tags+xml"/>
  <Override PartName="/ppt/tags/tag2072.xml" ContentType="application/vnd.openxmlformats-officedocument.presentationml.tags+xml"/>
  <Override PartName="/ppt/tags/tag683.xml" ContentType="application/vnd.openxmlformats-officedocument.presentationml.tags+xml"/>
  <Override PartName="/ppt/tags/tag1031.xml" ContentType="application/vnd.openxmlformats-officedocument.presentationml.tags+xml"/>
  <Override PartName="/ppt/tags/tag1693.xml" ContentType="application/vnd.openxmlformats-officedocument.presentationml.tags+xml"/>
  <Override PartName="/ppt/slideLayouts/slideLayout591.xml" ContentType="application/vnd.openxmlformats-officedocument.presentationml.slideLayout+xml"/>
  <Override PartName="/ppt/tags/tag2003.xml" ContentType="application/vnd.openxmlformats-officedocument.presentationml.tags+xml"/>
  <Override PartName="/ppt/tags/tag191.xml" ContentType="application/vnd.openxmlformats-officedocument.presentationml.tags+xml"/>
  <Override PartName="/ppt/tags/tag428.xml" ContentType="application/vnd.openxmlformats-officedocument.presentationml.tags+xml"/>
  <Override PartName="/ppt/tags/tag614.xml" ContentType="application/vnd.openxmlformats-officedocument.presentationml.tags+xml"/>
  <Override PartName="/ppt/slideLayouts/slideLayout336.xml" ContentType="application/vnd.openxmlformats-officedocument.presentationml.slideLayout+xml"/>
  <Override PartName="/ppt/tags/tag1438.xml" ContentType="application/vnd.openxmlformats-officedocument.presentationml.tags+xml"/>
  <Override PartName="/ppt/tags/tag122.xml" ContentType="application/vnd.openxmlformats-officedocument.presentationml.tags+xml"/>
  <Override PartName="/ppt/tags/tag598.xml" ContentType="application/vnd.openxmlformats-officedocument.presentationml.tags+xml"/>
  <Override PartName="/ppt/tags/tag784.xml" ContentType="application/vnd.openxmlformats-officedocument.presentationml.tags+xml"/>
  <Override PartName="/ppt/tags/tag800.xml" ContentType="application/vnd.openxmlformats-officedocument.presentationml.tags+xml"/>
  <Override PartName="/ppt/tags/tag1132.xml" ContentType="application/vnd.openxmlformats-officedocument.presentationml.tags+xml"/>
  <Override PartName="/ppt/tags/tag1624.xml" ContentType="application/vnd.openxmlformats-officedocument.presentationml.tags+xml"/>
  <Override PartName="/ppt/slideLayouts/slideLayout522.xml" ContentType="application/vnd.openxmlformats-officedocument.presentationml.slideLayout+xml"/>
  <Override PartName="/ppt/tags/tag1810.xml" ContentType="application/vnd.openxmlformats-officedocument.presentationml.tags+xml"/>
  <Override PartName="/ppt/tags/tag2173.xml" ContentType="application/vnd.openxmlformats-officedocument.presentationml.tags+xml"/>
  <Override PartName="/customXml/itemProps1.xml" ContentType="application/vnd.openxmlformats-officedocument.customXmlProperties+xml"/>
  <Override PartName="/ppt/slideMasters/slideMaster59.xml" ContentType="application/vnd.openxmlformats-officedocument.presentationml.slideMaster+xml"/>
  <Override PartName="/ppt/slideLayouts/slideLayout6.xml" ContentType="application/vnd.openxmlformats-officedocument.presentationml.slideLayout+xml"/>
  <Override PartName="/ppt/tags/tag292.xml" ContentType="application/vnd.openxmlformats-officedocument.presentationml.tags+xml"/>
  <Override PartName="/ppt/tags/tag529.xml" ContentType="application/vnd.openxmlformats-officedocument.presentationml.tags+xml"/>
  <Override PartName="/ppt/tags/tag970.xml" ContentType="application/vnd.openxmlformats-officedocument.presentationml.tags+xml"/>
  <Override PartName="/ppt/tags/tag1794.xml" ContentType="application/vnd.openxmlformats-officedocument.presentationml.tags+xml"/>
  <Override PartName="/ppt/tags/tag1980.xml" ContentType="application/vnd.openxmlformats-officedocument.presentationml.tags+xml"/>
  <Override PartName="/ppt/tags/tag2104.xml" ContentType="application/vnd.openxmlformats-officedocument.presentationml.tags+xml"/>
  <Override PartName="/ppt/slideLayouts/slideLayout53.xml" ContentType="application/vnd.openxmlformats-officedocument.presentationml.slideLayout+xml"/>
  <Override PartName="/ppt/tags/tag715.xml" ContentType="application/vnd.openxmlformats-officedocument.presentationml.tags+xml"/>
  <Override PartName="/ppt/tags/tag1047.xml" ContentType="application/vnd.openxmlformats-officedocument.presentationml.tags+xml"/>
  <Override PartName="/ppt/slideLayouts/slideLayout437.xml" ContentType="application/vnd.openxmlformats-officedocument.presentationml.slideLayout+xml"/>
  <Override PartName="/ppt/tags/tag1539.xml" ContentType="application/vnd.openxmlformats-officedocument.presentationml.tags+xml"/>
  <Override PartName="/ppt/tags/tag1725.xml" ContentType="application/vnd.openxmlformats-officedocument.presentationml.tags+xml"/>
  <Override PartName="/ppt/slideLayouts/slideLayout623.xml" ContentType="application/vnd.openxmlformats-officedocument.presentationml.slideLayout+xml"/>
  <Override PartName="/ppt/tags/tag2088.xml" ContentType="application/vnd.openxmlformats-officedocument.presentationml.tags+xml"/>
  <Override PartName="/ppt/tags/tag223.xml" ContentType="application/vnd.openxmlformats-officedocument.presentationml.tags+xml"/>
  <Override PartName="/ppt/slideLayouts/slideLayout131.xml" ContentType="application/vnd.openxmlformats-officedocument.presentationml.slideLayout+xml"/>
  <Override PartName="/ppt/tags/tag699.xml" ContentType="application/vnd.openxmlformats-officedocument.presentationml.tags+xml"/>
  <Override PartName="/ppt/tags/tag885.xml" ContentType="application/vnd.openxmlformats-officedocument.presentationml.tags+xml"/>
  <Override PartName="/ppt/tags/tag901.xml" ContentType="application/vnd.openxmlformats-officedocument.presentationml.tags+xml"/>
  <Override PartName="/ppt/tags/tag1233.xml" ContentType="application/vnd.openxmlformats-officedocument.presentationml.tags+xml"/>
  <Override PartName="/ppt/tags/tag1895.xml" ContentType="application/vnd.openxmlformats-officedocument.presentationml.tags+xml"/>
  <Override PartName="/ppt/tags/tag1911.xml" ContentType="application/vnd.openxmlformats-officedocument.presentationml.tags+xml"/>
  <Override PartName="/ppt/tags/tag2019.xml" ContentType="application/vnd.openxmlformats-officedocument.presentationml.tags+xml"/>
  <Override PartName="/ppt/tags/tag92.xml" ContentType="application/vnd.openxmlformats-officedocument.presentationml.tags+xml"/>
  <Override PartName="/ppt/tags/tag393.xml" ContentType="application/vnd.openxmlformats-officedocument.presentationml.tags+xml"/>
  <Override PartName="/ppt/tags/tag2189.xml" ContentType="application/vnd.openxmlformats-officedocument.presentationml.tags+xml"/>
  <Override PartName="/ppt/slideMasters/slideMaster40.xml" ContentType="application/vnd.openxmlformats-officedocument.presentationml.slideMaster+xml"/>
  <Override PartName="/ppt/tags/tag138.xml" ContentType="application/vnd.openxmlformats-officedocument.presentationml.tags+xml"/>
  <Override PartName="/ppt/tags/tag324.xml" ContentType="application/vnd.openxmlformats-officedocument.presentationml.tags+xml"/>
  <Override PartName="/ppt/tags/tag816.xml" ContentType="application/vnd.openxmlformats-officedocument.presentationml.tags+xml"/>
  <Override PartName="/ppt/tags/tag1148.xml" ContentType="application/vnd.openxmlformats-officedocument.presentationml.tags+xml"/>
  <Override PartName="/ppt/slideLayouts/slideLayout538.xml" ContentType="application/vnd.openxmlformats-officedocument.presentationml.slideLayout+xml"/>
  <Override PartName="/ppt/tags/tag1826.xml" ContentType="application/vnd.openxmlformats-officedocument.presentationml.tags+xml"/>
  <Override PartName="/ppt/theme/theme61.xml" ContentType="application/vnd.openxmlformats-officedocument.theme+xml"/>
  <Override PartName="/ppt/tags/tag23.xml" ContentType="application/vnd.openxmlformats-officedocument.presentationml.tags+xml"/>
  <Override PartName="/ppt/tags/tag510.xml" ContentType="application/vnd.openxmlformats-officedocument.presentationml.tags+xml"/>
  <Override PartName="/ppt/slideLayouts/slideLayout232.xml" ContentType="application/vnd.openxmlformats-officedocument.presentationml.slideLayout+xml"/>
  <Override PartName="/ppt/tags/tag986.xml" ContentType="application/vnd.openxmlformats-officedocument.presentationml.tags+xml"/>
  <Override PartName="/ppt/tags/tag1334.xml" ContentType="application/vnd.openxmlformats-officedocument.presentationml.tags+xml"/>
  <Override PartName="/ppt/tags/tag1520.xml" ContentType="application/vnd.openxmlformats-officedocument.presentationml.tags+xml"/>
  <Override PartName="/ppt/tags/tag1996.xml" ContentType="application/vnd.openxmlformats-officedocument.presentationml.tags+xml"/>
  <Override PartName="/ppt/tags/tag9.xml" ContentType="application/vnd.openxmlformats-officedocument.presentationml.tags+xml"/>
  <Override PartName="/ppt/slideLayouts/slideLayout69.xml" ContentType="application/vnd.openxmlformats-officedocument.presentationml.slideLayout+xml"/>
  <Override PartName="/ppt/tags/tag494.xml" ContentType="application/vnd.openxmlformats-officedocument.presentationml.tags+xml"/>
  <Override PartName="/ppt/tags/tag680.xml" ContentType="application/vnd.openxmlformats-officedocument.presentationml.tags+xml"/>
  <Override PartName="/ppt/tags/tag917.xml" ContentType="application/vnd.openxmlformats-officedocument.presentationml.tags+xml"/>
  <Override PartName="/ppt/tags/tag1690.xml" ContentType="application/vnd.openxmlformats-officedocument.presentationml.tags+xml"/>
  <Override PartName="/ppt/slideLayouts/slideLayout639.xml" ContentType="application/vnd.openxmlformats-officedocument.presentationml.slideLayout+xml"/>
  <Default Extension="bin" ContentType="application/vnd.openxmlformats-officedocument.oleObject"/>
  <Override PartName="/ppt/tags/tag239.xml" ContentType="application/vnd.openxmlformats-officedocument.presentationml.tags+xml"/>
  <Override PartName="/ppt/tags/tag425.xml" ContentType="application/vnd.openxmlformats-officedocument.presentationml.tags+xml"/>
  <Override PartName="/ppt/slideLayouts/slideLayout147.xml" ContentType="application/vnd.openxmlformats-officedocument.presentationml.slideLayout+xml"/>
  <Override PartName="/ppt/tags/tag1249.xml" ContentType="application/vnd.openxmlformats-officedocument.presentationml.tags+xml"/>
  <Override PartName="/ppt/tags/tag1435.xml" ContentType="application/vnd.openxmlformats-officedocument.presentationml.tags+xml"/>
  <Override PartName="/ppt/tags/tag1927.xml" ContentType="application/vnd.openxmlformats-officedocument.presentationml.tags+xml"/>
  <Override PartName="/ppt/tags/tag2000.xml" ContentType="application/vnd.openxmlformats-officedocument.presentationml.tags+xml"/>
  <Override PartName="/ppt/tags/tag595.xml" ContentType="application/vnd.openxmlformats-officedocument.presentationml.tags+xml"/>
  <Override PartName="/ppt/tags/tag611.xml" ContentType="application/vnd.openxmlformats-officedocument.presentationml.tags+xml"/>
  <Override PartName="/ppt/slideLayouts/slideLayout333.xml" ContentType="application/vnd.openxmlformats-officedocument.presentationml.slideLayout+xml"/>
  <Override PartName="/ppt/tags/tag1621.xml" ContentType="application/vnd.openxmlformats-officedocument.presentationml.tags+xml"/>
  <Override PartName="/ppt/tags/tag2170.xml" ContentType="application/vnd.openxmlformats-officedocument.presentationml.tags+xml"/>
  <Override PartName="/ppt/slideMasters/slideMaster56.xml" ContentType="application/vnd.openxmlformats-officedocument.presentationml.slideMaster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781.xml" ContentType="application/vnd.openxmlformats-officedocument.presentationml.tags+xml"/>
  <Override PartName="/ppt/tags/tag1791.xml" ContentType="application/vnd.openxmlformats-officedocument.presentationml.tags+xml"/>
  <Override PartName="/ppt/tags/tag2101.xml" ContentType="application/vnd.openxmlformats-officedocument.presentationml.tags+xml"/>
  <Override PartName="/ppt/tags/tag526.xml" ContentType="application/vnd.openxmlformats-officedocument.presentationml.tags+xml"/>
  <Override PartName="/ppt/tags/tag712.xml" ContentType="application/vnd.openxmlformats-officedocument.presentationml.tags+xml"/>
  <Override PartName="/ppt/slideLayouts/slideLayout248.xml" ContentType="application/vnd.openxmlformats-officedocument.presentationml.slideLayout+xml"/>
  <Override PartName="/ppt/slideLayouts/slideLayout434.xml" ContentType="application/vnd.openxmlformats-officedocument.presentationml.slideLayout+xml"/>
  <Override PartName="/ppt/tags/tag1536.xml" ContentType="application/vnd.openxmlformats-officedocument.presentationml.tags+xml"/>
  <Override PartName="/ppt/tags/tag2085.xml" ContentType="application/vnd.openxmlformats-officedocument.presentationml.tags+xml"/>
  <Override PartName="/ppt/slideLayouts/slideLayout50.xml" ContentType="application/vnd.openxmlformats-officedocument.presentationml.slideLayout+xml"/>
  <Override PartName="/ppt/tags/tag220.xml" ContentType="application/vnd.openxmlformats-officedocument.presentationml.tags+xml"/>
  <Override PartName="/ppt/tags/tag696.xml" ContentType="application/vnd.openxmlformats-officedocument.presentationml.tags+xml"/>
  <Override PartName="/ppt/tags/tag1044.xml" ContentType="application/vnd.openxmlformats-officedocument.presentationml.tags+xml"/>
  <Override PartName="/ppt/tags/tag1230.xml" ContentType="application/vnd.openxmlformats-officedocument.presentationml.tags+xml"/>
  <Override PartName="/ppt/tags/tag1722.xml" ContentType="application/vnd.openxmlformats-officedocument.presentationml.tags+xml"/>
  <Override PartName="/ppt/slideLayouts/slideLayout620.xml" ContentType="application/vnd.openxmlformats-officedocument.presentationml.slideLayout+xml"/>
  <Override PartName="/ppt/tags/tag390.xml" ContentType="application/vnd.openxmlformats-officedocument.presentationml.tags+xml"/>
  <Override PartName="/ppt/tags/tag882.xml" ContentType="application/vnd.openxmlformats-officedocument.presentationml.tags+xml"/>
  <Override PartName="/ppt/slideLayouts/slideLayout349.xml" ContentType="application/vnd.openxmlformats-officedocument.presentationml.slideLayout+xml"/>
  <Override PartName="/ppt/tags/tag1892.xml" ContentType="application/vnd.openxmlformats-officedocument.presentationml.tags+xml"/>
  <Override PartName="/ppt/tags/tag2016.xml" ContentType="application/vnd.openxmlformats-officedocument.presentationml.tags+xml"/>
  <Override PartName="/ppt/notesSlides/notesSlide8.xml" ContentType="application/vnd.openxmlformats-officedocument.presentationml.notesSlide+xml"/>
  <Override PartName="/ppt/tags/tag135.xml" ContentType="application/vnd.openxmlformats-officedocument.presentationml.tags+xml"/>
  <Override PartName="/ppt/tags/tag627.xml" ContentType="application/vnd.openxmlformats-officedocument.presentationml.tags+xml"/>
  <Override PartName="/ppt/tags/tag813.xml" ContentType="application/vnd.openxmlformats-officedocument.presentationml.tags+xml"/>
  <Override PartName="/ppt/tags/tag1637.xml" ContentType="application/vnd.openxmlformats-officedocument.presentationml.tags+xml"/>
  <Override PartName="/ppt/slideLayouts/slideLayout535.xml" ContentType="application/vnd.openxmlformats-officedocument.presentationml.slideLayout+xml"/>
  <Override PartName="/ppt/tags/tag1823.xml" ContentType="application/vnd.openxmlformats-officedocument.presentationml.tags+xml"/>
  <Override PartName="/ppt/tags/tag2186.xml" ContentType="application/vnd.openxmlformats-officedocument.presentationml.tags+xml"/>
  <Override PartName="/ppt/tags/tag20.xml" ContentType="application/vnd.openxmlformats-officedocument.presentationml.tags+xml"/>
  <Override PartName="/ppt/tags/tag321.xml" ContentType="application/vnd.openxmlformats-officedocument.presentationml.tags+xml"/>
  <Override PartName="/ppt/tags/tag797.xml" ContentType="application/vnd.openxmlformats-officedocument.presentationml.tags+xml"/>
  <Override PartName="/ppt/tags/tag983.xml" ContentType="application/vnd.openxmlformats-officedocument.presentationml.tags+xml"/>
  <Override PartName="/ppt/tags/tag1145.xml" ContentType="application/vnd.openxmlformats-officedocument.presentationml.tags+xml"/>
  <Override PartName="/ppt/tags/tag1331.xml" ContentType="application/vnd.openxmlformats-officedocument.presentationml.tags+xml"/>
  <Override PartName="/ppt/tags/tag2117.xml" ContentType="application/vnd.openxmlformats-officedocument.presentationml.tags+xml"/>
  <Override PartName="/ppt/tags/tag6.xml" ContentType="application/vnd.openxmlformats-officedocument.presentationml.tags+xml"/>
  <Override PartName="/ppt/slideLayouts/slideLayout66.xml" ContentType="application/vnd.openxmlformats-officedocument.presentationml.slideLayout+xml"/>
  <Override PartName="/ppt/tags/tag491.xml" ContentType="application/vnd.openxmlformats-officedocument.presentationml.tags+xml"/>
  <Override PartName="/ppt/tags/tag728.xml" ContentType="application/vnd.openxmlformats-officedocument.presentationml.tags+xml"/>
  <Override PartName="/ppt/tags/tag1993.xml" ContentType="application/vnd.openxmlformats-officedocument.presentationml.tags+xml"/>
  <Override PartName="/ppt/tags/tag236.xml" ContentType="application/vnd.openxmlformats-officedocument.presentationml.tags+xml"/>
  <Override PartName="/ppt/tags/tag898.xml" ContentType="application/vnd.openxmlformats-officedocument.presentationml.tags+xml"/>
  <Override PartName="/ppt/tags/tag914.xml" ContentType="application/vnd.openxmlformats-officedocument.presentationml.tags+xml"/>
  <Override PartName="/ppt/tags/tag1246.xml" ContentType="application/vnd.openxmlformats-officedocument.presentationml.tags+xml"/>
  <Override PartName="/ppt/tags/tag1738.xml" ContentType="application/vnd.openxmlformats-officedocument.presentationml.tags+xml"/>
  <Override PartName="/ppt/tags/tag1924.xml" ContentType="application/vnd.openxmlformats-officedocument.presentationml.tags+xml"/>
  <Override PartName="/ppt/slideLayouts/slideLayout636.xml" ContentType="application/vnd.openxmlformats-officedocument.presentationml.slideLayout+xml"/>
  <Override PartName="/ppt/tags/tag422.xml" ContentType="application/vnd.openxmlformats-officedocument.presentationml.tags+xml"/>
  <Override PartName="/ppt/slideLayouts/slideLayout144.xml" ContentType="application/vnd.openxmlformats-officedocument.presentationml.slideLayout+xml"/>
  <Override PartName="/ppt/slideLayouts/slideLayout330.xml" ContentType="application/vnd.openxmlformats-officedocument.presentationml.slideLayout+xml"/>
  <Override PartName="/ppt/tags/tag1432.xml" ContentType="application/vnd.openxmlformats-officedocument.presentationml.tags+xml"/>
  <Override PartName="/ppt/slideMasters/slideMaster53.xml" ContentType="application/vnd.openxmlformats-officedocument.presentationml.slideMaster+xml"/>
  <Override PartName="/ppt/tags/tag592.xml" ContentType="application/vnd.openxmlformats-officedocument.presentationml.tags+xml"/>
  <Override PartName="/ppt/tags/tag829.xml" ContentType="application/vnd.openxmlformats-officedocument.presentationml.tags+xml"/>
  <Override PartName="/ppt/tags/tag1839.xml" ContentType="application/vnd.openxmlformats-officedocument.presentationml.tags+xml"/>
  <Override PartName="/ppt/tags/tag36.xml" ContentType="application/vnd.openxmlformats-officedocument.presentationml.tags+xml"/>
  <Override PartName="/ppt/tags/tag337.xml" ContentType="application/vnd.openxmlformats-officedocument.presentationml.tags+xml"/>
  <Override PartName="/ppt/tags/tag523.xml" ContentType="application/vnd.openxmlformats-officedocument.presentationml.tags+xml"/>
  <Override PartName="/ppt/slideLayouts/slideLayout245.xml" ContentType="application/vnd.openxmlformats-officedocument.presentationml.slideLayout+xml"/>
  <Override PartName="/ppt/tags/tag999.xml" ContentType="application/vnd.openxmlformats-officedocument.presentationml.tags+xml"/>
  <Override PartName="/ppt/tags/tag1347.xml" ContentType="application/vnd.openxmlformats-officedocument.presentationml.tags+xml"/>
  <Override PartName="/ppt/tags/tag693.xml" ContentType="application/vnd.openxmlformats-officedocument.presentationml.tags+xml"/>
  <Override PartName="/ppt/tags/tag1041.xml" ContentType="application/vnd.openxmlformats-officedocument.presentationml.tags+xml"/>
  <Override PartName="/ppt/slideLayouts/slideLayout431.xml" ContentType="application/vnd.openxmlformats-officedocument.presentationml.slideLayout+xml"/>
  <Override PartName="/ppt/tags/tag1533.xml" ContentType="application/vnd.openxmlformats-officedocument.presentationml.tags+xml"/>
  <Override PartName="/ppt/tags/tag2082.xml" ContentType="application/vnd.openxmlformats-officedocument.presentationml.tags+xml"/>
  <Override PartName="/ppt/tags/tag438.xml" ContentType="application/vnd.openxmlformats-officedocument.presentationml.tags+xml"/>
  <Override PartName="/ppt/tags/tag2013.xml" ContentType="application/vnd.openxmlformats-officedocument.presentationml.tags+xml"/>
  <Override PartName="/ppt/tags/tag624.xml" ContentType="application/vnd.openxmlformats-officedocument.presentationml.tags+xml"/>
  <Override PartName="/ppt/slideLayouts/slideLayout346.xml" ContentType="application/vnd.openxmlformats-officedocument.presentationml.slideLayout+xml"/>
  <Override PartName="/ppt/tags/tag1448.xml" ContentType="application/vnd.openxmlformats-officedocument.presentationml.tags+xml"/>
  <Override PartName="/ppt/tags/tag1634.xml" ContentType="application/vnd.openxmlformats-officedocument.presentationml.tags+xml"/>
  <Override PartName="/ppt/slideLayouts/slideLayout532.xml" ContentType="application/vnd.openxmlformats-officedocument.presentationml.slideLayout+xml"/>
  <Override PartName="/ppt/tags/tag2183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69.xml" ContentType="application/vnd.openxmlformats-officedocument.presentationml.slideMaster+xml"/>
  <Override PartName="/ppt/tags/tag132.xml" ContentType="application/vnd.openxmlformats-officedocument.presentationml.tags+xml"/>
  <Override PartName="/ppt/tags/tag794.xml" ContentType="application/vnd.openxmlformats-officedocument.presentationml.tags+xml"/>
  <Override PartName="/ppt/tags/tag810.xml" ContentType="application/vnd.openxmlformats-officedocument.presentationml.tags+xml"/>
  <Override PartName="/ppt/tags/tag1142.xml" ContentType="application/vnd.openxmlformats-officedocument.presentationml.tags+xml"/>
  <Override PartName="/ppt/tags/tag1820.xml" ContentType="application/vnd.openxmlformats-officedocument.presentationml.tags+xml"/>
  <Override PartName="/ppt/tags/tag539.xml" ContentType="application/vnd.openxmlformats-officedocument.presentationml.tags+xml"/>
  <Override PartName="/ppt/tags/tag980.xml" ContentType="application/vnd.openxmlformats-officedocument.presentationml.tags+xml"/>
  <Override PartName="/ppt/tags/tag1549.xml" ContentType="application/vnd.openxmlformats-officedocument.presentationml.tags+xml"/>
  <Override PartName="/ppt/tags/tag1990.xml" ContentType="application/vnd.openxmlformats-officedocument.presentationml.tags+xml"/>
  <Override PartName="/ppt/tags/tag2098.xml" ContentType="application/vnd.openxmlformats-officedocument.presentationml.tags+xml"/>
  <Override PartName="/ppt/tags/tag2114.xml" ContentType="application/vnd.openxmlformats-officedocument.presentationml.tags+xml"/>
  <Override PartName="/ppt/tags/tag3.xml" ContentType="application/vnd.openxmlformats-officedocument.presentationml.tags+xml"/>
  <Override PartName="/ppt/slideLayouts/slideLayout63.xml" ContentType="application/vnd.openxmlformats-officedocument.presentationml.slideLayout+xml"/>
  <Override PartName="/ppt/tags/tag233.xml" ContentType="application/vnd.openxmlformats-officedocument.presentationml.tags+xml"/>
  <Override PartName="/ppt/tags/tag725.xml" ContentType="application/vnd.openxmlformats-officedocument.presentationml.tags+xml"/>
  <Override PartName="/ppt/tags/tag911.xml" ContentType="application/vnd.openxmlformats-officedocument.presentationml.tags+xml"/>
  <Override PartName="/ppt/tags/tag1057.xml" ContentType="application/vnd.openxmlformats-officedocument.presentationml.tags+xml"/>
  <Override PartName="/ppt/slideLayouts/slideLayout447.xml" ContentType="application/vnd.openxmlformats-officedocument.presentationml.slideLayout+xml"/>
  <Override PartName="/ppt/tags/tag1735.xml" ContentType="application/vnd.openxmlformats-officedocument.presentationml.tags+xml"/>
  <Override PartName="/ppt/slideLayouts/slideLayout633.xml" ContentType="application/vnd.openxmlformats-officedocument.presentationml.slideLayout+xml"/>
  <Override PartName="/ppt/slideLayouts/slideLayout141.xml" ContentType="application/vnd.openxmlformats-officedocument.presentationml.slideLayout+xml"/>
  <Override PartName="/ppt/tags/tag895.xml" ContentType="application/vnd.openxmlformats-officedocument.presentationml.tags+xml"/>
  <Override PartName="/ppt/tags/tag1243.xml" ContentType="application/vnd.openxmlformats-officedocument.presentationml.tags+xml"/>
  <Override PartName="/ppt/tags/tag1921.xml" ContentType="application/vnd.openxmlformats-officedocument.presentationml.tags+xml"/>
  <Override PartName="/ppt/tags/tag2029.xml" ContentType="application/vnd.openxmlformats-officedocument.presentationml.tags+xml"/>
  <Override PartName="/ppt/tags/tag826.xml" ContentType="application/vnd.openxmlformats-officedocument.presentationml.tags+xml"/>
  <Override PartName="/ppt/slideLayouts/slideLayout548.xml" ContentType="application/vnd.openxmlformats-officedocument.presentationml.slideLayout+xml"/>
  <Override PartName="/ppt/tags/tag2199.xml" ContentType="application/vnd.openxmlformats-officedocument.presentationml.tags+xml"/>
  <Override PartName="/ppt/slideMasters/slideMaster50.xml" ContentType="application/vnd.openxmlformats-officedocument.presentationml.slideMaster+xml"/>
  <Override PartName="/ppt/tags/tag33.xml" ContentType="application/vnd.openxmlformats-officedocument.presentationml.tags+xml"/>
  <Override PartName="/ppt/tags/tag148.xml" ContentType="application/vnd.openxmlformats-officedocument.presentationml.tags+xml"/>
  <Override PartName="/ppt/tags/tag334.xml" ContentType="application/vnd.openxmlformats-officedocument.presentationml.tags+xml"/>
  <Override PartName="/ppt/tags/tag1158.xml" ContentType="application/vnd.openxmlformats-officedocument.presentationml.tags+xml"/>
  <Override PartName="/ppt/tags/tag1344.xml" ContentType="application/vnd.openxmlformats-officedocument.presentationml.tags+xml"/>
  <Override PartName="/ppt/tags/tag1836.xml" ContentType="application/vnd.openxmlformats-officedocument.presentationml.tags+xml"/>
  <Override PartName="/ppt/theme/theme71.xml" ContentType="application/vnd.openxmlformats-officedocument.theme+xml"/>
  <Override PartName="/ppt/tags/tag520.xml" ContentType="application/vnd.openxmlformats-officedocument.presentationml.tags+xml"/>
  <Override PartName="/ppt/slideLayouts/slideLayout242.xml" ContentType="application/vnd.openxmlformats-officedocument.presentationml.slideLayout+xml"/>
  <Override PartName="/ppt/tags/tag996.xml" ContentType="application/vnd.openxmlformats-officedocument.presentationml.tags+xml"/>
  <Override PartName="/ppt/tags/tag1530.xml" ContentType="application/vnd.openxmlformats-officedocument.presentationml.tags+xml"/>
  <Override PartName="/ppt/slideLayouts/slideLayout79.xml" ContentType="application/vnd.openxmlformats-officedocument.presentationml.slideLayout+xml"/>
  <Override PartName="/ppt/tags/tag249.xml" ContentType="application/vnd.openxmlformats-officedocument.presentationml.tags+xml"/>
  <Override PartName="/ppt/tags/tag690.xml" ContentType="application/vnd.openxmlformats-officedocument.presentationml.tags+xml"/>
  <Override PartName="/ppt/tags/tag927.xml" ContentType="application/vnd.openxmlformats-officedocument.presentationml.tags+xml"/>
  <Override PartName="/ppt/tags/tag1937.xml" ContentType="application/vnd.openxmlformats-officedocument.presentationml.tags+xml"/>
  <Override PartName="/ppt/tags/tag2010.xml" ContentType="application/vnd.openxmlformats-officedocument.presentationml.tags+xml"/>
  <Override PartName="/ppt/slideLayouts/slideLayout649.xml" ContentType="application/vnd.openxmlformats-officedocument.presentationml.slideLayout+xml"/>
  <Override PartName="/ppt/tags/tag435.xml" ContentType="application/vnd.openxmlformats-officedocument.presentationml.tags+xml"/>
  <Override PartName="/ppt/slideLayouts/slideLayout157.xml" ContentType="application/vnd.openxmlformats-officedocument.presentationml.slideLayout+xml"/>
  <Override PartName="/ppt/tags/tag621.xml" ContentType="application/vnd.openxmlformats-officedocument.presentationml.tags+xml"/>
  <Override PartName="/ppt/slideLayouts/slideLayout343.xml" ContentType="application/vnd.openxmlformats-officedocument.presentationml.slideLayout+xml"/>
  <Override PartName="/ppt/tags/tag1259.xml" ContentType="application/vnd.openxmlformats-officedocument.presentationml.tags+xml"/>
  <Override PartName="/ppt/tags/tag1445.xml" ContentType="application/vnd.openxmlformats-officedocument.presentationml.tags+xml"/>
  <Override PartName="/ppt/notesSlides/notesSlide2.xml" ContentType="application/vnd.openxmlformats-officedocument.presentationml.notesSlide+xml"/>
  <Override PartName="/ppt/tags/tag1631.xml" ContentType="application/vnd.openxmlformats-officedocument.presentationml.tags+xml"/>
  <Override PartName="/ppt/tags/tag2180.xml" ContentType="application/vnd.openxmlformats-officedocument.presentationml.tags+xml"/>
  <Override PartName="/ppt/slideMasters/slideMaster66.xml" ContentType="application/vnd.openxmlformats-officedocument.presentationml.slideMaster+xml"/>
  <Override PartName="/ppt/tags/tag49.xml" ContentType="application/vnd.openxmlformats-officedocument.presentationml.tags+xml"/>
  <Override PartName="/ppt/tags/tag791.xml" ContentType="application/vnd.openxmlformats-officedocument.presentationml.tags+xml"/>
  <Override PartName="/ppt/slideLayouts/slideLayout258.xml" ContentType="application/vnd.openxmlformats-officedocument.presentationml.slideLayout+xml"/>
  <Override PartName="/ppt/tags/tag2111.xml" ContentType="application/vnd.openxmlformats-officedocument.presentationml.tags+xml"/>
  <Override PartName="/ppt/slideLayouts/slideLayout60.xml" ContentType="application/vnd.openxmlformats-officedocument.presentationml.slideLayout+xml"/>
  <Override PartName="/ppt/theme/theme18.xml" ContentType="application/vnd.openxmlformats-officedocument.theme+xml"/>
  <Override PartName="/ppt/tags/tag536.xml" ContentType="application/vnd.openxmlformats-officedocument.presentationml.tags+xml"/>
  <Override PartName="/ppt/tags/tag722.xml" ContentType="application/vnd.openxmlformats-officedocument.presentationml.tags+xml"/>
  <Override PartName="/ppt/slideLayouts/slideLayout444.xml" ContentType="application/vnd.openxmlformats-officedocument.presentationml.slideLayout+xml"/>
  <Override PartName="/ppt/tags/tag1546.xml" ContentType="application/vnd.openxmlformats-officedocument.presentationml.tags+xml"/>
  <Override PartName="/ppt/tags/tag1732.xml" ContentType="application/vnd.openxmlformats-officedocument.presentationml.tags+xml"/>
  <Override PartName="/ppt/tags/tag2095.xml" ContentType="application/vnd.openxmlformats-officedocument.presentationml.tags+xml"/>
  <Override PartName="/ppt/tableStyles.xml" ContentType="application/vnd.openxmlformats-officedocument.presentationml.tableStyles+xml"/>
  <Override PartName="/ppt/tags/tag230.xml" ContentType="application/vnd.openxmlformats-officedocument.presentationml.tags+xml"/>
  <Override PartName="/ppt/tags/tag892.xml" ContentType="application/vnd.openxmlformats-officedocument.presentationml.tags+xml"/>
  <Override PartName="/ppt/tags/tag1054.xml" ContentType="application/vnd.openxmlformats-officedocument.presentationml.tags+xml"/>
  <Override PartName="/ppt/tags/tag1240.xml" ContentType="application/vnd.openxmlformats-officedocument.presentationml.tags+xml"/>
  <Override PartName="/ppt/tags/tag2026.xml" ContentType="application/vnd.openxmlformats-officedocument.presentationml.tags+xml"/>
  <Override PartName="/ppt/slideLayouts/slideLayout630.xml" ContentType="application/vnd.openxmlformats-officedocument.presentationml.slideLayout+xml"/>
  <Override PartName="/ppt/tags/tag637.xml" ContentType="application/vnd.openxmlformats-officedocument.presentationml.tags+xml"/>
  <Override PartName="/ppt/slideLayouts/slideLayout359.xml" ContentType="application/vnd.openxmlformats-officedocument.presentationml.slideLayout+xml"/>
  <Override PartName="/ppt/tags/tag145.xml" ContentType="application/vnd.openxmlformats-officedocument.presentationml.tags+xml"/>
  <Override PartName="/ppt/tags/tag823.xml" ContentType="application/vnd.openxmlformats-officedocument.presentationml.tags+xml"/>
  <Override PartName="/ppt/tags/tag1155.xml" ContentType="application/vnd.openxmlformats-officedocument.presentationml.tags+xml"/>
  <Override PartName="/ppt/tags/tag1647.xml" ContentType="application/vnd.openxmlformats-officedocument.presentationml.tags+xml"/>
  <Override PartName="/ppt/slideLayouts/slideLayout545.xml" ContentType="application/vnd.openxmlformats-officedocument.presentationml.slideLayout+xml"/>
  <Override PartName="/ppt/tags/tag1833.xml" ContentType="application/vnd.openxmlformats-officedocument.presentationml.tags+xml"/>
  <Override PartName="/ppt/tags/tag2196.xml" ContentType="application/vnd.openxmlformats-officedocument.presentationml.tags+xml"/>
  <Override PartName="/ppt/tags/tag30.xml" ContentType="application/vnd.openxmlformats-officedocument.presentationml.tags+xml"/>
  <Override PartName="/ppt/tags/tag331.xml" ContentType="application/vnd.openxmlformats-officedocument.presentationml.tags+xml"/>
  <Override PartName="/ppt/tags/tag993.xml" ContentType="application/vnd.openxmlformats-officedocument.presentationml.tags+xml"/>
  <Override PartName="/ppt/tags/tag1341.xml" ContentType="application/vnd.openxmlformats-officedocument.presentationml.tags+xml"/>
  <Override PartName="/ppt/tags/tag2127.xml" ContentType="application/vnd.openxmlformats-officedocument.presentationml.tags+xml"/>
  <Override PartName="/ppt/slideLayouts/slideLayout76.xml" ContentType="application/vnd.openxmlformats-officedocument.presentationml.slideLayout+xml"/>
  <Override PartName="/ppt/tags/tag738.xml" ContentType="application/vnd.openxmlformats-officedocument.presentationml.tags+xml"/>
  <Override PartName="/ppt/tags/tag1748.xml" ContentType="application/vnd.openxmlformats-officedocument.presentationml.tags+xml"/>
  <Override PartName="/ppt/slideLayouts/slideLayout646.xml" ContentType="application/vnd.openxmlformats-officedocument.presentationml.slideLayout+xml"/>
  <Override PartName="/ppt/tags/tag246.xml" ContentType="application/vnd.openxmlformats-officedocument.presentationml.tags+xml"/>
  <Override PartName="/ppt/tags/tag432.xml" ContentType="application/vnd.openxmlformats-officedocument.presentationml.tags+xml"/>
  <Override PartName="/ppt/slideLayouts/slideLayout154.xml" ContentType="application/vnd.openxmlformats-officedocument.presentationml.slideLayout+xml"/>
  <Override PartName="/ppt/tags/tag924.xml" ContentType="application/vnd.openxmlformats-officedocument.presentationml.tags+xml"/>
  <Override PartName="/ppt/tags/tag1256.xml" ContentType="application/vnd.openxmlformats-officedocument.presentationml.tags+xml"/>
  <Override PartName="/ppt/tags/tag1934.xml" ContentType="application/vnd.openxmlformats-officedocument.presentationml.tags+xml"/>
  <Override PartName="/ppt/slideLayouts/slideLayout340.xml" ContentType="application/vnd.openxmlformats-officedocument.presentationml.slideLayout+xml"/>
  <Override PartName="/ppt/tags/tag1442.xml" ContentType="application/vnd.openxmlformats-officedocument.presentationml.tags+xml"/>
  <Override PartName="/ppt/slideMasters/slideMaster63.xml" ContentType="application/vnd.openxmlformats-officedocument.presentationml.slideMaster+xml"/>
  <Override PartName="/ppt/tags/tag347.xml" ContentType="application/vnd.openxmlformats-officedocument.presentationml.tags+xml"/>
  <Override PartName="/ppt/tags/tag839.xml" ContentType="application/vnd.openxmlformats-officedocument.presentationml.tags+xml"/>
  <Override PartName="/ppt/tags/tag1849.xml" ContentType="application/vnd.openxmlformats-officedocument.presentationml.tags+xml"/>
  <Override PartName="/ppt/tags/tag46.xml" ContentType="application/vnd.openxmlformats-officedocument.presentationml.tags+xml"/>
  <Override PartName="/ppt/tags/tag533.xml" ContentType="application/vnd.openxmlformats-officedocument.presentationml.tags+xml"/>
  <Override PartName="/ppt/slideLayouts/slideLayout255.xml" ContentType="application/vnd.openxmlformats-officedocument.presentationml.slideLayout+xml"/>
  <Override PartName="/ppt/tags/tag1357.xml" ContentType="application/vnd.openxmlformats-officedocument.presentationml.tags+xml"/>
  <Override PartName="/ppt/slideLayouts/slideLayout441.xml" ContentType="application/vnd.openxmlformats-officedocument.presentationml.slideLayout+xml"/>
  <Override PartName="/ppt/tags/tag1543.xml" ContentType="application/vnd.openxmlformats-officedocument.presentationml.tags+xml"/>
  <Override PartName="/ppt/tags/tag2092.xml" ContentType="application/vnd.openxmlformats-officedocument.presentationml.tags+xml"/>
  <Override PartName="/ppt/theme/theme15.xml" ContentType="application/vnd.openxmlformats-officedocument.theme+xml"/>
  <Override PartName="/ppt/tags/tag1051.xml" ContentType="application/vnd.openxmlformats-officedocument.presentationml.tags+xml"/>
  <Override PartName="/ppt/tags/tag448.xml" ContentType="application/vnd.openxmlformats-officedocument.presentationml.tags+xml"/>
  <Override PartName="/ppt/tags/tag1458.xml" ContentType="application/vnd.openxmlformats-officedocument.presentationml.tags+xml"/>
  <Override PartName="/ppt/tags/tag2023.xml" ContentType="application/vnd.openxmlformats-officedocument.presentationml.tags+xml"/>
  <Override PartName="/ppt/tags/tag142.xml" ContentType="application/vnd.openxmlformats-officedocument.presentationml.tags+xml"/>
  <Override PartName="/ppt/tags/tag634.xml" ContentType="application/vnd.openxmlformats-officedocument.presentationml.tags+xml"/>
  <Override PartName="/ppt/tags/tag820.xml" ContentType="application/vnd.openxmlformats-officedocument.presentationml.tags+xml"/>
  <Override PartName="/ppt/slideLayouts/slideLayout356.xml" ContentType="application/vnd.openxmlformats-officedocument.presentationml.slideLayout+xml"/>
  <Override PartName="/ppt/tags/tag1644.xml" ContentType="application/vnd.openxmlformats-officedocument.presentationml.tags+xml"/>
  <Override PartName="/ppt/slideLayouts/slideLayout542.xml" ContentType="application/vnd.openxmlformats-officedocument.presentationml.slideLayout+xml"/>
  <Override PartName="/ppt/tags/tag2193.xml" ContentType="application/vnd.openxmlformats-officedocument.presentationml.tags+xml"/>
  <Override PartName="/ppt/tags/tag990.xml" ContentType="application/vnd.openxmlformats-officedocument.presentationml.tags+xml"/>
  <Override PartName="/ppt/tags/tag1152.xml" ContentType="application/vnd.openxmlformats-officedocument.presentationml.tags+xml"/>
  <Override PartName="/ppt/tags/tag1830.xml" ContentType="application/vnd.openxmlformats-officedocument.presentationml.tags+xml"/>
  <Override PartName="/ppt/tags/tag2124.xml" ContentType="application/vnd.openxmlformats-officedocument.presentationml.tags+xml"/>
  <Override PartName="/ppt/tags/tag549.xml" ContentType="application/vnd.openxmlformats-officedocument.presentationml.tags+xml"/>
  <Override PartName="/ppt/tags/tag735.xml" ContentType="application/vnd.openxmlformats-officedocument.presentationml.tags+xml"/>
  <Override PartName="/ppt/slideLayouts/slideLayout457.xml" ContentType="application/vnd.openxmlformats-officedocument.presentationml.slideLayout+xml"/>
  <Override PartName="/ppt/tags/tag1559.xml" ContentType="application/vnd.openxmlformats-officedocument.presentationml.tags+xml"/>
  <Override PartName="/ppt/slideLayouts/slideLayout73.xml" ContentType="application/vnd.openxmlformats-officedocument.presentationml.slideLayout+xml"/>
  <Override PartName="/ppt/tags/tag243.xml" ContentType="application/vnd.openxmlformats-officedocument.presentationml.tags+xml"/>
  <Override PartName="/ppt/tags/tag921.xml" ContentType="application/vnd.openxmlformats-officedocument.presentationml.tags+xml"/>
  <Override PartName="/ppt/tags/tag1067.xml" ContentType="application/vnd.openxmlformats-officedocument.presentationml.tags+xml"/>
  <Override PartName="/ppt/tags/tag1253.xml" ContentType="application/vnd.openxmlformats-officedocument.presentationml.tags+xml"/>
  <Override PartName="/ppt/tags/tag1745.xml" ContentType="application/vnd.openxmlformats-officedocument.presentationml.tags+xml"/>
  <Override PartName="/ppt/tags/tag1931.xml" ContentType="application/vnd.openxmlformats-officedocument.presentationml.tags+xml"/>
  <Override PartName="/ppt/slideLayouts/slideLayout643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ags/tag2039.xml" ContentType="application/vnd.openxmlformats-officedocument.presentationml.tags+xml"/>
  <Override PartName="/ppt/tags/tag158.xml" ContentType="application/vnd.openxmlformats-officedocument.presentationml.tags+xml"/>
  <Override PartName="/ppt/tags/tag836.xml" ContentType="application/vnd.openxmlformats-officedocument.presentationml.tags+xml"/>
  <Override PartName="/ppt/slideLayouts/slideLayout558.xml" ContentType="application/vnd.openxmlformats-officedocument.presentationml.slideLayout+xml"/>
  <Override PartName="/ppt/tags/tag1846.xml" ContentType="application/vnd.openxmlformats-officedocument.presentationml.tags+xml"/>
  <Override PartName="/ppt/slideMasters/slideMaster60.xml" ContentType="application/vnd.openxmlformats-officedocument.presentationml.slideMaster+xml"/>
  <Override PartName="/ppt/tags/tag43.xml" ContentType="application/vnd.openxmlformats-officedocument.presentationml.tags+xml"/>
  <Override PartName="/ppt/tags/tag344.xml" ContentType="application/vnd.openxmlformats-officedocument.presentationml.tags+xml"/>
  <Override PartName="/ppt/tags/tag530.xml" ContentType="application/vnd.openxmlformats-officedocument.presentationml.tags+xml"/>
  <Override PartName="/ppt/slideLayouts/slideLayout252.xml" ContentType="application/vnd.openxmlformats-officedocument.presentationml.slideLayout+xml"/>
  <Override PartName="/ppt/tags/tag1168.xml" ContentType="application/vnd.openxmlformats-officedocument.presentationml.tags+xml"/>
  <Override PartName="/ppt/tags/tag1354.xml" ContentType="application/vnd.openxmlformats-officedocument.presentationml.tags+xml"/>
  <Override PartName="/ppt/slideLayouts/slideLayout89.xml" ContentType="application/vnd.openxmlformats-officedocument.presentationml.slideLayout+xml"/>
  <Override PartName="/ppt/theme/theme12.xml" ContentType="application/vnd.openxmlformats-officedocument.theme+xml"/>
  <Override PartName="/ppt/tags/tag1540.xml" ContentType="application/vnd.openxmlformats-officedocument.presentationml.tags+xml"/>
  <Override PartName="/ppt/tags/tag259.xml" ContentType="application/vnd.openxmlformats-officedocument.presentationml.tags+xml"/>
  <Override PartName="/ppt/tags/tag937.xml" ContentType="application/vnd.openxmlformats-officedocument.presentationml.tags+xml"/>
  <Override PartName="/ppt/tags/tag1269.xml" ContentType="application/vnd.openxmlformats-officedocument.presentationml.tags+xml"/>
  <Override PartName="/ppt/tags/tag1947.xml" ContentType="application/vnd.openxmlformats-officedocument.presentationml.tags+xml"/>
  <Override PartName="/ppt/tags/tag2020.xml" ContentType="application/vnd.openxmlformats-officedocument.presentationml.tags+xml"/>
  <Override PartName="/ppt/slideLayouts/slideLayout659.xml" ContentType="application/vnd.openxmlformats-officedocument.presentationml.slideLayout+xml"/>
  <Override PartName="/ppt/tags/tag445.xml" ContentType="application/vnd.openxmlformats-officedocument.presentationml.tags+xml"/>
  <Override PartName="/ppt/slideLayouts/slideLayout167.xml" ContentType="application/vnd.openxmlformats-officedocument.presentationml.slideLayout+xml"/>
  <Override PartName="/ppt/tags/tag631.xml" ContentType="application/vnd.openxmlformats-officedocument.presentationml.tags+xml"/>
  <Override PartName="/ppt/slideLayouts/slideLayout353.xml" ContentType="application/vnd.openxmlformats-officedocument.presentationml.slideLayout+xml"/>
  <Override PartName="/ppt/tags/tag1455.xml" ContentType="application/vnd.openxmlformats-officedocument.presentationml.tags+xml"/>
  <Override PartName="/ppt/tags/tag1641.xml" ContentType="application/vnd.openxmlformats-officedocument.presentationml.tags+xml"/>
  <Override PartName="/ppt/tags/tag2190.xml" ContentType="application/vnd.openxmlformats-officedocument.presentationml.tags+xml"/>
  <Override PartName="/ppt/tags/tag59.xml" ContentType="application/vnd.openxmlformats-officedocument.presentationml.tags+xml"/>
  <Override PartName="/ppt/tags/tag546.xml" ContentType="application/vnd.openxmlformats-officedocument.presentationml.tags+xml"/>
  <Override PartName="/ppt/slideLayouts/slideLayout268.xml" ContentType="application/vnd.openxmlformats-officedocument.presentationml.slideLayout+xml"/>
  <Override PartName="/ppt/tags/tag2121.xml" ContentType="application/vnd.openxmlformats-officedocument.presentationml.tags+xml"/>
  <Override PartName="/ppt/slideLayouts/slideLayout70.xml" ContentType="application/vnd.openxmlformats-officedocument.presentationml.slideLayout+xml"/>
  <Override PartName="/ppt/tags/tag732.xml" ContentType="application/vnd.openxmlformats-officedocument.presentationml.tags+xml"/>
  <Override PartName="/ppt/theme/theme28.xml" ContentType="application/vnd.openxmlformats-officedocument.theme+xml"/>
  <Override PartName="/ppt/tags/tag1064.xml" ContentType="application/vnd.openxmlformats-officedocument.presentationml.tags+xml"/>
  <Override PartName="/ppt/slideLayouts/slideLayout454.xml" ContentType="application/vnd.openxmlformats-officedocument.presentationml.slideLayout+xml"/>
  <Override PartName="/ppt/tags/tag1556.xml" ContentType="application/vnd.openxmlformats-officedocument.presentationml.tags+xml"/>
  <Override PartName="/ppt/tags/tag1742.xml" ContentType="application/vnd.openxmlformats-officedocument.presentationml.tags+xml"/>
  <Override PartName="/ppt/slideLayouts/slideLayout640.xml" ContentType="application/vnd.openxmlformats-officedocument.presentationml.slideLayout+xml"/>
  <Override PartName="/ppt/tags/tag240.xml" ContentType="application/vnd.openxmlformats-officedocument.presentationml.tags+xml"/>
  <Override PartName="/ppt/tags/tag1250.xml" ContentType="application/vnd.openxmlformats-officedocument.presentationml.tags+xml"/>
  <Override PartName="/ppt/tags/tag2036.xml" ContentType="application/vnd.openxmlformats-officedocument.presentationml.tags+xml"/>
  <Override PartName="/ppt/tags/tag647.xml" ContentType="application/vnd.openxmlformats-officedocument.presentationml.tags+xml"/>
  <Override PartName="/ppt/slideLayouts/slideLayout369.xml" ContentType="application/vnd.openxmlformats-officedocument.presentationml.slideLayout+xml"/>
  <Override PartName="/ppt/tags/tag1657.xml" ContentType="application/vnd.openxmlformats-officedocument.presentationml.tags+xml"/>
  <Override PartName="/ppt/slideLayouts/slideLayout555.xml" ContentType="application/vnd.openxmlformats-officedocument.presentationml.slideLayout+xml"/>
  <Override PartName="/ppt/slideMasters/slideMaster7.xml" ContentType="application/vnd.openxmlformats-officedocument.presentationml.slideMaster+xml"/>
  <Override PartName="/ppt/tags/tag40.xml" ContentType="application/vnd.openxmlformats-officedocument.presentationml.tags+xml"/>
  <Override PartName="/ppt/tags/tag155.xml" ContentType="application/vnd.openxmlformats-officedocument.presentationml.tags+xml"/>
  <Override PartName="/ppt/tags/tag341.xml" ContentType="application/vnd.openxmlformats-officedocument.presentationml.tags+xml"/>
  <Override PartName="/ppt/tags/tag833.xml" ContentType="application/vnd.openxmlformats-officedocument.presentationml.tags+xml"/>
  <Override PartName="/ppt/tags/tag1165.xml" ContentType="application/vnd.openxmlformats-officedocument.presentationml.tags+xml"/>
  <Override PartName="/ppt/tags/tag1843.xml" ContentType="application/vnd.openxmlformats-officedocument.presentationml.tags+xml"/>
  <Override PartName="/ppt/tags/tag1351.xml" ContentType="application/vnd.openxmlformats-officedocument.presentationml.tags+xml"/>
  <Override PartName="/ppt/tags/tag2137.xml" ContentType="application/vnd.openxmlformats-officedocument.presentationml.tags+xml"/>
  <Override PartName="/ppt/diagrams/data1.xml" ContentType="application/vnd.openxmlformats-officedocument.drawingml.diagramData+xml"/>
  <Override PartName="/ppt/slideLayouts/slideLayout86.xml" ContentType="application/vnd.openxmlformats-officedocument.presentationml.slideLayout+xml"/>
  <Override PartName="/ppt/tags/tag256.xml" ContentType="application/vnd.openxmlformats-officedocument.presentationml.tags+xml"/>
  <Override PartName="/ppt/tags/tag748.xml" ContentType="application/vnd.openxmlformats-officedocument.presentationml.tags+xml"/>
  <Override PartName="/ppt/tags/tag934.xml" ContentType="application/vnd.openxmlformats-officedocument.presentationml.tags+xml"/>
  <Override PartName="/ppt/tags/tag1758.xml" ContentType="application/vnd.openxmlformats-officedocument.presentationml.tags+xml"/>
  <Override PartName="/ppt/slideLayouts/slideLayout656.xml" ContentType="application/vnd.openxmlformats-officedocument.presentationml.slideLayout+xml"/>
  <Override PartName="/ppt/slides/slide18.xml" ContentType="application/vnd.openxmlformats-officedocument.presentationml.slide+xml"/>
  <Override PartName="/ppt/slideLayouts/slideLayout17.xml" ContentType="application/vnd.openxmlformats-officedocument.presentationml.slideLayout+xml"/>
  <Override PartName="/ppt/tags/tag442.xml" ContentType="application/vnd.openxmlformats-officedocument.presentationml.tags+xml"/>
  <Override PartName="/ppt/slideLayouts/slideLayout164.xml" ContentType="application/vnd.openxmlformats-officedocument.presentationml.slideLayout+xml"/>
  <Override PartName="/ppt/slideLayouts/slideLayout350.xml" ContentType="application/vnd.openxmlformats-officedocument.presentationml.slideLayout+xml"/>
  <Override PartName="/ppt/tags/tag1266.xml" ContentType="application/vnd.openxmlformats-officedocument.presentationml.tags+xml"/>
  <Override PartName="/ppt/tags/tag1452.xml" ContentType="application/vnd.openxmlformats-officedocument.presentationml.tags+xml"/>
  <Override PartName="/ppt/tags/tag1944.xml" ContentType="application/vnd.openxmlformats-officedocument.presentationml.tags+xml"/>
  <Override PartName="/ppt/tags/tag849.xml" ContentType="application/vnd.openxmlformats-officedocument.presentationml.tags+xml"/>
  <Override PartName="/ppt/tags/tag56.xml" ContentType="application/vnd.openxmlformats-officedocument.presentationml.tags+xml"/>
  <Override PartName="/ppt/tags/tag357.xml" ContentType="application/vnd.openxmlformats-officedocument.presentationml.tags+xml"/>
  <Override PartName="/ppt/tags/tag1367.xml" ContentType="application/vnd.openxmlformats-officedocument.presentationml.tags+xml"/>
  <Override PartName="/ppt/tags/tag1859.xml" ContentType="application/vnd.openxmlformats-officedocument.presentationml.tags+xml"/>
  <Override PartName="/ppt/tags/tag543.xml" ContentType="application/vnd.openxmlformats-officedocument.presentationml.tags+xml"/>
  <Override PartName="/ppt/slideLayouts/slideLayout265.xml" ContentType="application/vnd.openxmlformats-officedocument.presentationml.slideLayout+xml"/>
  <Override PartName="/ppt/slideLayouts/slideLayout451.xml" ContentType="application/vnd.openxmlformats-officedocument.presentationml.slideLayout+xml"/>
  <Override PartName="/ppt/tags/tag1553.xml" ContentType="application/vnd.openxmlformats-officedocument.presentationml.tags+xml"/>
  <Override PartName="/ppt/theme/theme25.xml" ContentType="application/vnd.openxmlformats-officedocument.theme+xml"/>
  <Override PartName="/ppt/tags/tag1061.xml" ContentType="application/vnd.openxmlformats-officedocument.presentationml.tags+xml"/>
  <Override PartName="/ppt/tags/tag2033.xml" ContentType="application/vnd.openxmlformats-officedocument.presentationml.tags+xml"/>
  <Override PartName="/ppt/tags/tag458.xml" ContentType="application/vnd.openxmlformats-officedocument.presentationml.tags+xml"/>
  <Override PartName="/ppt/tags/tag644.xml" ContentType="application/vnd.openxmlformats-officedocument.presentationml.tags+xml"/>
  <Override PartName="/ppt/slideLayouts/slideLayout366.xml" ContentType="application/vnd.openxmlformats-officedocument.presentationml.slideLayout+xml"/>
  <Override PartName="/ppt/tags/tag1468.xml" ContentType="application/vnd.openxmlformats-officedocument.presentationml.tags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tags/tag152.xml" ContentType="application/vnd.openxmlformats-officedocument.presentationml.tags+xml"/>
  <Override PartName="/ppt/tags/tag830.xml" ContentType="application/vnd.openxmlformats-officedocument.presentationml.tags+xml"/>
  <Override PartName="/ppt/tags/tag1162.xml" ContentType="application/vnd.openxmlformats-officedocument.presentationml.tags+xml"/>
  <Override PartName="/ppt/tags/tag1654.xml" ContentType="application/vnd.openxmlformats-officedocument.presentationml.tags+xml"/>
  <Override PartName="/ppt/slideLayouts/slideLayout552.xml" ContentType="application/vnd.openxmlformats-officedocument.presentationml.slideLayout+xml"/>
  <Override PartName="/ppt/tags/tag1840.xml" ContentType="application/vnd.openxmlformats-officedocument.presentationml.tags+xml"/>
  <Override PartName="/ppt/tags/tag2134.xml" ContentType="application/vnd.openxmlformats-officedocument.presentationml.tags+xml"/>
  <Override PartName="/ppt/slideLayouts/slideLayout83.xml" ContentType="application/vnd.openxmlformats-officedocument.presentationml.slideLayout+xml"/>
  <Override PartName="/ppt/tags/tag559.xml" ContentType="application/vnd.openxmlformats-officedocument.presentationml.tags+xml"/>
  <Override PartName="/ppt/tags/tag745.xml" ContentType="application/vnd.openxmlformats-officedocument.presentationml.tags+xml"/>
  <Override PartName="/ppt/slideLayouts/slideLayout467.xml" ContentType="application/vnd.openxmlformats-officedocument.presentationml.slideLayout+xml"/>
  <Override PartName="/ppt/tags/tag1569.xml" ContentType="application/vnd.openxmlformats-officedocument.presentationml.tags+xml"/>
  <Override PartName="/ppt/tags/tag1755.xml" ContentType="application/vnd.openxmlformats-officedocument.presentationml.tags+xml"/>
  <Override PartName="/ppt/slides/slide15.xml" ContentType="application/vnd.openxmlformats-officedocument.presentationml.slide+xml"/>
  <Override PartName="/ppt/tags/tag253.xml" ContentType="application/vnd.openxmlformats-officedocument.presentationml.tags+xml"/>
  <Override PartName="/ppt/slideLayouts/slideLayout161.xml" ContentType="application/vnd.openxmlformats-officedocument.presentationml.slideLayout+xml"/>
  <Override PartName="/ppt/tags/tag931.xml" ContentType="application/vnd.openxmlformats-officedocument.presentationml.tags+xml"/>
  <Override PartName="/ppt/tags/tag1077.xml" ContentType="application/vnd.openxmlformats-officedocument.presentationml.tags+xml"/>
  <Override PartName="/ppt/tags/tag1263.xml" ContentType="application/vnd.openxmlformats-officedocument.presentationml.tags+xml"/>
  <Override PartName="/ppt/tags/tag1941.xml" ContentType="application/vnd.openxmlformats-officedocument.presentationml.tags+xml"/>
  <Override PartName="/ppt/tags/tag2049.xml" ContentType="application/vnd.openxmlformats-officedocument.presentationml.tags+xml"/>
  <Override PartName="/ppt/slideLayouts/slideLayout65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008.xml" ContentType="application/vnd.openxmlformats-officedocument.presentationml.tags+xml"/>
  <Override PartName="/ppt/slideMasters/slideMaster70.xml" ContentType="application/vnd.openxmlformats-officedocument.presentationml.slideMaster+xml"/>
  <Override PartName="/ppt/tags/tag168.xml" ContentType="application/vnd.openxmlformats-officedocument.presentationml.tags+xml"/>
  <Override PartName="/ppt/tags/tag846.xml" ContentType="application/vnd.openxmlformats-officedocument.presentationml.tags+xml"/>
  <Override PartName="/ppt/tags/tag1178.xml" ContentType="application/vnd.openxmlformats-officedocument.presentationml.tags+xml"/>
  <Override PartName="/ppt/slideLayouts/slideLayout568.xml" ContentType="application/vnd.openxmlformats-officedocument.presentationml.slideLayout+xml"/>
  <Override PartName="/ppt/tags/tag1856.xml" ContentType="application/vnd.openxmlformats-officedocument.presentationml.tags+xml"/>
  <Default Extension="vml" ContentType="application/vnd.openxmlformats-officedocument.vmlDrawing"/>
  <Override PartName="/ppt/tags/tag53.xml" ContentType="application/vnd.openxmlformats-officedocument.presentationml.tags+xml"/>
  <Override PartName="/ppt/tags/tag354.xml" ContentType="application/vnd.openxmlformats-officedocument.presentationml.tags+xml"/>
  <Override PartName="/ppt/tags/tag540.xml" ContentType="application/vnd.openxmlformats-officedocument.presentationml.tags+xml"/>
  <Override PartName="/ppt/slideLayouts/slideLayout262.xml" ContentType="application/vnd.openxmlformats-officedocument.presentationml.slideLayout+xml"/>
  <Override PartName="/ppt/tags/tag1364.xml" ContentType="application/vnd.openxmlformats-officedocument.presentationml.tags+xml"/>
  <Override PartName="/ppt/tags/tag1550.xml" ContentType="application/vnd.openxmlformats-officedocument.presentationml.tags+xml"/>
  <Override PartName="/ppt/slideLayouts/slideLayout99.xml" ContentType="application/vnd.openxmlformats-officedocument.presentationml.slideLayout+xml"/>
  <Override PartName="/ppt/theme/theme22.xml" ContentType="application/vnd.openxmlformats-officedocument.theme+xml"/>
  <Override PartName="/ppt/tags/tag1109.xml" ContentType="application/vnd.openxmlformats-officedocument.presentationml.tags+xml"/>
  <Override PartName="/ppt/tags/tag269.xml" ContentType="application/vnd.openxmlformats-officedocument.presentationml.tags+xml"/>
  <Override PartName="/ppt/tags/tag455.xml" ContentType="application/vnd.openxmlformats-officedocument.presentationml.tags+xml"/>
  <Override PartName="/ppt/slideLayouts/slideLayout177.xml" ContentType="application/vnd.openxmlformats-officedocument.presentationml.slideLayout+xml"/>
  <Override PartName="/ppt/tags/tag947.xml" ContentType="application/vnd.openxmlformats-officedocument.presentationml.tags+xml"/>
  <Override PartName="/ppt/tags/tag1279.xml" ContentType="application/vnd.openxmlformats-officedocument.presentationml.tags+xml"/>
  <Override PartName="/ppt/tags/tag1957.xml" ContentType="application/vnd.openxmlformats-officedocument.presentationml.tags+xml"/>
  <Override PartName="/ppt/tags/tag2030.xml" ContentType="application/vnd.openxmlformats-officedocument.presentationml.tags+xml"/>
  <Override PartName="/ppt/slides/slide6.xml" ContentType="application/vnd.openxmlformats-officedocument.presentationml.slide+xml"/>
  <Override PartName="/ppt/tags/tag641.xml" ContentType="application/vnd.openxmlformats-officedocument.presentationml.tags+xml"/>
  <Override PartName="/ppt/slideLayouts/slideLayout363.xml" ContentType="application/vnd.openxmlformats-officedocument.presentationml.slideLayout+xml"/>
  <Override PartName="/ppt/tags/tag1465.xml" ContentType="application/vnd.openxmlformats-officedocument.presentationml.tags+xml"/>
  <Override PartName="/ppt/tags/tag1651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108.xml" ContentType="application/vnd.openxmlformats-officedocument.presentationml.slideLayout+xml"/>
  <Override PartName="/ppt/tags/tag69.xml" ContentType="application/vnd.openxmlformats-officedocument.presentationml.tags+xml"/>
  <Override PartName="/ppt/tags/tag556.xml" ContentType="application/vnd.openxmlformats-officedocument.presentationml.tags+xml"/>
  <Override PartName="/ppt/slideLayouts/slideLayout278.xml" ContentType="application/vnd.openxmlformats-officedocument.presentationml.slideLayout+xml"/>
  <Override PartName="/ppt/slideLayouts/slideLayout464.xml" ContentType="application/vnd.openxmlformats-officedocument.presentationml.slideLayout+xml"/>
  <Override PartName="/ppt/tags/tag1566.xml" ContentType="application/vnd.openxmlformats-officedocument.presentationml.tags+xml"/>
  <Override PartName="/ppt/tags/tag2131.xml" ContentType="application/vnd.openxmlformats-officedocument.presentationml.tags+xml"/>
  <Default Extension="rels" ContentType="application/vnd.openxmlformats-package.relationships+xml"/>
  <Override PartName="/ppt/slideMasters/slideMaster17.xml" ContentType="application/vnd.openxmlformats-officedocument.presentationml.slideMaster+xml"/>
  <Override PartName="/ppt/slideLayouts/slideLayout80.xml" ContentType="application/vnd.openxmlformats-officedocument.presentationml.slideLayout+xml"/>
  <Override PartName="/ppt/tags/tag250.xml" ContentType="application/vnd.openxmlformats-officedocument.presentationml.tags+xml"/>
  <Override PartName="/ppt/slideLayouts/slideLayout209.xml" ContentType="application/vnd.openxmlformats-officedocument.presentationml.slideLayout+xml"/>
  <Override PartName="/ppt/tags/tag742.xml" ContentType="application/vnd.openxmlformats-officedocument.presentationml.tags+xml"/>
  <Override PartName="/ppt/theme/theme38.xml" ContentType="application/vnd.openxmlformats-officedocument.theme+xml"/>
  <Override PartName="/ppt/tags/tag1074.xml" ContentType="application/vnd.openxmlformats-officedocument.presentationml.tags+xml"/>
  <Override PartName="/ppt/tags/tag1752.xml" ContentType="application/vnd.openxmlformats-officedocument.presentationml.tags+xml"/>
  <Override PartName="/ppt/slideLayouts/slideLayout650.xml" ContentType="application/vnd.openxmlformats-officedocument.presentationml.slideLayout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260.xml" ContentType="application/vnd.openxmlformats-officedocument.presentationml.tags+xml"/>
  <Override PartName="/ppt/tags/tag2046.xml" ContentType="application/vnd.openxmlformats-officedocument.presentationml.tags+xml"/>
  <Override PartName="/ppt/tags/tag165.xml" ContentType="application/vnd.openxmlformats-officedocument.presentationml.tags+xml"/>
  <Override PartName="/ppt/tags/tag657.xml" ContentType="application/vnd.openxmlformats-officedocument.presentationml.tags+xml"/>
  <Override PartName="/ppt/tags/tag843.xml" ContentType="application/vnd.openxmlformats-officedocument.presentationml.tags+xml"/>
  <Override PartName="/ppt/tags/tag1005.xml" ContentType="application/vnd.openxmlformats-officedocument.presentationml.tags+xml"/>
  <Override PartName="/ppt/slideLayouts/slideLayout379.xml" ContentType="application/vnd.openxmlformats-officedocument.presentationml.slideLayout+xml"/>
  <Override PartName="/ppt/tags/tag1667.xml" ContentType="application/vnd.openxmlformats-officedocument.presentationml.tags+xml"/>
  <Override PartName="/ppt/slideLayouts/slideLayout565.xml" ContentType="application/vnd.openxmlformats-officedocument.presentationml.slideLayout+xml"/>
  <Override PartName="/ppt/tags/tag50.xml" ContentType="application/vnd.openxmlformats-officedocument.presentationml.tags+xml"/>
  <Override PartName="/ppt/tags/tag351.xml" ContentType="application/vnd.openxmlformats-officedocument.presentationml.tags+xml"/>
  <Override PartName="/ppt/tags/tag1175.xml" ContentType="application/vnd.openxmlformats-officedocument.presentationml.tags+xml"/>
  <Override PartName="/ppt/tags/tag1361.xml" ContentType="application/vnd.openxmlformats-officedocument.presentationml.tags+xml"/>
  <Override PartName="/ppt/tags/tag1853.xml" ContentType="application/vnd.openxmlformats-officedocument.presentationml.tags+xml"/>
  <Override PartName="/ppt/tags/tag2147.xml" ContentType="application/vnd.openxmlformats-officedocument.presentationml.tags+xml"/>
  <Override PartName="/ppt/tags/tag758.xml" ContentType="application/vnd.openxmlformats-officedocument.presentationml.tags+xml"/>
  <Override PartName="/ppt/tags/tag1106.xml" ContentType="application/vnd.openxmlformats-officedocument.presentationml.tags+xml"/>
  <Override PartName="/ppt/slides/slide28.xml" ContentType="application/vnd.openxmlformats-officedocument.presentationml.slide+xml"/>
  <Override PartName="/ppt/slideLayouts/slideLayout96.xml" ContentType="application/vnd.openxmlformats-officedocument.presentationml.slideLayout+xml"/>
  <Override PartName="/ppt/tags/tag266.xml" ContentType="application/vnd.openxmlformats-officedocument.presentationml.tags+xml"/>
  <Override PartName="/ppt/tags/tag944.xml" ContentType="application/vnd.openxmlformats-officedocument.presentationml.tags+xml"/>
  <Override PartName="/ppt/tags/tag1276.xml" ContentType="application/vnd.openxmlformats-officedocument.presentationml.tags+xml"/>
  <Override PartName="/ppt/tags/tag1768.xml" ContentType="application/vnd.openxmlformats-officedocument.presentationml.tags+xml"/>
  <Override PartName="/ppt/tags/tag1954.xml" ContentType="application/vnd.openxmlformats-officedocument.presentationml.tags+xml"/>
  <Override PartName="/ppt/slides/slide3.xml" ContentType="application/vnd.openxmlformats-officedocument.presentationml.slide+xml"/>
  <Override PartName="/ppt/slideLayouts/slideLayout27.xml" ContentType="application/vnd.openxmlformats-officedocument.presentationml.slideLayout+xml"/>
  <Override PartName="/ppt/tags/tag452.xml" ContentType="application/vnd.openxmlformats-officedocument.presentationml.tags+xml"/>
  <Override PartName="/ppt/slideLayouts/slideLayout174.xml" ContentType="application/vnd.openxmlformats-officedocument.presentationml.slideLayout+xml"/>
  <Override PartName="/ppt/slideLayouts/slideLayout360.xml" ContentType="application/vnd.openxmlformats-officedocument.presentationml.slideLayout+xml"/>
  <Override PartName="/ppt/tags/tag1462.xml" ContentType="application/vnd.openxmlformats-officedocument.presentationml.tags+xml"/>
  <Override PartName="/ppt/notesSlides/notesSlide19.xml" ContentType="application/vnd.openxmlformats-officedocument.presentationml.notesSlide+xml"/>
  <Override PartName="/ppt/slideLayouts/slideLayout105.xml" ContentType="application/vnd.openxmlformats-officedocument.presentationml.slideLayout+xml"/>
  <Override PartName="/ppt/tags/tag859.xml" ContentType="application/vnd.openxmlformats-officedocument.presentationml.tags+xml"/>
  <Override PartName="/ppt/tags/tag1207.xml" ContentType="application/vnd.openxmlformats-officedocument.presentationml.tags+xml"/>
  <Override PartName="/ppt/tags/tag1869.xml" ContentType="application/vnd.openxmlformats-officedocument.presentationml.tags+xml"/>
  <Override PartName="/ppt/tags/tag66.xml" ContentType="application/vnd.openxmlformats-officedocument.presentationml.tags+xml"/>
  <Override PartName="/ppt/tags/tag367.xml" ContentType="application/vnd.openxmlformats-officedocument.presentationml.tags+xml"/>
  <Override PartName="/ppt/tags/tag553.xml" ContentType="application/vnd.openxmlformats-officedocument.presentationml.tags+xml"/>
  <Override PartName="/ppt/slideLayouts/slideLayout275.xml" ContentType="application/vnd.openxmlformats-officedocument.presentationml.slideLayout+xml"/>
  <Override PartName="/ppt/tags/tag1377.xml" ContentType="application/vnd.openxmlformats-officedocument.presentationml.tags+xml"/>
  <Override PartName="/ppt/slideMasters/slideMaster14.xml" ContentType="application/vnd.openxmlformats-officedocument.presentationml.slideMaster+xml"/>
  <Override PartName="/ppt/theme/theme35.xml" ContentType="application/vnd.openxmlformats-officedocument.theme+xml"/>
  <Override PartName="/ppt/slideLayouts/slideLayout461.xml" ContentType="application/vnd.openxmlformats-officedocument.presentationml.slideLayout+xml"/>
  <Override PartName="/ppt/tags/tag1563.xml" ContentType="application/vnd.openxmlformats-officedocument.presentationml.tags+xml"/>
  <Override PartName="/ppt/slideLayouts/slideLayout206.xml" ContentType="application/vnd.openxmlformats-officedocument.presentationml.slideLayout+xml"/>
  <Override PartName="/ppt/tags/tag1071.xml" ContentType="application/vnd.openxmlformats-officedocument.presentationml.tags+xml"/>
  <Override PartName="/ppt/tags/tag1308.xml" ContentType="application/vnd.openxmlformats-officedocument.presentationml.tags+xml"/>
  <Override PartName="/ppt/tags/tag2043.xml" ContentType="application/vnd.openxmlformats-officedocument.presentationml.tags+xml"/>
  <Override PartName="/ppt/tags/tag468.xml" ContentType="application/vnd.openxmlformats-officedocument.presentationml.tags+xml"/>
  <Override PartName="/ppt/tags/tag654.xml" ContentType="application/vnd.openxmlformats-officedocument.presentationml.tags+xml"/>
  <Override PartName="/ppt/tags/tag1002.xml" ContentType="application/vnd.openxmlformats-officedocument.presentationml.tags+xml"/>
  <Override PartName="/ppt/slideLayouts/slideLayout376.xml" ContentType="application/vnd.openxmlformats-officedocument.presentationml.slideLayout+xml"/>
  <Override PartName="/ppt/tags/tag1478.xml" ContentType="application/vnd.openxmlformats-officedocument.presentationml.tags+xml"/>
  <Override PartName="/ppt/tags/tag1664.xml" ContentType="application/vnd.openxmlformats-officedocument.presentationml.tags+xml"/>
  <Override PartName="/ppt/tags/tag162.xml" ContentType="application/vnd.openxmlformats-officedocument.presentationml.tags+xml"/>
  <Override PartName="/ppt/tags/tag840.xml" ContentType="application/vnd.openxmlformats-officedocument.presentationml.tags+xml"/>
  <Override PartName="/ppt/tags/tag1172.xml" ContentType="application/vnd.openxmlformats-officedocument.presentationml.tags+xml"/>
  <Override PartName="/ppt/tags/tag1409.xml" ContentType="application/vnd.openxmlformats-officedocument.presentationml.tags+xml"/>
  <Override PartName="/ppt/tags/tag1850.xml" ContentType="application/vnd.openxmlformats-officedocument.presentationml.tags+xml"/>
  <Override PartName="/ppt/slideLayouts/slideLayout562.xml" ContentType="application/vnd.openxmlformats-officedocument.presentationml.slideLayout+xml"/>
  <Override PartName="/ppt/tags/tag2144.xml" ContentType="application/vnd.openxmlformats-officedocument.presentationml.tags+xml"/>
  <Override PartName="/ppt/slideLayouts/slideLayout93.xml" ContentType="application/vnd.openxmlformats-officedocument.presentationml.slideLayout+xml"/>
  <Override PartName="/ppt/tags/tag755.xml" ContentType="application/vnd.openxmlformats-officedocument.presentationml.tags+xml"/>
  <Override PartName="/ppt/tags/tag1087.xml" ContentType="application/vnd.openxmlformats-officedocument.presentationml.tags+xml"/>
  <Override PartName="/ppt/tags/tag1103.xml" ContentType="application/vnd.openxmlformats-officedocument.presentationml.tags+xml"/>
  <Override PartName="/ppt/slideLayouts/slideLayout477.xml" ContentType="application/vnd.openxmlformats-officedocument.presentationml.slideLayout+xml"/>
  <Override PartName="/ppt/tags/tag1579.xml" ContentType="application/vnd.openxmlformats-officedocument.presentationml.tags+xml"/>
  <Override PartName="/ppt/tags/tag263.xml" ContentType="application/vnd.openxmlformats-officedocument.presentationml.tags+xml"/>
  <Override PartName="/ppt/tags/tag1951.xml" ContentType="application/vnd.openxmlformats-officedocument.presentationml.tags+xml"/>
  <Override PartName="/ppt/tags/tag1204.xml" ContentType="application/vnd.openxmlformats-officedocument.presentationml.tags+xml"/>
  <Override PartName="/ppt/slideLayouts/slideLayout578.xml" ContentType="application/vnd.openxmlformats-officedocument.presentationml.slideLayout+xml"/>
  <Override PartName="/ppt/notesSlides/notesSlide16.xml" ContentType="application/vnd.openxmlformats-officedocument.presentationml.notesSlide+xml"/>
  <Override PartName="/ppt/tags/tag63.xml" ContentType="application/vnd.openxmlformats-officedocument.presentationml.tags+xml"/>
  <Override PartName="/ppt/slideLayouts/slideLayout102.xml" ContentType="application/vnd.openxmlformats-officedocument.presentationml.slideLayout+xml"/>
  <Override PartName="/ppt/tags/tag364.xml" ContentType="application/vnd.openxmlformats-officedocument.presentationml.tags+xml"/>
  <Override PartName="/ppt/tags/tag856.xml" ContentType="application/vnd.openxmlformats-officedocument.presentationml.tags+xml"/>
  <Override PartName="/ppt/tags/tag1188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4"/>
    <p:sldMasterId id="2147483939" r:id="rId5"/>
    <p:sldMasterId id="2147483946" r:id="rId6"/>
    <p:sldMasterId id="2147483971" r:id="rId7"/>
    <p:sldMasterId id="2147483989" r:id="rId8"/>
    <p:sldMasterId id="2147484001" r:id="rId9"/>
    <p:sldMasterId id="2147484006" r:id="rId10"/>
    <p:sldMasterId id="2147484018" r:id="rId11"/>
    <p:sldMasterId id="2147484026" r:id="rId12"/>
    <p:sldMasterId id="2147484037" r:id="rId13"/>
    <p:sldMasterId id="2147484045" r:id="rId14"/>
    <p:sldMasterId id="2147484056" r:id="rId15"/>
    <p:sldMasterId id="2147484067" r:id="rId16"/>
    <p:sldMasterId id="2147484078" r:id="rId17"/>
    <p:sldMasterId id="2147484089" r:id="rId18"/>
    <p:sldMasterId id="2147484097" r:id="rId19"/>
    <p:sldMasterId id="2147484108" r:id="rId20"/>
    <p:sldMasterId id="2147484119" r:id="rId21"/>
    <p:sldMasterId id="2147484130" r:id="rId22"/>
    <p:sldMasterId id="2147484141" r:id="rId23"/>
    <p:sldMasterId id="2147484149" r:id="rId24"/>
    <p:sldMasterId id="2147484160" r:id="rId25"/>
    <p:sldMasterId id="2147484171" r:id="rId26"/>
    <p:sldMasterId id="2147484182" r:id="rId27"/>
    <p:sldMasterId id="2147484193" r:id="rId28"/>
    <p:sldMasterId id="2147484204" r:id="rId29"/>
    <p:sldMasterId id="2147484215" r:id="rId30"/>
    <p:sldMasterId id="2147484226" r:id="rId31"/>
    <p:sldMasterId id="2147484234" r:id="rId32"/>
    <p:sldMasterId id="2147484245" r:id="rId33"/>
    <p:sldMasterId id="2147484256" r:id="rId34"/>
    <p:sldMasterId id="2147484267" r:id="rId35"/>
    <p:sldMasterId id="2147484278" r:id="rId36"/>
    <p:sldMasterId id="2147484289" r:id="rId37"/>
    <p:sldMasterId id="2147484300" r:id="rId38"/>
    <p:sldMasterId id="2147484311" r:id="rId39"/>
    <p:sldMasterId id="2147484319" r:id="rId40"/>
    <p:sldMasterId id="2147484330" r:id="rId41"/>
    <p:sldMasterId id="2147484341" r:id="rId42"/>
    <p:sldMasterId id="2147484352" r:id="rId43"/>
    <p:sldMasterId id="2147484363" r:id="rId44"/>
    <p:sldMasterId id="2147484374" r:id="rId45"/>
    <p:sldMasterId id="2147484385" r:id="rId46"/>
    <p:sldMasterId id="2147484396" r:id="rId47"/>
    <p:sldMasterId id="2147484407" r:id="rId48"/>
    <p:sldMasterId id="2147484418" r:id="rId49"/>
    <p:sldMasterId id="2147484429" r:id="rId50"/>
    <p:sldMasterId id="2147484440" r:id="rId51"/>
    <p:sldMasterId id="2147484451" r:id="rId52"/>
    <p:sldMasterId id="2147484462" r:id="rId53"/>
    <p:sldMasterId id="2147484473" r:id="rId54"/>
    <p:sldMasterId id="2147484484" r:id="rId55"/>
    <p:sldMasterId id="2147484492" r:id="rId56"/>
    <p:sldMasterId id="2147484503" r:id="rId57"/>
    <p:sldMasterId id="2147484514" r:id="rId58"/>
    <p:sldMasterId id="2147484525" r:id="rId59"/>
    <p:sldMasterId id="2147484536" r:id="rId60"/>
    <p:sldMasterId id="2147484547" r:id="rId61"/>
    <p:sldMasterId id="2147484558" r:id="rId62"/>
    <p:sldMasterId id="2147484569" r:id="rId63"/>
    <p:sldMasterId id="2147484580" r:id="rId64"/>
    <p:sldMasterId id="2147484591" r:id="rId65"/>
    <p:sldMasterId id="2147484602" r:id="rId66"/>
    <p:sldMasterId id="2147484613" r:id="rId67"/>
    <p:sldMasterId id="2147484624" r:id="rId68"/>
    <p:sldMasterId id="2147484635" r:id="rId69"/>
    <p:sldMasterId id="2147484646" r:id="rId70"/>
    <p:sldMasterId id="2147484657" r:id="rId71"/>
    <p:sldMasterId id="2147484668" r:id="rId72"/>
    <p:sldMasterId id="2147484679" r:id="rId73"/>
  </p:sldMasterIdLst>
  <p:notesMasterIdLst>
    <p:notesMasterId r:id="rId118"/>
  </p:notesMasterIdLst>
  <p:handoutMasterIdLst>
    <p:handoutMasterId r:id="rId119"/>
  </p:handoutMasterIdLst>
  <p:sldIdLst>
    <p:sldId id="311" r:id="rId74"/>
    <p:sldId id="532" r:id="rId75"/>
    <p:sldId id="421" r:id="rId76"/>
    <p:sldId id="422" r:id="rId77"/>
    <p:sldId id="452" r:id="rId78"/>
    <p:sldId id="499" r:id="rId79"/>
    <p:sldId id="500" r:id="rId80"/>
    <p:sldId id="454" r:id="rId81"/>
    <p:sldId id="455" r:id="rId82"/>
    <p:sldId id="456" r:id="rId83"/>
    <p:sldId id="457" r:id="rId84"/>
    <p:sldId id="458" r:id="rId85"/>
    <p:sldId id="459" r:id="rId86"/>
    <p:sldId id="460" r:id="rId87"/>
    <p:sldId id="502" r:id="rId88"/>
    <p:sldId id="463" r:id="rId89"/>
    <p:sldId id="503" r:id="rId90"/>
    <p:sldId id="504" r:id="rId91"/>
    <p:sldId id="505" r:id="rId92"/>
    <p:sldId id="506" r:id="rId93"/>
    <p:sldId id="464" r:id="rId94"/>
    <p:sldId id="509" r:id="rId95"/>
    <p:sldId id="510" r:id="rId96"/>
    <p:sldId id="511" r:id="rId97"/>
    <p:sldId id="512" r:id="rId98"/>
    <p:sldId id="513" r:id="rId99"/>
    <p:sldId id="514" r:id="rId100"/>
    <p:sldId id="515" r:id="rId101"/>
    <p:sldId id="516" r:id="rId102"/>
    <p:sldId id="517" r:id="rId103"/>
    <p:sldId id="518" r:id="rId104"/>
    <p:sldId id="519" r:id="rId105"/>
    <p:sldId id="527" r:id="rId106"/>
    <p:sldId id="520" r:id="rId107"/>
    <p:sldId id="521" r:id="rId108"/>
    <p:sldId id="522" r:id="rId109"/>
    <p:sldId id="523" r:id="rId110"/>
    <p:sldId id="524" r:id="rId111"/>
    <p:sldId id="525" r:id="rId112"/>
    <p:sldId id="528" r:id="rId113"/>
    <p:sldId id="529" r:id="rId114"/>
    <p:sldId id="530" r:id="rId115"/>
    <p:sldId id="526" r:id="rId116"/>
    <p:sldId id="329" r:id="rId117"/>
  </p:sldIdLst>
  <p:sldSz cx="9906000" cy="6858000" type="A4"/>
  <p:notesSz cx="6797675" cy="9874250"/>
  <p:custDataLst>
    <p:tags r:id="rId120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>
          <p15:clr>
            <a:srgbClr val="A4A3A4"/>
          </p15:clr>
        </p15:guide>
        <p15:guide id="2" orient="horz" pos="952">
          <p15:clr>
            <a:srgbClr val="A4A3A4"/>
          </p15:clr>
        </p15:guide>
        <p15:guide id="3" orient="horz" pos="3954">
          <p15:clr>
            <a:srgbClr val="A4A3A4"/>
          </p15:clr>
        </p15:guide>
        <p15:guide id="4" orient="horz" pos="2453">
          <p15:clr>
            <a:srgbClr val="A4A3A4"/>
          </p15:clr>
        </p15:guide>
        <p15:guide id="5" orient="horz" pos="2514">
          <p15:clr>
            <a:srgbClr val="A4A3A4"/>
          </p15:clr>
        </p15:guide>
        <p15:guide id="6" orient="horz" pos="2391">
          <p15:clr>
            <a:srgbClr val="A4A3A4"/>
          </p15:clr>
        </p15:guide>
        <p15:guide id="7" pos="3122">
          <p15:clr>
            <a:srgbClr val="A4A3A4"/>
          </p15:clr>
        </p15:guide>
        <p15:guide id="8" pos="200">
          <p15:clr>
            <a:srgbClr val="A4A3A4"/>
          </p15:clr>
        </p15:guide>
        <p15:guide id="9" pos="3209">
          <p15:clr>
            <a:srgbClr val="A4A3A4"/>
          </p15:clr>
        </p15:guide>
        <p15:guide id="10" pos="3034">
          <p15:clr>
            <a:srgbClr val="A4A3A4"/>
          </p15:clr>
        </p15:guide>
        <p15:guide id="11" pos="604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09090"/>
    <a:srgbClr val="005B7C"/>
    <a:srgbClr val="000000"/>
    <a:srgbClr val="A2BFAF"/>
    <a:srgbClr val="ACB7B2"/>
    <a:srgbClr val="AF1C63"/>
    <a:srgbClr val="6A9529"/>
    <a:srgbClr val="00A0D6"/>
    <a:srgbClr val="0085B3"/>
    <a:srgbClr val="FFC72C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735" autoAdjust="0"/>
    <p:restoredTop sz="89785" autoAdjust="0"/>
  </p:normalViewPr>
  <p:slideViewPr>
    <p:cSldViewPr snapToGrid="0">
      <p:cViewPr varScale="1">
        <p:scale>
          <a:sx n="82" d="100"/>
          <a:sy n="82" d="100"/>
        </p:scale>
        <p:origin x="-1890" y="-84"/>
      </p:cViewPr>
      <p:guideLst>
        <p:guide orient="horz"/>
        <p:guide orient="horz" pos="952"/>
        <p:guide orient="horz" pos="3954"/>
        <p:guide orient="horz" pos="2453"/>
        <p:guide orient="horz" pos="2514"/>
        <p:guide orient="horz" pos="2391"/>
        <p:guide pos="3122"/>
        <p:guide pos="200"/>
        <p:guide pos="3209"/>
        <p:guide pos="3034"/>
        <p:guide pos="604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-1554" y="3018"/>
      </p:cViewPr>
      <p:guideLst>
        <p:guide orient="horz" pos="3110"/>
        <p:guide pos="2141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Master" Target="slideMasters/slideMaster23.xml"/><Relationship Id="rId117" Type="http://schemas.openxmlformats.org/officeDocument/2006/relationships/slide" Target="slides/slide44.xml"/><Relationship Id="rId21" Type="http://schemas.openxmlformats.org/officeDocument/2006/relationships/slideMaster" Target="slideMasters/slideMaster18.xml"/><Relationship Id="rId42" Type="http://schemas.openxmlformats.org/officeDocument/2006/relationships/slideMaster" Target="slideMasters/slideMaster39.xml"/><Relationship Id="rId47" Type="http://schemas.openxmlformats.org/officeDocument/2006/relationships/slideMaster" Target="slideMasters/slideMaster44.xml"/><Relationship Id="rId63" Type="http://schemas.openxmlformats.org/officeDocument/2006/relationships/slideMaster" Target="slideMasters/slideMaster60.xml"/><Relationship Id="rId68" Type="http://schemas.openxmlformats.org/officeDocument/2006/relationships/slideMaster" Target="slideMasters/slideMaster65.xml"/><Relationship Id="rId84" Type="http://schemas.openxmlformats.org/officeDocument/2006/relationships/slide" Target="slides/slide11.xml"/><Relationship Id="rId89" Type="http://schemas.openxmlformats.org/officeDocument/2006/relationships/slide" Target="slides/slide16.xml"/><Relationship Id="rId112" Type="http://schemas.openxmlformats.org/officeDocument/2006/relationships/slide" Target="slides/slide39.xml"/><Relationship Id="rId16" Type="http://schemas.openxmlformats.org/officeDocument/2006/relationships/slideMaster" Target="slideMasters/slideMaster13.xml"/><Relationship Id="rId107" Type="http://schemas.openxmlformats.org/officeDocument/2006/relationships/slide" Target="slides/slide34.xml"/><Relationship Id="rId11" Type="http://schemas.openxmlformats.org/officeDocument/2006/relationships/slideMaster" Target="slideMasters/slideMaster8.xml"/><Relationship Id="rId32" Type="http://schemas.openxmlformats.org/officeDocument/2006/relationships/slideMaster" Target="slideMasters/slideMaster29.xml"/><Relationship Id="rId37" Type="http://schemas.openxmlformats.org/officeDocument/2006/relationships/slideMaster" Target="slideMasters/slideMaster34.xml"/><Relationship Id="rId53" Type="http://schemas.openxmlformats.org/officeDocument/2006/relationships/slideMaster" Target="slideMasters/slideMaster50.xml"/><Relationship Id="rId58" Type="http://schemas.openxmlformats.org/officeDocument/2006/relationships/slideMaster" Target="slideMasters/slideMaster55.xml"/><Relationship Id="rId74" Type="http://schemas.openxmlformats.org/officeDocument/2006/relationships/slide" Target="slides/slide1.xml"/><Relationship Id="rId79" Type="http://schemas.openxmlformats.org/officeDocument/2006/relationships/slide" Target="slides/slide6.xml"/><Relationship Id="rId102" Type="http://schemas.openxmlformats.org/officeDocument/2006/relationships/slide" Target="slides/slide29.xml"/><Relationship Id="rId123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61" Type="http://schemas.openxmlformats.org/officeDocument/2006/relationships/slideMaster" Target="slideMasters/slideMaster58.xml"/><Relationship Id="rId82" Type="http://schemas.openxmlformats.org/officeDocument/2006/relationships/slide" Target="slides/slide9.xml"/><Relationship Id="rId90" Type="http://schemas.openxmlformats.org/officeDocument/2006/relationships/slide" Target="slides/slide17.xml"/><Relationship Id="rId95" Type="http://schemas.openxmlformats.org/officeDocument/2006/relationships/slide" Target="slides/slide22.xml"/><Relationship Id="rId19" Type="http://schemas.openxmlformats.org/officeDocument/2006/relationships/slideMaster" Target="slideMasters/slideMaster1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Master" Target="slideMasters/slideMaster24.xml"/><Relationship Id="rId30" Type="http://schemas.openxmlformats.org/officeDocument/2006/relationships/slideMaster" Target="slideMasters/slideMaster27.xml"/><Relationship Id="rId35" Type="http://schemas.openxmlformats.org/officeDocument/2006/relationships/slideMaster" Target="slideMasters/slideMaster32.xml"/><Relationship Id="rId43" Type="http://schemas.openxmlformats.org/officeDocument/2006/relationships/slideMaster" Target="slideMasters/slideMaster40.xml"/><Relationship Id="rId48" Type="http://schemas.openxmlformats.org/officeDocument/2006/relationships/slideMaster" Target="slideMasters/slideMaster45.xml"/><Relationship Id="rId56" Type="http://schemas.openxmlformats.org/officeDocument/2006/relationships/slideMaster" Target="slideMasters/slideMaster53.xml"/><Relationship Id="rId64" Type="http://schemas.openxmlformats.org/officeDocument/2006/relationships/slideMaster" Target="slideMasters/slideMaster61.xml"/><Relationship Id="rId69" Type="http://schemas.openxmlformats.org/officeDocument/2006/relationships/slideMaster" Target="slideMasters/slideMaster66.xml"/><Relationship Id="rId77" Type="http://schemas.openxmlformats.org/officeDocument/2006/relationships/slide" Target="slides/slide4.xml"/><Relationship Id="rId100" Type="http://schemas.openxmlformats.org/officeDocument/2006/relationships/slide" Target="slides/slide27.xml"/><Relationship Id="rId105" Type="http://schemas.openxmlformats.org/officeDocument/2006/relationships/slide" Target="slides/slide32.xml"/><Relationship Id="rId113" Type="http://schemas.openxmlformats.org/officeDocument/2006/relationships/slide" Target="slides/slide40.xml"/><Relationship Id="rId118" Type="http://schemas.openxmlformats.org/officeDocument/2006/relationships/notesMaster" Target="notesMasters/notesMaster1.xml"/><Relationship Id="rId8" Type="http://schemas.openxmlformats.org/officeDocument/2006/relationships/slideMaster" Target="slideMasters/slideMaster5.xml"/><Relationship Id="rId51" Type="http://schemas.openxmlformats.org/officeDocument/2006/relationships/slideMaster" Target="slideMasters/slideMaster48.xml"/><Relationship Id="rId72" Type="http://schemas.openxmlformats.org/officeDocument/2006/relationships/slideMaster" Target="slideMasters/slideMaster69.xml"/><Relationship Id="rId80" Type="http://schemas.openxmlformats.org/officeDocument/2006/relationships/slide" Target="slides/slide7.xml"/><Relationship Id="rId85" Type="http://schemas.openxmlformats.org/officeDocument/2006/relationships/slide" Target="slides/slide12.xml"/><Relationship Id="rId93" Type="http://schemas.openxmlformats.org/officeDocument/2006/relationships/slide" Target="slides/slide20.xml"/><Relationship Id="rId98" Type="http://schemas.openxmlformats.org/officeDocument/2006/relationships/slide" Target="slides/slide25.xml"/><Relationship Id="rId121" Type="http://schemas.openxmlformats.org/officeDocument/2006/relationships/presProps" Target="presProps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Master" Target="slideMasters/slideMaster22.xml"/><Relationship Id="rId33" Type="http://schemas.openxmlformats.org/officeDocument/2006/relationships/slideMaster" Target="slideMasters/slideMaster30.xml"/><Relationship Id="rId38" Type="http://schemas.openxmlformats.org/officeDocument/2006/relationships/slideMaster" Target="slideMasters/slideMaster35.xml"/><Relationship Id="rId46" Type="http://schemas.openxmlformats.org/officeDocument/2006/relationships/slideMaster" Target="slideMasters/slideMaster43.xml"/><Relationship Id="rId59" Type="http://schemas.openxmlformats.org/officeDocument/2006/relationships/slideMaster" Target="slideMasters/slideMaster56.xml"/><Relationship Id="rId67" Type="http://schemas.openxmlformats.org/officeDocument/2006/relationships/slideMaster" Target="slideMasters/slideMaster64.xml"/><Relationship Id="rId103" Type="http://schemas.openxmlformats.org/officeDocument/2006/relationships/slide" Target="slides/slide30.xml"/><Relationship Id="rId108" Type="http://schemas.openxmlformats.org/officeDocument/2006/relationships/slide" Target="slides/slide35.xml"/><Relationship Id="rId116" Type="http://schemas.openxmlformats.org/officeDocument/2006/relationships/slide" Target="slides/slide43.xml"/><Relationship Id="rId124" Type="http://schemas.openxmlformats.org/officeDocument/2006/relationships/tableStyles" Target="tableStyles.xml"/><Relationship Id="rId20" Type="http://schemas.openxmlformats.org/officeDocument/2006/relationships/slideMaster" Target="slideMasters/slideMaster17.xml"/><Relationship Id="rId41" Type="http://schemas.openxmlformats.org/officeDocument/2006/relationships/slideMaster" Target="slideMasters/slideMaster38.xml"/><Relationship Id="rId54" Type="http://schemas.openxmlformats.org/officeDocument/2006/relationships/slideMaster" Target="slideMasters/slideMaster51.xml"/><Relationship Id="rId62" Type="http://schemas.openxmlformats.org/officeDocument/2006/relationships/slideMaster" Target="slideMasters/slideMaster59.xml"/><Relationship Id="rId70" Type="http://schemas.openxmlformats.org/officeDocument/2006/relationships/slideMaster" Target="slideMasters/slideMaster67.xml"/><Relationship Id="rId75" Type="http://schemas.openxmlformats.org/officeDocument/2006/relationships/slide" Target="slides/slide2.xml"/><Relationship Id="rId83" Type="http://schemas.openxmlformats.org/officeDocument/2006/relationships/slide" Target="slides/slide10.xml"/><Relationship Id="rId88" Type="http://schemas.openxmlformats.org/officeDocument/2006/relationships/slide" Target="slides/slide15.xml"/><Relationship Id="rId91" Type="http://schemas.openxmlformats.org/officeDocument/2006/relationships/slide" Target="slides/slide18.xml"/><Relationship Id="rId96" Type="http://schemas.openxmlformats.org/officeDocument/2006/relationships/slide" Target="slides/slide23.xml"/><Relationship Id="rId111" Type="http://schemas.openxmlformats.org/officeDocument/2006/relationships/slide" Target="slides/slide3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Master" Target="slideMasters/slideMaster25.xml"/><Relationship Id="rId36" Type="http://schemas.openxmlformats.org/officeDocument/2006/relationships/slideMaster" Target="slideMasters/slideMaster33.xml"/><Relationship Id="rId49" Type="http://schemas.openxmlformats.org/officeDocument/2006/relationships/slideMaster" Target="slideMasters/slideMaster46.xml"/><Relationship Id="rId57" Type="http://schemas.openxmlformats.org/officeDocument/2006/relationships/slideMaster" Target="slideMasters/slideMaster54.xml"/><Relationship Id="rId106" Type="http://schemas.openxmlformats.org/officeDocument/2006/relationships/slide" Target="slides/slide33.xml"/><Relationship Id="rId114" Type="http://schemas.openxmlformats.org/officeDocument/2006/relationships/slide" Target="slides/slide41.xml"/><Relationship Id="rId119" Type="http://schemas.openxmlformats.org/officeDocument/2006/relationships/handoutMaster" Target="handoutMasters/handoutMaster1.xml"/><Relationship Id="rId10" Type="http://schemas.openxmlformats.org/officeDocument/2006/relationships/slideMaster" Target="slideMasters/slideMaster7.xml"/><Relationship Id="rId31" Type="http://schemas.openxmlformats.org/officeDocument/2006/relationships/slideMaster" Target="slideMasters/slideMaster28.xml"/><Relationship Id="rId44" Type="http://schemas.openxmlformats.org/officeDocument/2006/relationships/slideMaster" Target="slideMasters/slideMaster41.xml"/><Relationship Id="rId52" Type="http://schemas.openxmlformats.org/officeDocument/2006/relationships/slideMaster" Target="slideMasters/slideMaster49.xml"/><Relationship Id="rId60" Type="http://schemas.openxmlformats.org/officeDocument/2006/relationships/slideMaster" Target="slideMasters/slideMaster57.xml"/><Relationship Id="rId65" Type="http://schemas.openxmlformats.org/officeDocument/2006/relationships/slideMaster" Target="slideMasters/slideMaster62.xml"/><Relationship Id="rId73" Type="http://schemas.openxmlformats.org/officeDocument/2006/relationships/slideMaster" Target="slideMasters/slideMaster70.xml"/><Relationship Id="rId78" Type="http://schemas.openxmlformats.org/officeDocument/2006/relationships/slide" Target="slides/slide5.xml"/><Relationship Id="rId81" Type="http://schemas.openxmlformats.org/officeDocument/2006/relationships/slide" Target="slides/slide8.xml"/><Relationship Id="rId86" Type="http://schemas.openxmlformats.org/officeDocument/2006/relationships/slide" Target="slides/slide13.xml"/><Relationship Id="rId94" Type="http://schemas.openxmlformats.org/officeDocument/2006/relationships/slide" Target="slides/slide21.xml"/><Relationship Id="rId99" Type="http://schemas.openxmlformats.org/officeDocument/2006/relationships/slide" Target="slides/slide26.xml"/><Relationship Id="rId101" Type="http://schemas.openxmlformats.org/officeDocument/2006/relationships/slide" Target="slides/slide28.xml"/><Relationship Id="rId122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39" Type="http://schemas.openxmlformats.org/officeDocument/2006/relationships/slideMaster" Target="slideMasters/slideMaster36.xml"/><Relationship Id="rId109" Type="http://schemas.openxmlformats.org/officeDocument/2006/relationships/slide" Target="slides/slide36.xml"/><Relationship Id="rId34" Type="http://schemas.openxmlformats.org/officeDocument/2006/relationships/slideMaster" Target="slideMasters/slideMaster31.xml"/><Relationship Id="rId50" Type="http://schemas.openxmlformats.org/officeDocument/2006/relationships/slideMaster" Target="slideMasters/slideMaster47.xml"/><Relationship Id="rId55" Type="http://schemas.openxmlformats.org/officeDocument/2006/relationships/slideMaster" Target="slideMasters/slideMaster52.xml"/><Relationship Id="rId76" Type="http://schemas.openxmlformats.org/officeDocument/2006/relationships/slide" Target="slides/slide3.xml"/><Relationship Id="rId97" Type="http://schemas.openxmlformats.org/officeDocument/2006/relationships/slide" Target="slides/slide24.xml"/><Relationship Id="rId104" Type="http://schemas.openxmlformats.org/officeDocument/2006/relationships/slide" Target="slides/slide31.xml"/><Relationship Id="rId120" Type="http://schemas.openxmlformats.org/officeDocument/2006/relationships/tags" Target="tags/tag1.xml"/><Relationship Id="rId7" Type="http://schemas.openxmlformats.org/officeDocument/2006/relationships/slideMaster" Target="slideMasters/slideMaster4.xml"/><Relationship Id="rId71" Type="http://schemas.openxmlformats.org/officeDocument/2006/relationships/slideMaster" Target="slideMasters/slideMaster68.xml"/><Relationship Id="rId92" Type="http://schemas.openxmlformats.org/officeDocument/2006/relationships/slide" Target="slides/slide19.xml"/><Relationship Id="rId2" Type="http://schemas.openxmlformats.org/officeDocument/2006/relationships/customXml" Target="../customXml/item2.xml"/><Relationship Id="rId29" Type="http://schemas.openxmlformats.org/officeDocument/2006/relationships/slideMaster" Target="slideMasters/slideMaster26.xml"/><Relationship Id="rId24" Type="http://schemas.openxmlformats.org/officeDocument/2006/relationships/slideMaster" Target="slideMasters/slideMaster21.xml"/><Relationship Id="rId40" Type="http://schemas.openxmlformats.org/officeDocument/2006/relationships/slideMaster" Target="slideMasters/slideMaster37.xml"/><Relationship Id="rId45" Type="http://schemas.openxmlformats.org/officeDocument/2006/relationships/slideMaster" Target="slideMasters/slideMaster42.xml"/><Relationship Id="rId66" Type="http://schemas.openxmlformats.org/officeDocument/2006/relationships/slideMaster" Target="slideMasters/slideMaster63.xml"/><Relationship Id="rId87" Type="http://schemas.openxmlformats.org/officeDocument/2006/relationships/slide" Target="slides/slide14.xml"/><Relationship Id="rId110" Type="http://schemas.openxmlformats.org/officeDocument/2006/relationships/slide" Target="slides/slide37.xml"/><Relationship Id="rId115" Type="http://schemas.openxmlformats.org/officeDocument/2006/relationships/slide" Target="slides/slide4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AD77C4F-99EA-4168-B656-817F43E4AEDD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1CF2C919-C478-4760-80E9-683004BC656F}">
      <dgm:prSet phldrT="[Text]" custT="1"/>
      <dgm:spPr/>
      <dgm:t>
        <a:bodyPr/>
        <a:lstStyle/>
        <a:p>
          <a:r>
            <a:rPr lang="en-US" sz="2000" b="1" dirty="0" smtClean="0"/>
            <a:t>Mocking Concepts</a:t>
          </a:r>
          <a:endParaRPr lang="en-US" sz="2000" b="1" dirty="0"/>
        </a:p>
      </dgm:t>
    </dgm:pt>
    <dgm:pt modelId="{8933168D-0FCC-465A-B2C2-62F89CA9B512}" type="parTrans" cxnId="{462F56CF-A57E-4D32-9FDE-101E0B73081C}">
      <dgm:prSet/>
      <dgm:spPr/>
      <dgm:t>
        <a:bodyPr/>
        <a:lstStyle/>
        <a:p>
          <a:endParaRPr lang="en-US" sz="2000" b="1"/>
        </a:p>
      </dgm:t>
    </dgm:pt>
    <dgm:pt modelId="{DC91ED43-DCA8-48BD-BF9E-8C6160DD5309}" type="sibTrans" cxnId="{462F56CF-A57E-4D32-9FDE-101E0B73081C}">
      <dgm:prSet/>
      <dgm:spPr/>
      <dgm:t>
        <a:bodyPr/>
        <a:lstStyle/>
        <a:p>
          <a:endParaRPr lang="en-US" sz="2000" b="1"/>
        </a:p>
      </dgm:t>
    </dgm:pt>
    <dgm:pt modelId="{D1EE4252-C3FF-40AE-8CE2-1C381E4ABC87}">
      <dgm:prSet phldrT="[Text]" custT="1"/>
      <dgm:spPr/>
      <dgm:t>
        <a:bodyPr/>
        <a:lstStyle/>
        <a:p>
          <a:r>
            <a:rPr lang="en-US" sz="2000" b="1" dirty="0" smtClean="0"/>
            <a:t>Mockito Basic Features</a:t>
          </a:r>
          <a:endParaRPr lang="en-US" sz="2000" b="1" dirty="0"/>
        </a:p>
      </dgm:t>
    </dgm:pt>
    <dgm:pt modelId="{593414DC-D4BC-4AEF-8A88-24EECC66081A}" type="parTrans" cxnId="{4B08EF43-C6CF-43A3-869C-E7D61474D2F9}">
      <dgm:prSet/>
      <dgm:spPr/>
      <dgm:t>
        <a:bodyPr/>
        <a:lstStyle/>
        <a:p>
          <a:endParaRPr lang="en-US" sz="2000" b="1"/>
        </a:p>
      </dgm:t>
    </dgm:pt>
    <dgm:pt modelId="{2C1023B0-9DB5-4293-8749-21D3D91DC30A}" type="sibTrans" cxnId="{4B08EF43-C6CF-43A3-869C-E7D61474D2F9}">
      <dgm:prSet/>
      <dgm:spPr/>
      <dgm:t>
        <a:bodyPr/>
        <a:lstStyle/>
        <a:p>
          <a:endParaRPr lang="en-US" sz="2000" b="1"/>
        </a:p>
      </dgm:t>
    </dgm:pt>
    <dgm:pt modelId="{AE2A165E-DC6C-491E-A84D-852903DF1621}">
      <dgm:prSet phldrT="[Text]" custT="1"/>
      <dgm:spPr/>
      <dgm:t>
        <a:bodyPr/>
        <a:lstStyle/>
        <a:p>
          <a:r>
            <a:rPr lang="en-US" sz="2000" b="1" dirty="0" smtClean="0"/>
            <a:t>Set up</a:t>
          </a:r>
          <a:endParaRPr lang="en-US" sz="2000" b="1" dirty="0"/>
        </a:p>
      </dgm:t>
    </dgm:pt>
    <dgm:pt modelId="{8BB58322-4F0A-44D3-BDC8-3DEE2223CF47}" type="parTrans" cxnId="{6A1E6100-BF5C-4C23-AA3C-828733543650}">
      <dgm:prSet/>
      <dgm:spPr/>
      <dgm:t>
        <a:bodyPr/>
        <a:lstStyle/>
        <a:p>
          <a:endParaRPr lang="en-US" sz="2000" b="1"/>
        </a:p>
      </dgm:t>
    </dgm:pt>
    <dgm:pt modelId="{566C06FC-418B-45EE-93EA-AF3DF92BD681}" type="sibTrans" cxnId="{6A1E6100-BF5C-4C23-AA3C-828733543650}">
      <dgm:prSet/>
      <dgm:spPr/>
      <dgm:t>
        <a:bodyPr/>
        <a:lstStyle/>
        <a:p>
          <a:endParaRPr lang="en-US" sz="2000" b="1"/>
        </a:p>
      </dgm:t>
    </dgm:pt>
    <dgm:pt modelId="{5B10A82F-D851-4251-B95E-A8C1F5C00A21}">
      <dgm:prSet phldrT="[Text]" custT="1"/>
      <dgm:spPr/>
      <dgm:t>
        <a:bodyPr/>
        <a:lstStyle/>
        <a:p>
          <a:r>
            <a:rPr lang="en-US" sz="2000" b="1" dirty="0" smtClean="0"/>
            <a:t>Verification</a:t>
          </a:r>
          <a:endParaRPr lang="en-US" sz="2000" b="1" dirty="0"/>
        </a:p>
      </dgm:t>
    </dgm:pt>
    <dgm:pt modelId="{30C309B1-1CDF-4F05-B277-ABA1B71E8E4E}" type="parTrans" cxnId="{0D45AFEE-E4C9-4416-83D6-A710C6EF7146}">
      <dgm:prSet/>
      <dgm:spPr/>
      <dgm:t>
        <a:bodyPr/>
        <a:lstStyle/>
        <a:p>
          <a:endParaRPr lang="en-US" sz="2000" b="1"/>
        </a:p>
      </dgm:t>
    </dgm:pt>
    <dgm:pt modelId="{948622CC-4DA2-44C0-9B89-0210A1612CDC}" type="sibTrans" cxnId="{0D45AFEE-E4C9-4416-83D6-A710C6EF7146}">
      <dgm:prSet/>
      <dgm:spPr/>
      <dgm:t>
        <a:bodyPr/>
        <a:lstStyle/>
        <a:p>
          <a:endParaRPr lang="en-US" sz="2000" b="1"/>
        </a:p>
      </dgm:t>
    </dgm:pt>
    <dgm:pt modelId="{3CDB3C8B-0560-4656-B9EC-3B7B258F2425}" type="pres">
      <dgm:prSet presAssocID="{7AD77C4F-99EA-4168-B656-817F43E4AEDD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10CCA2B-3D40-4812-B457-339F45BA2CE6}" type="pres">
      <dgm:prSet presAssocID="{1CF2C919-C478-4760-80E9-683004BC656F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3A5A1E4-7D20-47CA-A51E-A59BB3FAC912}" type="pres">
      <dgm:prSet presAssocID="{DC91ED43-DCA8-48BD-BF9E-8C6160DD5309}" presName="spacer" presStyleCnt="0"/>
      <dgm:spPr/>
    </dgm:pt>
    <dgm:pt modelId="{E4180682-B318-4659-852D-7000960801F9}" type="pres">
      <dgm:prSet presAssocID="{D1EE4252-C3FF-40AE-8CE2-1C381E4ABC87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23B693B-BDF0-4D14-9DD3-CB05A42BE4E7}" type="pres">
      <dgm:prSet presAssocID="{2C1023B0-9DB5-4293-8749-21D3D91DC30A}" presName="spacer" presStyleCnt="0"/>
      <dgm:spPr/>
    </dgm:pt>
    <dgm:pt modelId="{3AF01753-307D-4D0F-B44E-3F84D04BAC30}" type="pres">
      <dgm:prSet presAssocID="{AE2A165E-DC6C-491E-A84D-852903DF1621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FC69EF4-1863-472C-99DE-A20822B89F07}" type="pres">
      <dgm:prSet presAssocID="{566C06FC-418B-45EE-93EA-AF3DF92BD681}" presName="spacer" presStyleCnt="0"/>
      <dgm:spPr/>
    </dgm:pt>
    <dgm:pt modelId="{222ABBCB-2851-45B0-BE59-DE41EEE4E5F6}" type="pres">
      <dgm:prSet presAssocID="{5B10A82F-D851-4251-B95E-A8C1F5C00A21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C9563EA-DD46-406D-9BFB-EACAEC4F4DD4}" type="presOf" srcId="{D1EE4252-C3FF-40AE-8CE2-1C381E4ABC87}" destId="{E4180682-B318-4659-852D-7000960801F9}" srcOrd="0" destOrd="0" presId="urn:microsoft.com/office/officeart/2005/8/layout/vList2"/>
    <dgm:cxn modelId="{4B08EF43-C6CF-43A3-869C-E7D61474D2F9}" srcId="{7AD77C4F-99EA-4168-B656-817F43E4AEDD}" destId="{D1EE4252-C3FF-40AE-8CE2-1C381E4ABC87}" srcOrd="1" destOrd="0" parTransId="{593414DC-D4BC-4AEF-8A88-24EECC66081A}" sibTransId="{2C1023B0-9DB5-4293-8749-21D3D91DC30A}"/>
    <dgm:cxn modelId="{CC5ED4AB-0EEB-45B6-A646-08400EF94536}" type="presOf" srcId="{1CF2C919-C478-4760-80E9-683004BC656F}" destId="{610CCA2B-3D40-4812-B457-339F45BA2CE6}" srcOrd="0" destOrd="0" presId="urn:microsoft.com/office/officeart/2005/8/layout/vList2"/>
    <dgm:cxn modelId="{BE3E4BBF-59CC-4DD3-836B-E2B2B3E4633A}" type="presOf" srcId="{AE2A165E-DC6C-491E-A84D-852903DF1621}" destId="{3AF01753-307D-4D0F-B44E-3F84D04BAC30}" srcOrd="0" destOrd="0" presId="urn:microsoft.com/office/officeart/2005/8/layout/vList2"/>
    <dgm:cxn modelId="{25113565-E61D-41D6-B56A-33F5986268BC}" type="presOf" srcId="{5B10A82F-D851-4251-B95E-A8C1F5C00A21}" destId="{222ABBCB-2851-45B0-BE59-DE41EEE4E5F6}" srcOrd="0" destOrd="0" presId="urn:microsoft.com/office/officeart/2005/8/layout/vList2"/>
    <dgm:cxn modelId="{0D45AFEE-E4C9-4416-83D6-A710C6EF7146}" srcId="{7AD77C4F-99EA-4168-B656-817F43E4AEDD}" destId="{5B10A82F-D851-4251-B95E-A8C1F5C00A21}" srcOrd="3" destOrd="0" parTransId="{30C309B1-1CDF-4F05-B277-ABA1B71E8E4E}" sibTransId="{948622CC-4DA2-44C0-9B89-0210A1612CDC}"/>
    <dgm:cxn modelId="{F5CAECBB-8EEF-43C7-A12D-2CACCBBB8112}" type="presOf" srcId="{7AD77C4F-99EA-4168-B656-817F43E4AEDD}" destId="{3CDB3C8B-0560-4656-B9EC-3B7B258F2425}" srcOrd="0" destOrd="0" presId="urn:microsoft.com/office/officeart/2005/8/layout/vList2"/>
    <dgm:cxn modelId="{462F56CF-A57E-4D32-9FDE-101E0B73081C}" srcId="{7AD77C4F-99EA-4168-B656-817F43E4AEDD}" destId="{1CF2C919-C478-4760-80E9-683004BC656F}" srcOrd="0" destOrd="0" parTransId="{8933168D-0FCC-465A-B2C2-62F89CA9B512}" sibTransId="{DC91ED43-DCA8-48BD-BF9E-8C6160DD5309}"/>
    <dgm:cxn modelId="{6A1E6100-BF5C-4C23-AA3C-828733543650}" srcId="{7AD77C4F-99EA-4168-B656-817F43E4AEDD}" destId="{AE2A165E-DC6C-491E-A84D-852903DF1621}" srcOrd="2" destOrd="0" parTransId="{8BB58322-4F0A-44D3-BDC8-3DEE2223CF47}" sibTransId="{566C06FC-418B-45EE-93EA-AF3DF92BD681}"/>
    <dgm:cxn modelId="{283EA1B7-04A9-4A60-85D9-16E800B79C87}" type="presParOf" srcId="{3CDB3C8B-0560-4656-B9EC-3B7B258F2425}" destId="{610CCA2B-3D40-4812-B457-339F45BA2CE6}" srcOrd="0" destOrd="0" presId="urn:microsoft.com/office/officeart/2005/8/layout/vList2"/>
    <dgm:cxn modelId="{4B72B0D5-4AFD-407A-8386-D16818D062F0}" type="presParOf" srcId="{3CDB3C8B-0560-4656-B9EC-3B7B258F2425}" destId="{53A5A1E4-7D20-47CA-A51E-A59BB3FAC912}" srcOrd="1" destOrd="0" presId="urn:microsoft.com/office/officeart/2005/8/layout/vList2"/>
    <dgm:cxn modelId="{9DE132CA-7670-447B-B3AC-DA878D5B1991}" type="presParOf" srcId="{3CDB3C8B-0560-4656-B9EC-3B7B258F2425}" destId="{E4180682-B318-4659-852D-7000960801F9}" srcOrd="2" destOrd="0" presId="urn:microsoft.com/office/officeart/2005/8/layout/vList2"/>
    <dgm:cxn modelId="{AF3D15A0-6A80-4ECE-9E03-29B4A3304A09}" type="presParOf" srcId="{3CDB3C8B-0560-4656-B9EC-3B7B258F2425}" destId="{223B693B-BDF0-4D14-9DD3-CB05A42BE4E7}" srcOrd="3" destOrd="0" presId="urn:microsoft.com/office/officeart/2005/8/layout/vList2"/>
    <dgm:cxn modelId="{7919C980-8199-4B98-957C-E8D3EBBFFE9C}" type="presParOf" srcId="{3CDB3C8B-0560-4656-B9EC-3B7B258F2425}" destId="{3AF01753-307D-4D0F-B44E-3F84D04BAC30}" srcOrd="4" destOrd="0" presId="urn:microsoft.com/office/officeart/2005/8/layout/vList2"/>
    <dgm:cxn modelId="{6E5CEF2A-E60B-4216-8BD9-5A0BF3E0116C}" type="presParOf" srcId="{3CDB3C8B-0560-4656-B9EC-3B7B258F2425}" destId="{CFC69EF4-1863-472C-99DE-A20822B89F07}" srcOrd="5" destOrd="0" presId="urn:microsoft.com/office/officeart/2005/8/layout/vList2"/>
    <dgm:cxn modelId="{EE993B93-5F51-411D-BE46-D55F19D18088}" type="presParOf" srcId="{3CDB3C8B-0560-4656-B9EC-3B7B258F2425}" destId="{222ABBCB-2851-45B0-BE59-DE41EEE4E5F6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AD77C4F-99EA-4168-B656-817F43E4AEDD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1CF2C919-C478-4760-80E9-683004BC656F}">
      <dgm:prSet phldrT="[Text]" custT="1"/>
      <dgm:spPr/>
      <dgm:t>
        <a:bodyPr/>
        <a:lstStyle/>
        <a:p>
          <a:r>
            <a:rPr lang="en-US" sz="2000" b="1" dirty="0" smtClean="0"/>
            <a:t>Mockito advanced features</a:t>
          </a:r>
          <a:endParaRPr lang="en-US" sz="2000" b="1" dirty="0"/>
        </a:p>
      </dgm:t>
    </dgm:pt>
    <dgm:pt modelId="{8933168D-0FCC-465A-B2C2-62F89CA9B512}" type="parTrans" cxnId="{462F56CF-A57E-4D32-9FDE-101E0B73081C}">
      <dgm:prSet/>
      <dgm:spPr/>
      <dgm:t>
        <a:bodyPr/>
        <a:lstStyle/>
        <a:p>
          <a:endParaRPr lang="en-US" sz="2000" b="1"/>
        </a:p>
      </dgm:t>
    </dgm:pt>
    <dgm:pt modelId="{DC91ED43-DCA8-48BD-BF9E-8C6160DD5309}" type="sibTrans" cxnId="{462F56CF-A57E-4D32-9FDE-101E0B73081C}">
      <dgm:prSet/>
      <dgm:spPr/>
      <dgm:t>
        <a:bodyPr/>
        <a:lstStyle/>
        <a:p>
          <a:endParaRPr lang="en-US" sz="2000" b="1"/>
        </a:p>
      </dgm:t>
    </dgm:pt>
    <dgm:pt modelId="{D1EE4252-C3FF-40AE-8CE2-1C381E4ABC87}">
      <dgm:prSet phldrT="[Text]" custT="1"/>
      <dgm:spPr/>
      <dgm:t>
        <a:bodyPr/>
        <a:lstStyle/>
        <a:p>
          <a:r>
            <a:rPr lang="en-US" sz="2000" b="1" dirty="0" smtClean="0"/>
            <a:t>Stubbing</a:t>
          </a:r>
          <a:endParaRPr lang="en-US" sz="2000" b="1" dirty="0"/>
        </a:p>
      </dgm:t>
    </dgm:pt>
    <dgm:pt modelId="{593414DC-D4BC-4AEF-8A88-24EECC66081A}" type="parTrans" cxnId="{4B08EF43-C6CF-43A3-869C-E7D61474D2F9}">
      <dgm:prSet/>
      <dgm:spPr/>
      <dgm:t>
        <a:bodyPr/>
        <a:lstStyle/>
        <a:p>
          <a:endParaRPr lang="en-US" sz="2000" b="1"/>
        </a:p>
      </dgm:t>
    </dgm:pt>
    <dgm:pt modelId="{2C1023B0-9DB5-4293-8749-21D3D91DC30A}" type="sibTrans" cxnId="{4B08EF43-C6CF-43A3-869C-E7D61474D2F9}">
      <dgm:prSet/>
      <dgm:spPr/>
      <dgm:t>
        <a:bodyPr/>
        <a:lstStyle/>
        <a:p>
          <a:endParaRPr lang="en-US" sz="2000" b="1"/>
        </a:p>
      </dgm:t>
    </dgm:pt>
    <dgm:pt modelId="{AE2A165E-DC6C-491E-A84D-852903DF1621}">
      <dgm:prSet phldrT="[Text]" custT="1"/>
      <dgm:spPr/>
      <dgm:t>
        <a:bodyPr/>
        <a:lstStyle/>
        <a:p>
          <a:r>
            <a:rPr lang="en-US" sz="2000" b="1" dirty="0" err="1" smtClean="0"/>
            <a:t>PowerMock</a:t>
          </a:r>
          <a:endParaRPr lang="en-US" sz="2000" b="1" dirty="0"/>
        </a:p>
      </dgm:t>
    </dgm:pt>
    <dgm:pt modelId="{8BB58322-4F0A-44D3-BDC8-3DEE2223CF47}" type="parTrans" cxnId="{6A1E6100-BF5C-4C23-AA3C-828733543650}">
      <dgm:prSet/>
      <dgm:spPr/>
      <dgm:t>
        <a:bodyPr/>
        <a:lstStyle/>
        <a:p>
          <a:endParaRPr lang="en-US" sz="2000" b="1"/>
        </a:p>
      </dgm:t>
    </dgm:pt>
    <dgm:pt modelId="{566C06FC-418B-45EE-93EA-AF3DF92BD681}" type="sibTrans" cxnId="{6A1E6100-BF5C-4C23-AA3C-828733543650}">
      <dgm:prSet/>
      <dgm:spPr/>
      <dgm:t>
        <a:bodyPr/>
        <a:lstStyle/>
        <a:p>
          <a:endParaRPr lang="en-US" sz="2000" b="1"/>
        </a:p>
      </dgm:t>
    </dgm:pt>
    <dgm:pt modelId="{5B10A82F-D851-4251-B95E-A8C1F5C00A21}">
      <dgm:prSet phldrT="[Text]" custT="1"/>
      <dgm:spPr/>
      <dgm:t>
        <a:bodyPr/>
        <a:lstStyle/>
        <a:p>
          <a:r>
            <a:rPr lang="en-US" sz="2000" b="1" dirty="0" smtClean="0"/>
            <a:t>Mocking final &amp; private methods</a:t>
          </a:r>
          <a:endParaRPr lang="en-US" sz="2000" b="1" dirty="0"/>
        </a:p>
      </dgm:t>
    </dgm:pt>
    <dgm:pt modelId="{30C309B1-1CDF-4F05-B277-ABA1B71E8E4E}" type="parTrans" cxnId="{0D45AFEE-E4C9-4416-83D6-A710C6EF7146}">
      <dgm:prSet/>
      <dgm:spPr/>
      <dgm:t>
        <a:bodyPr/>
        <a:lstStyle/>
        <a:p>
          <a:endParaRPr lang="en-US" sz="2000" b="1"/>
        </a:p>
      </dgm:t>
    </dgm:pt>
    <dgm:pt modelId="{948622CC-4DA2-44C0-9B89-0210A1612CDC}" type="sibTrans" cxnId="{0D45AFEE-E4C9-4416-83D6-A710C6EF7146}">
      <dgm:prSet/>
      <dgm:spPr/>
      <dgm:t>
        <a:bodyPr/>
        <a:lstStyle/>
        <a:p>
          <a:endParaRPr lang="en-US" sz="2000" b="1"/>
        </a:p>
      </dgm:t>
    </dgm:pt>
    <dgm:pt modelId="{3CDB3C8B-0560-4656-B9EC-3B7B258F2425}" type="pres">
      <dgm:prSet presAssocID="{7AD77C4F-99EA-4168-B656-817F43E4AEDD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10CCA2B-3D40-4812-B457-339F45BA2CE6}" type="pres">
      <dgm:prSet presAssocID="{1CF2C919-C478-4760-80E9-683004BC656F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3A5A1E4-7D20-47CA-A51E-A59BB3FAC912}" type="pres">
      <dgm:prSet presAssocID="{DC91ED43-DCA8-48BD-BF9E-8C6160DD5309}" presName="spacer" presStyleCnt="0"/>
      <dgm:spPr/>
    </dgm:pt>
    <dgm:pt modelId="{E4180682-B318-4659-852D-7000960801F9}" type="pres">
      <dgm:prSet presAssocID="{D1EE4252-C3FF-40AE-8CE2-1C381E4ABC87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23B693B-BDF0-4D14-9DD3-CB05A42BE4E7}" type="pres">
      <dgm:prSet presAssocID="{2C1023B0-9DB5-4293-8749-21D3D91DC30A}" presName="spacer" presStyleCnt="0"/>
      <dgm:spPr/>
    </dgm:pt>
    <dgm:pt modelId="{3AF01753-307D-4D0F-B44E-3F84D04BAC30}" type="pres">
      <dgm:prSet presAssocID="{AE2A165E-DC6C-491E-A84D-852903DF1621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FC69EF4-1863-472C-99DE-A20822B89F07}" type="pres">
      <dgm:prSet presAssocID="{566C06FC-418B-45EE-93EA-AF3DF92BD681}" presName="spacer" presStyleCnt="0"/>
      <dgm:spPr/>
    </dgm:pt>
    <dgm:pt modelId="{222ABBCB-2851-45B0-BE59-DE41EEE4E5F6}" type="pres">
      <dgm:prSet presAssocID="{5B10A82F-D851-4251-B95E-A8C1F5C00A21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C30F234-B9B5-4E6E-8A3E-F8E7DE1201B7}" type="presOf" srcId="{D1EE4252-C3FF-40AE-8CE2-1C381E4ABC87}" destId="{E4180682-B318-4659-852D-7000960801F9}" srcOrd="0" destOrd="0" presId="urn:microsoft.com/office/officeart/2005/8/layout/vList2"/>
    <dgm:cxn modelId="{4B08EF43-C6CF-43A3-869C-E7D61474D2F9}" srcId="{7AD77C4F-99EA-4168-B656-817F43E4AEDD}" destId="{D1EE4252-C3FF-40AE-8CE2-1C381E4ABC87}" srcOrd="1" destOrd="0" parTransId="{593414DC-D4BC-4AEF-8A88-24EECC66081A}" sibTransId="{2C1023B0-9DB5-4293-8749-21D3D91DC30A}"/>
    <dgm:cxn modelId="{D5E2DCEC-C70C-4BBB-A940-ED9921377EF5}" type="presOf" srcId="{AE2A165E-DC6C-491E-A84D-852903DF1621}" destId="{3AF01753-307D-4D0F-B44E-3F84D04BAC30}" srcOrd="0" destOrd="0" presId="urn:microsoft.com/office/officeart/2005/8/layout/vList2"/>
    <dgm:cxn modelId="{0D45AFEE-E4C9-4416-83D6-A710C6EF7146}" srcId="{7AD77C4F-99EA-4168-B656-817F43E4AEDD}" destId="{5B10A82F-D851-4251-B95E-A8C1F5C00A21}" srcOrd="3" destOrd="0" parTransId="{30C309B1-1CDF-4F05-B277-ABA1B71E8E4E}" sibTransId="{948622CC-4DA2-44C0-9B89-0210A1612CDC}"/>
    <dgm:cxn modelId="{569A474B-D2EB-4560-8EB1-A77204710A41}" type="presOf" srcId="{1CF2C919-C478-4760-80E9-683004BC656F}" destId="{610CCA2B-3D40-4812-B457-339F45BA2CE6}" srcOrd="0" destOrd="0" presId="urn:microsoft.com/office/officeart/2005/8/layout/vList2"/>
    <dgm:cxn modelId="{462F56CF-A57E-4D32-9FDE-101E0B73081C}" srcId="{7AD77C4F-99EA-4168-B656-817F43E4AEDD}" destId="{1CF2C919-C478-4760-80E9-683004BC656F}" srcOrd="0" destOrd="0" parTransId="{8933168D-0FCC-465A-B2C2-62F89CA9B512}" sibTransId="{DC91ED43-DCA8-48BD-BF9E-8C6160DD5309}"/>
    <dgm:cxn modelId="{6A1E6100-BF5C-4C23-AA3C-828733543650}" srcId="{7AD77C4F-99EA-4168-B656-817F43E4AEDD}" destId="{AE2A165E-DC6C-491E-A84D-852903DF1621}" srcOrd="2" destOrd="0" parTransId="{8BB58322-4F0A-44D3-BDC8-3DEE2223CF47}" sibTransId="{566C06FC-418B-45EE-93EA-AF3DF92BD681}"/>
    <dgm:cxn modelId="{518E61DB-B889-40B2-9F4A-0B796BCB5937}" type="presOf" srcId="{7AD77C4F-99EA-4168-B656-817F43E4AEDD}" destId="{3CDB3C8B-0560-4656-B9EC-3B7B258F2425}" srcOrd="0" destOrd="0" presId="urn:microsoft.com/office/officeart/2005/8/layout/vList2"/>
    <dgm:cxn modelId="{C382AD3B-4A5F-423D-B006-2CDC0D29B2A8}" type="presOf" srcId="{5B10A82F-D851-4251-B95E-A8C1F5C00A21}" destId="{222ABBCB-2851-45B0-BE59-DE41EEE4E5F6}" srcOrd="0" destOrd="0" presId="urn:microsoft.com/office/officeart/2005/8/layout/vList2"/>
    <dgm:cxn modelId="{D0261C3F-E355-4389-8A72-EA3F72B3603D}" type="presParOf" srcId="{3CDB3C8B-0560-4656-B9EC-3B7B258F2425}" destId="{610CCA2B-3D40-4812-B457-339F45BA2CE6}" srcOrd="0" destOrd="0" presId="urn:microsoft.com/office/officeart/2005/8/layout/vList2"/>
    <dgm:cxn modelId="{7E25248A-E462-4C78-99B9-C679A754276D}" type="presParOf" srcId="{3CDB3C8B-0560-4656-B9EC-3B7B258F2425}" destId="{53A5A1E4-7D20-47CA-A51E-A59BB3FAC912}" srcOrd="1" destOrd="0" presId="urn:microsoft.com/office/officeart/2005/8/layout/vList2"/>
    <dgm:cxn modelId="{71FE3AFE-E338-4D14-9B04-6EB07EE06FC9}" type="presParOf" srcId="{3CDB3C8B-0560-4656-B9EC-3B7B258F2425}" destId="{E4180682-B318-4659-852D-7000960801F9}" srcOrd="2" destOrd="0" presId="urn:microsoft.com/office/officeart/2005/8/layout/vList2"/>
    <dgm:cxn modelId="{564E31F7-31BF-4C7D-B180-4D66B1C15E45}" type="presParOf" srcId="{3CDB3C8B-0560-4656-B9EC-3B7B258F2425}" destId="{223B693B-BDF0-4D14-9DD3-CB05A42BE4E7}" srcOrd="3" destOrd="0" presId="urn:microsoft.com/office/officeart/2005/8/layout/vList2"/>
    <dgm:cxn modelId="{FF61045D-0609-418D-B87A-DD38C456AD06}" type="presParOf" srcId="{3CDB3C8B-0560-4656-B9EC-3B7B258F2425}" destId="{3AF01753-307D-4D0F-B44E-3F84D04BAC30}" srcOrd="4" destOrd="0" presId="urn:microsoft.com/office/officeart/2005/8/layout/vList2"/>
    <dgm:cxn modelId="{E91DAAB4-5308-4336-997B-1EBCD713D979}" type="presParOf" srcId="{3CDB3C8B-0560-4656-B9EC-3B7B258F2425}" destId="{CFC69EF4-1863-472C-99DE-A20822B89F07}" srcOrd="5" destOrd="0" presId="urn:microsoft.com/office/officeart/2005/8/layout/vList2"/>
    <dgm:cxn modelId="{DD6FB3BA-8849-4F47-879C-64C684779A12}" type="presParOf" srcId="{3CDB3C8B-0560-4656-B9EC-3B7B258F2425}" destId="{222ABBCB-2851-45B0-BE59-DE41EEE4E5F6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610CCA2B-3D40-4812-B457-339F45BA2CE6}">
      <dsp:nvSpPr>
        <dsp:cNvPr id="0" name=""/>
        <dsp:cNvSpPr/>
      </dsp:nvSpPr>
      <dsp:spPr>
        <a:xfrm>
          <a:off x="0" y="23912"/>
          <a:ext cx="6604000" cy="82368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/>
            <a:t>Mocking Concepts</a:t>
          </a:r>
          <a:endParaRPr lang="en-US" sz="2000" b="1" kern="1200" dirty="0"/>
        </a:p>
      </dsp:txBody>
      <dsp:txXfrm>
        <a:off x="0" y="23912"/>
        <a:ext cx="6604000" cy="823680"/>
      </dsp:txXfrm>
    </dsp:sp>
    <dsp:sp modelId="{E4180682-B318-4659-852D-7000960801F9}">
      <dsp:nvSpPr>
        <dsp:cNvPr id="0" name=""/>
        <dsp:cNvSpPr/>
      </dsp:nvSpPr>
      <dsp:spPr>
        <a:xfrm>
          <a:off x="0" y="974312"/>
          <a:ext cx="6604000" cy="82368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/>
            <a:t>Mockito Basic Features</a:t>
          </a:r>
          <a:endParaRPr lang="en-US" sz="2000" b="1" kern="1200" dirty="0"/>
        </a:p>
      </dsp:txBody>
      <dsp:txXfrm>
        <a:off x="0" y="974312"/>
        <a:ext cx="6604000" cy="823680"/>
      </dsp:txXfrm>
    </dsp:sp>
    <dsp:sp modelId="{3AF01753-307D-4D0F-B44E-3F84D04BAC30}">
      <dsp:nvSpPr>
        <dsp:cNvPr id="0" name=""/>
        <dsp:cNvSpPr/>
      </dsp:nvSpPr>
      <dsp:spPr>
        <a:xfrm>
          <a:off x="0" y="1924712"/>
          <a:ext cx="6604000" cy="82368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/>
            <a:t>Set up</a:t>
          </a:r>
          <a:endParaRPr lang="en-US" sz="2000" b="1" kern="1200" dirty="0"/>
        </a:p>
      </dsp:txBody>
      <dsp:txXfrm>
        <a:off x="0" y="1924712"/>
        <a:ext cx="6604000" cy="823680"/>
      </dsp:txXfrm>
    </dsp:sp>
    <dsp:sp modelId="{222ABBCB-2851-45B0-BE59-DE41EEE4E5F6}">
      <dsp:nvSpPr>
        <dsp:cNvPr id="0" name=""/>
        <dsp:cNvSpPr/>
      </dsp:nvSpPr>
      <dsp:spPr>
        <a:xfrm>
          <a:off x="0" y="2875112"/>
          <a:ext cx="6604000" cy="82368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/>
            <a:t>Verification</a:t>
          </a:r>
          <a:endParaRPr lang="en-US" sz="2000" b="1" kern="1200" dirty="0"/>
        </a:p>
      </dsp:txBody>
      <dsp:txXfrm>
        <a:off x="0" y="2875112"/>
        <a:ext cx="6604000" cy="823680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610CCA2B-3D40-4812-B457-339F45BA2CE6}">
      <dsp:nvSpPr>
        <dsp:cNvPr id="0" name=""/>
        <dsp:cNvSpPr/>
      </dsp:nvSpPr>
      <dsp:spPr>
        <a:xfrm>
          <a:off x="0" y="23912"/>
          <a:ext cx="6604000" cy="82368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/>
            <a:t>Mockito advanced features</a:t>
          </a:r>
          <a:endParaRPr lang="en-US" sz="2000" b="1" kern="1200" dirty="0"/>
        </a:p>
      </dsp:txBody>
      <dsp:txXfrm>
        <a:off x="0" y="23912"/>
        <a:ext cx="6604000" cy="823680"/>
      </dsp:txXfrm>
    </dsp:sp>
    <dsp:sp modelId="{E4180682-B318-4659-852D-7000960801F9}">
      <dsp:nvSpPr>
        <dsp:cNvPr id="0" name=""/>
        <dsp:cNvSpPr/>
      </dsp:nvSpPr>
      <dsp:spPr>
        <a:xfrm>
          <a:off x="0" y="974312"/>
          <a:ext cx="6604000" cy="82368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/>
            <a:t>Stubbing</a:t>
          </a:r>
          <a:endParaRPr lang="en-US" sz="2000" b="1" kern="1200" dirty="0"/>
        </a:p>
      </dsp:txBody>
      <dsp:txXfrm>
        <a:off x="0" y="974312"/>
        <a:ext cx="6604000" cy="823680"/>
      </dsp:txXfrm>
    </dsp:sp>
    <dsp:sp modelId="{3AF01753-307D-4D0F-B44E-3F84D04BAC30}">
      <dsp:nvSpPr>
        <dsp:cNvPr id="0" name=""/>
        <dsp:cNvSpPr/>
      </dsp:nvSpPr>
      <dsp:spPr>
        <a:xfrm>
          <a:off x="0" y="1924712"/>
          <a:ext cx="6604000" cy="82368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err="1" smtClean="0"/>
            <a:t>PowerMock</a:t>
          </a:r>
          <a:endParaRPr lang="en-US" sz="2000" b="1" kern="1200" dirty="0"/>
        </a:p>
      </dsp:txBody>
      <dsp:txXfrm>
        <a:off x="0" y="1924712"/>
        <a:ext cx="6604000" cy="823680"/>
      </dsp:txXfrm>
    </dsp:sp>
    <dsp:sp modelId="{222ABBCB-2851-45B0-BE59-DE41EEE4E5F6}">
      <dsp:nvSpPr>
        <dsp:cNvPr id="0" name=""/>
        <dsp:cNvSpPr/>
      </dsp:nvSpPr>
      <dsp:spPr>
        <a:xfrm>
          <a:off x="0" y="2875112"/>
          <a:ext cx="6604000" cy="82368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/>
            <a:t>Mocking final &amp; private methods</a:t>
          </a:r>
          <a:endParaRPr lang="en-US" sz="2000" b="1" kern="1200" dirty="0"/>
        </a:p>
      </dsp:txBody>
      <dsp:txXfrm>
        <a:off x="0" y="2875112"/>
        <a:ext cx="6604000" cy="82368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3176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© 2015 Capgemini. All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ights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eserved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.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1399251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2FB4FF29-EE9A-4D47-9F1A-289A80693C0F}" type="datetimeFigureOut">
              <a:rPr lang="en-US" smtClean="0"/>
              <a:pPr/>
              <a:t>12/8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8"/>
            <a:ext cx="5438140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6376921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5488" y="741363"/>
            <a:ext cx="5346700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0648409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5488" y="741363"/>
            <a:ext cx="5346700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1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6957883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5488" y="741363"/>
            <a:ext cx="5346700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1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6957883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5488" y="741363"/>
            <a:ext cx="5346700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1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6957883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5488" y="741363"/>
            <a:ext cx="5346700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1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6957883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5488" y="741363"/>
            <a:ext cx="5346700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1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6957883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5488" y="741363"/>
            <a:ext cx="5346700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1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6957883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5488" y="741363"/>
            <a:ext cx="5346700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1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6957883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5488" y="741363"/>
            <a:ext cx="5346700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2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6957883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5488" y="741363"/>
            <a:ext cx="5346700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2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6957883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5488" y="741363"/>
            <a:ext cx="5346700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A43956-99FE-4DF9-A59E-320AD3D8BE55}" type="slidenum">
              <a:rPr lang="en-US" smtClean="0">
                <a:solidFill>
                  <a:prstClr val="black"/>
                </a:solidFill>
              </a:rPr>
              <a:pPr/>
              <a:t>22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5488" y="741363"/>
            <a:ext cx="5346700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6957883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5488" y="741363"/>
            <a:ext cx="5346700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2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6957883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5488" y="741363"/>
            <a:ext cx="5346700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A43956-99FE-4DF9-A59E-320AD3D8BE55}" type="slidenum">
              <a:rPr lang="en-US" smtClean="0">
                <a:solidFill>
                  <a:prstClr val="black"/>
                </a:solidFill>
              </a:rPr>
              <a:pPr/>
              <a:t>33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5488" y="741363"/>
            <a:ext cx="5346700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A43956-99FE-4DF9-A59E-320AD3D8BE55}" type="slidenum">
              <a:rPr lang="en-US" smtClean="0">
                <a:solidFill>
                  <a:prstClr val="black"/>
                </a:solidFill>
              </a:rPr>
              <a:pPr/>
              <a:t>40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5488" y="741363"/>
            <a:ext cx="5346700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4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6957883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5488" y="741363"/>
            <a:ext cx="5346700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4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0240571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5488" y="741363"/>
            <a:ext cx="5346700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A43956-99FE-4DF9-A59E-320AD3D8BE55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5488" y="741363"/>
            <a:ext cx="5346700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A43956-99FE-4DF9-A59E-320AD3D8BE55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5488" y="741363"/>
            <a:ext cx="5346700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695788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5488" y="741363"/>
            <a:ext cx="5346700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695788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5488" y="741363"/>
            <a:ext cx="5346700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695788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5488" y="741363"/>
            <a:ext cx="5346700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695788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5488" y="741363"/>
            <a:ext cx="5346700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1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695788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image" Target="../media/image4.emf"/><Relationship Id="rId5" Type="http://schemas.openxmlformats.org/officeDocument/2006/relationships/tags" Target="../tags/tag13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2.xml"/><Relationship Id="rId9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48.xml"/><Relationship Id="rId7" Type="http://schemas.openxmlformats.org/officeDocument/2006/relationships/oleObject" Target="../embeddings/oleObject11.bin"/><Relationship Id="rId2" Type="http://schemas.openxmlformats.org/officeDocument/2006/relationships/tags" Target="../tags/tag47.xml"/><Relationship Id="rId1" Type="http://schemas.openxmlformats.org/officeDocument/2006/relationships/vmlDrawing" Target="../drawings/vmlDrawing11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50.xml"/><Relationship Id="rId4" Type="http://schemas.openxmlformats.org/officeDocument/2006/relationships/tags" Target="../tags/tag49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306.xml"/><Relationship Id="rId1" Type="http://schemas.openxmlformats.org/officeDocument/2006/relationships/vmlDrawing" Target="../drawings/vmlDrawing71.vml"/><Relationship Id="rId4" Type="http://schemas.openxmlformats.org/officeDocument/2006/relationships/oleObject" Target="../embeddings/oleObject77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308.xml"/><Relationship Id="rId2" Type="http://schemas.openxmlformats.org/officeDocument/2006/relationships/tags" Target="../tags/tag307.xml"/><Relationship Id="rId1" Type="http://schemas.openxmlformats.org/officeDocument/2006/relationships/vmlDrawing" Target="../drawings/vmlDrawing72.vml"/><Relationship Id="rId6" Type="http://schemas.openxmlformats.org/officeDocument/2006/relationships/oleObject" Target="../embeddings/oleObject78.bin"/><Relationship Id="rId5" Type="http://schemas.openxmlformats.org/officeDocument/2006/relationships/slideMaster" Target="../slideMasters/slideMaster13.xml"/><Relationship Id="rId4" Type="http://schemas.openxmlformats.org/officeDocument/2006/relationships/tags" Target="../tags/tag309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tags" Target="../tags/tag311.xml"/><Relationship Id="rId2" Type="http://schemas.openxmlformats.org/officeDocument/2006/relationships/tags" Target="../tags/tag310.xml"/><Relationship Id="rId1" Type="http://schemas.openxmlformats.org/officeDocument/2006/relationships/vmlDrawing" Target="../drawings/vmlDrawing73.vml"/><Relationship Id="rId6" Type="http://schemas.openxmlformats.org/officeDocument/2006/relationships/oleObject" Target="../embeddings/oleObject79.bin"/><Relationship Id="rId5" Type="http://schemas.openxmlformats.org/officeDocument/2006/relationships/slideMaster" Target="../slideMasters/slideMaster13.xml"/><Relationship Id="rId4" Type="http://schemas.openxmlformats.org/officeDocument/2006/relationships/tags" Target="../tags/tag312.xml"/></Relationships>
</file>

<file path=ppt/slideLayouts/_rels/slideLayout10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0.bin"/><Relationship Id="rId3" Type="http://schemas.openxmlformats.org/officeDocument/2006/relationships/tags" Target="../tags/tag314.xml"/><Relationship Id="rId7" Type="http://schemas.openxmlformats.org/officeDocument/2006/relationships/slideMaster" Target="../slideMasters/slideMaster13.xml"/><Relationship Id="rId2" Type="http://schemas.openxmlformats.org/officeDocument/2006/relationships/tags" Target="../tags/tag313.xml"/><Relationship Id="rId1" Type="http://schemas.openxmlformats.org/officeDocument/2006/relationships/vmlDrawing" Target="../drawings/vmlDrawing74.vml"/><Relationship Id="rId6" Type="http://schemas.openxmlformats.org/officeDocument/2006/relationships/tags" Target="../tags/tag317.xml"/><Relationship Id="rId5" Type="http://schemas.openxmlformats.org/officeDocument/2006/relationships/tags" Target="../tags/tag316.xml"/><Relationship Id="rId4" Type="http://schemas.openxmlformats.org/officeDocument/2006/relationships/tags" Target="../tags/tag31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2" Type="http://schemas.openxmlformats.org/officeDocument/2006/relationships/slideMaster" Target="../slideMasters/slideMaster13.xml"/><Relationship Id="rId1" Type="http://schemas.openxmlformats.org/officeDocument/2006/relationships/vmlDrawing" Target="../drawings/vmlDrawing75.v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4.xml"/><Relationship Id="rId3" Type="http://schemas.openxmlformats.org/officeDocument/2006/relationships/tags" Target="../tags/tag327.xml"/><Relationship Id="rId7" Type="http://schemas.openxmlformats.org/officeDocument/2006/relationships/tags" Target="../tags/tag331.xml"/><Relationship Id="rId12" Type="http://schemas.openxmlformats.org/officeDocument/2006/relationships/image" Target="../media/image5.png"/><Relationship Id="rId2" Type="http://schemas.openxmlformats.org/officeDocument/2006/relationships/tags" Target="../tags/tag326.xml"/><Relationship Id="rId1" Type="http://schemas.openxmlformats.org/officeDocument/2006/relationships/vmlDrawing" Target="../drawings/vmlDrawing77.vml"/><Relationship Id="rId6" Type="http://schemas.openxmlformats.org/officeDocument/2006/relationships/tags" Target="../tags/tag330.xml"/><Relationship Id="rId11" Type="http://schemas.openxmlformats.org/officeDocument/2006/relationships/image" Target="../media/image4.emf"/><Relationship Id="rId5" Type="http://schemas.openxmlformats.org/officeDocument/2006/relationships/tags" Target="../tags/tag329.xml"/><Relationship Id="rId10" Type="http://schemas.openxmlformats.org/officeDocument/2006/relationships/oleObject" Target="../embeddings/oleObject83.bin"/><Relationship Id="rId4" Type="http://schemas.openxmlformats.org/officeDocument/2006/relationships/tags" Target="../tags/tag328.xml"/><Relationship Id="rId9" Type="http://schemas.openxmlformats.org/officeDocument/2006/relationships/image" Target="../media/image3.jpeg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4.xml"/><Relationship Id="rId3" Type="http://schemas.openxmlformats.org/officeDocument/2006/relationships/tags" Target="../tags/tag333.xml"/><Relationship Id="rId7" Type="http://schemas.openxmlformats.org/officeDocument/2006/relationships/tags" Target="../tags/tag337.xml"/><Relationship Id="rId12" Type="http://schemas.openxmlformats.org/officeDocument/2006/relationships/image" Target="../media/image4.emf"/><Relationship Id="rId2" Type="http://schemas.openxmlformats.org/officeDocument/2006/relationships/tags" Target="../tags/tag332.xml"/><Relationship Id="rId1" Type="http://schemas.openxmlformats.org/officeDocument/2006/relationships/vmlDrawing" Target="../drawings/vmlDrawing78.vml"/><Relationship Id="rId6" Type="http://schemas.openxmlformats.org/officeDocument/2006/relationships/tags" Target="../tags/tag336.xml"/><Relationship Id="rId11" Type="http://schemas.openxmlformats.org/officeDocument/2006/relationships/image" Target="../media/image5.png"/><Relationship Id="rId5" Type="http://schemas.openxmlformats.org/officeDocument/2006/relationships/tags" Target="../tags/tag335.xml"/><Relationship Id="rId10" Type="http://schemas.openxmlformats.org/officeDocument/2006/relationships/oleObject" Target="../embeddings/oleObject84.bin"/><Relationship Id="rId4" Type="http://schemas.openxmlformats.org/officeDocument/2006/relationships/tags" Target="../tags/tag334.xml"/><Relationship Id="rId9" Type="http://schemas.openxmlformats.org/officeDocument/2006/relationships/image" Target="../media/image6.jpeg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tags" Target="../tags/tag339.xml"/><Relationship Id="rId7" Type="http://schemas.openxmlformats.org/officeDocument/2006/relationships/oleObject" Target="../embeddings/oleObject85.bin"/><Relationship Id="rId2" Type="http://schemas.openxmlformats.org/officeDocument/2006/relationships/tags" Target="../tags/tag338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14.xml"/><Relationship Id="rId4" Type="http://schemas.openxmlformats.org/officeDocument/2006/relationships/tags" Target="../tags/tag34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4.png"/><Relationship Id="rId4" Type="http://schemas.openxmlformats.org/officeDocument/2006/relationships/oleObject" Target="../embeddings/oleObject12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341.xml"/><Relationship Id="rId1" Type="http://schemas.openxmlformats.org/officeDocument/2006/relationships/vmlDrawing" Target="../drawings/vmlDrawing80.vml"/><Relationship Id="rId4" Type="http://schemas.openxmlformats.org/officeDocument/2006/relationships/oleObject" Target="../embeddings/oleObject86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tags" Target="../tags/tag343.xml"/><Relationship Id="rId2" Type="http://schemas.openxmlformats.org/officeDocument/2006/relationships/tags" Target="../tags/tag342.xml"/><Relationship Id="rId1" Type="http://schemas.openxmlformats.org/officeDocument/2006/relationships/vmlDrawing" Target="../drawings/vmlDrawing81.vml"/><Relationship Id="rId6" Type="http://schemas.openxmlformats.org/officeDocument/2006/relationships/oleObject" Target="../embeddings/oleObject87.bin"/><Relationship Id="rId5" Type="http://schemas.openxmlformats.org/officeDocument/2006/relationships/slideMaster" Target="../slideMasters/slideMaster14.xml"/><Relationship Id="rId4" Type="http://schemas.openxmlformats.org/officeDocument/2006/relationships/tags" Target="../tags/tag344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tags" Target="../tags/tag346.xml"/><Relationship Id="rId2" Type="http://schemas.openxmlformats.org/officeDocument/2006/relationships/tags" Target="../tags/tag345.xml"/><Relationship Id="rId1" Type="http://schemas.openxmlformats.org/officeDocument/2006/relationships/vmlDrawing" Target="../drawings/vmlDrawing82.vml"/><Relationship Id="rId6" Type="http://schemas.openxmlformats.org/officeDocument/2006/relationships/oleObject" Target="../embeddings/oleObject88.bin"/><Relationship Id="rId5" Type="http://schemas.openxmlformats.org/officeDocument/2006/relationships/slideMaster" Target="../slideMasters/slideMaster14.xml"/><Relationship Id="rId4" Type="http://schemas.openxmlformats.org/officeDocument/2006/relationships/tags" Target="../tags/tag347.xml"/></Relationships>
</file>

<file path=ppt/slideLayouts/_rels/slideLayout1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9.bin"/><Relationship Id="rId3" Type="http://schemas.openxmlformats.org/officeDocument/2006/relationships/tags" Target="../tags/tag349.xml"/><Relationship Id="rId7" Type="http://schemas.openxmlformats.org/officeDocument/2006/relationships/slideMaster" Target="../slideMasters/slideMaster14.xml"/><Relationship Id="rId2" Type="http://schemas.openxmlformats.org/officeDocument/2006/relationships/tags" Target="../tags/tag348.xml"/><Relationship Id="rId1" Type="http://schemas.openxmlformats.org/officeDocument/2006/relationships/vmlDrawing" Target="../drawings/vmlDrawing83.vml"/><Relationship Id="rId6" Type="http://schemas.openxmlformats.org/officeDocument/2006/relationships/tags" Target="../tags/tag352.xml"/><Relationship Id="rId5" Type="http://schemas.openxmlformats.org/officeDocument/2006/relationships/tags" Target="../tags/tag351.xml"/><Relationship Id="rId4" Type="http://schemas.openxmlformats.org/officeDocument/2006/relationships/tags" Target="../tags/tag35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0.bin"/><Relationship Id="rId2" Type="http://schemas.openxmlformats.org/officeDocument/2006/relationships/slideMaster" Target="../slideMasters/slideMaster14.xml"/><Relationship Id="rId1" Type="http://schemas.openxmlformats.org/officeDocument/2006/relationships/vmlDrawing" Target="../drawings/vmlDrawing84.v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slideMaster" Target="../slideMasters/slideMaster15.xml"/><Relationship Id="rId7" Type="http://schemas.openxmlformats.org/officeDocument/2006/relationships/image" Target="../media/image19.png"/><Relationship Id="rId2" Type="http://schemas.openxmlformats.org/officeDocument/2006/relationships/tags" Target="../tags/tag361.xml"/><Relationship Id="rId1" Type="http://schemas.openxmlformats.org/officeDocument/2006/relationships/tags" Target="../tags/tag360.xml"/><Relationship Id="rId6" Type="http://schemas.openxmlformats.org/officeDocument/2006/relationships/image" Target="../media/image53.png"/><Relationship Id="rId5" Type="http://schemas.openxmlformats.org/officeDocument/2006/relationships/image" Target="../media/image48.png"/><Relationship Id="rId10" Type="http://schemas.openxmlformats.org/officeDocument/2006/relationships/image" Target="../media/image55.png"/><Relationship Id="rId4" Type="http://schemas.openxmlformats.org/officeDocument/2006/relationships/image" Target="../media/image52.png"/><Relationship Id="rId9" Type="http://schemas.openxmlformats.org/officeDocument/2006/relationships/image" Target="../media/image54.png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51.png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51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3.v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62.xml"/><Relationship Id="rId1" Type="http://schemas.openxmlformats.org/officeDocument/2006/relationships/vmlDrawing" Target="../drawings/vmlDrawing86.vml"/><Relationship Id="rId6" Type="http://schemas.openxmlformats.org/officeDocument/2006/relationships/oleObject" Target="../embeddings/oleObject93.bin"/><Relationship Id="rId5" Type="http://schemas.openxmlformats.org/officeDocument/2006/relationships/image" Target="../media/image59.jpeg"/><Relationship Id="rId4" Type="http://schemas.openxmlformats.org/officeDocument/2006/relationships/oleObject" Target="../embeddings/oleObject92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63.xml"/><Relationship Id="rId1" Type="http://schemas.openxmlformats.org/officeDocument/2006/relationships/vmlDrawing" Target="../drawings/vmlDrawing87.vml"/><Relationship Id="rId6" Type="http://schemas.openxmlformats.org/officeDocument/2006/relationships/oleObject" Target="../embeddings/oleObject95.bin"/><Relationship Id="rId5" Type="http://schemas.openxmlformats.org/officeDocument/2006/relationships/oleObject" Target="../embeddings/oleObject94.bin"/><Relationship Id="rId4" Type="http://schemas.openxmlformats.org/officeDocument/2006/relationships/image" Target="../media/image56.jpeg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64.xml"/><Relationship Id="rId1" Type="http://schemas.openxmlformats.org/officeDocument/2006/relationships/vmlDrawing" Target="../drawings/vmlDrawing88.vml"/><Relationship Id="rId6" Type="http://schemas.openxmlformats.org/officeDocument/2006/relationships/oleObject" Target="../embeddings/oleObject97.bin"/><Relationship Id="rId5" Type="http://schemas.openxmlformats.org/officeDocument/2006/relationships/oleObject" Target="../embeddings/oleObject96.bin"/><Relationship Id="rId4" Type="http://schemas.openxmlformats.org/officeDocument/2006/relationships/image" Target="../media/image57.jpeg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65.xml"/><Relationship Id="rId1" Type="http://schemas.openxmlformats.org/officeDocument/2006/relationships/vmlDrawing" Target="../drawings/vmlDrawing89.vml"/><Relationship Id="rId6" Type="http://schemas.openxmlformats.org/officeDocument/2006/relationships/oleObject" Target="../embeddings/oleObject99.bin"/><Relationship Id="rId5" Type="http://schemas.openxmlformats.org/officeDocument/2006/relationships/oleObject" Target="../embeddings/oleObject98.bin"/><Relationship Id="rId4" Type="http://schemas.openxmlformats.org/officeDocument/2006/relationships/image" Target="../media/image58.jpeg"/></Relationships>
</file>

<file path=ppt/slideLayouts/_rels/slideLayout12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6.xml"/><Relationship Id="rId3" Type="http://schemas.openxmlformats.org/officeDocument/2006/relationships/tags" Target="../tags/tag375.xml"/><Relationship Id="rId7" Type="http://schemas.openxmlformats.org/officeDocument/2006/relationships/tags" Target="../tags/tag379.xml"/><Relationship Id="rId12" Type="http://schemas.openxmlformats.org/officeDocument/2006/relationships/image" Target="../media/image5.png"/><Relationship Id="rId2" Type="http://schemas.openxmlformats.org/officeDocument/2006/relationships/tags" Target="../tags/tag374.xml"/><Relationship Id="rId1" Type="http://schemas.openxmlformats.org/officeDocument/2006/relationships/vmlDrawing" Target="../drawings/vmlDrawing91.vml"/><Relationship Id="rId6" Type="http://schemas.openxmlformats.org/officeDocument/2006/relationships/tags" Target="../tags/tag378.xml"/><Relationship Id="rId11" Type="http://schemas.openxmlformats.org/officeDocument/2006/relationships/image" Target="../media/image4.emf"/><Relationship Id="rId5" Type="http://schemas.openxmlformats.org/officeDocument/2006/relationships/tags" Target="../tags/tag377.xml"/><Relationship Id="rId10" Type="http://schemas.openxmlformats.org/officeDocument/2006/relationships/oleObject" Target="../embeddings/oleObject101.bin"/><Relationship Id="rId4" Type="http://schemas.openxmlformats.org/officeDocument/2006/relationships/tags" Target="../tags/tag376.xml"/><Relationship Id="rId9" Type="http://schemas.openxmlformats.org/officeDocument/2006/relationships/image" Target="../media/image3.jpeg"/></Relationships>
</file>

<file path=ppt/slideLayouts/_rels/slideLayout1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6.xml"/><Relationship Id="rId3" Type="http://schemas.openxmlformats.org/officeDocument/2006/relationships/tags" Target="../tags/tag381.xml"/><Relationship Id="rId7" Type="http://schemas.openxmlformats.org/officeDocument/2006/relationships/tags" Target="../tags/tag385.xml"/><Relationship Id="rId12" Type="http://schemas.openxmlformats.org/officeDocument/2006/relationships/image" Target="../media/image4.emf"/><Relationship Id="rId2" Type="http://schemas.openxmlformats.org/officeDocument/2006/relationships/tags" Target="../tags/tag380.xml"/><Relationship Id="rId1" Type="http://schemas.openxmlformats.org/officeDocument/2006/relationships/vmlDrawing" Target="../drawings/vmlDrawing92.vml"/><Relationship Id="rId6" Type="http://schemas.openxmlformats.org/officeDocument/2006/relationships/tags" Target="../tags/tag384.xml"/><Relationship Id="rId11" Type="http://schemas.openxmlformats.org/officeDocument/2006/relationships/image" Target="../media/image5.png"/><Relationship Id="rId5" Type="http://schemas.openxmlformats.org/officeDocument/2006/relationships/tags" Target="../tags/tag383.xml"/><Relationship Id="rId10" Type="http://schemas.openxmlformats.org/officeDocument/2006/relationships/oleObject" Target="../embeddings/oleObject102.bin"/><Relationship Id="rId4" Type="http://schemas.openxmlformats.org/officeDocument/2006/relationships/tags" Target="../tags/tag382.xml"/><Relationship Id="rId9" Type="http://schemas.openxmlformats.org/officeDocument/2006/relationships/image" Target="../media/image6.jpeg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tags" Target="../tags/tag387.xml"/><Relationship Id="rId7" Type="http://schemas.openxmlformats.org/officeDocument/2006/relationships/oleObject" Target="../embeddings/oleObject103.bin"/><Relationship Id="rId2" Type="http://schemas.openxmlformats.org/officeDocument/2006/relationships/tags" Target="../tags/tag386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16.xml"/><Relationship Id="rId4" Type="http://schemas.openxmlformats.org/officeDocument/2006/relationships/tags" Target="../tags/tag388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89.xml"/><Relationship Id="rId1" Type="http://schemas.openxmlformats.org/officeDocument/2006/relationships/vmlDrawing" Target="../drawings/vmlDrawing94.vml"/><Relationship Id="rId4" Type="http://schemas.openxmlformats.org/officeDocument/2006/relationships/oleObject" Target="../embeddings/oleObject104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tags" Target="../tags/tag391.xml"/><Relationship Id="rId2" Type="http://schemas.openxmlformats.org/officeDocument/2006/relationships/tags" Target="../tags/tag390.xml"/><Relationship Id="rId1" Type="http://schemas.openxmlformats.org/officeDocument/2006/relationships/vmlDrawing" Target="../drawings/vmlDrawing95.vml"/><Relationship Id="rId6" Type="http://schemas.openxmlformats.org/officeDocument/2006/relationships/oleObject" Target="../embeddings/oleObject105.bin"/><Relationship Id="rId5" Type="http://schemas.openxmlformats.org/officeDocument/2006/relationships/slideMaster" Target="../slideMasters/slideMaster16.xml"/><Relationship Id="rId4" Type="http://schemas.openxmlformats.org/officeDocument/2006/relationships/tags" Target="../tags/tag392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tags" Target="../tags/tag394.xml"/><Relationship Id="rId2" Type="http://schemas.openxmlformats.org/officeDocument/2006/relationships/tags" Target="../tags/tag393.xml"/><Relationship Id="rId1" Type="http://schemas.openxmlformats.org/officeDocument/2006/relationships/vmlDrawing" Target="../drawings/vmlDrawing96.vml"/><Relationship Id="rId6" Type="http://schemas.openxmlformats.org/officeDocument/2006/relationships/oleObject" Target="../embeddings/oleObject106.bin"/><Relationship Id="rId5" Type="http://schemas.openxmlformats.org/officeDocument/2006/relationships/slideMaster" Target="../slideMasters/slideMaster16.xml"/><Relationship Id="rId4" Type="http://schemas.openxmlformats.org/officeDocument/2006/relationships/tags" Target="../tags/tag39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5.png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7.bin"/><Relationship Id="rId3" Type="http://schemas.openxmlformats.org/officeDocument/2006/relationships/tags" Target="../tags/tag397.xml"/><Relationship Id="rId7" Type="http://schemas.openxmlformats.org/officeDocument/2006/relationships/slideMaster" Target="../slideMasters/slideMaster16.xml"/><Relationship Id="rId2" Type="http://schemas.openxmlformats.org/officeDocument/2006/relationships/tags" Target="../tags/tag396.xml"/><Relationship Id="rId1" Type="http://schemas.openxmlformats.org/officeDocument/2006/relationships/vmlDrawing" Target="../drawings/vmlDrawing97.vml"/><Relationship Id="rId6" Type="http://schemas.openxmlformats.org/officeDocument/2006/relationships/tags" Target="../tags/tag400.xml"/><Relationship Id="rId5" Type="http://schemas.openxmlformats.org/officeDocument/2006/relationships/tags" Target="../tags/tag399.xml"/><Relationship Id="rId4" Type="http://schemas.openxmlformats.org/officeDocument/2006/relationships/tags" Target="../tags/tag398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8.bin"/><Relationship Id="rId2" Type="http://schemas.openxmlformats.org/officeDocument/2006/relationships/slideMaster" Target="../slideMasters/slideMaster16.xml"/><Relationship Id="rId1" Type="http://schemas.openxmlformats.org/officeDocument/2006/relationships/vmlDrawing" Target="../drawings/vmlDrawing98.v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7.xml"/><Relationship Id="rId3" Type="http://schemas.openxmlformats.org/officeDocument/2006/relationships/tags" Target="../tags/tag410.xml"/><Relationship Id="rId7" Type="http://schemas.openxmlformats.org/officeDocument/2006/relationships/tags" Target="../tags/tag414.xml"/><Relationship Id="rId12" Type="http://schemas.openxmlformats.org/officeDocument/2006/relationships/image" Target="../media/image5.png"/><Relationship Id="rId2" Type="http://schemas.openxmlformats.org/officeDocument/2006/relationships/tags" Target="../tags/tag409.xml"/><Relationship Id="rId1" Type="http://schemas.openxmlformats.org/officeDocument/2006/relationships/vmlDrawing" Target="../drawings/vmlDrawing100.vml"/><Relationship Id="rId6" Type="http://schemas.openxmlformats.org/officeDocument/2006/relationships/tags" Target="../tags/tag413.xml"/><Relationship Id="rId11" Type="http://schemas.openxmlformats.org/officeDocument/2006/relationships/image" Target="../media/image4.emf"/><Relationship Id="rId5" Type="http://schemas.openxmlformats.org/officeDocument/2006/relationships/tags" Target="../tags/tag412.xml"/><Relationship Id="rId10" Type="http://schemas.openxmlformats.org/officeDocument/2006/relationships/oleObject" Target="../embeddings/oleObject110.bin"/><Relationship Id="rId4" Type="http://schemas.openxmlformats.org/officeDocument/2006/relationships/tags" Target="../tags/tag411.xml"/><Relationship Id="rId9" Type="http://schemas.openxmlformats.org/officeDocument/2006/relationships/image" Target="../media/image3.jpeg"/></Relationships>
</file>

<file path=ppt/slideLayouts/_rels/slideLayout13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7.xml"/><Relationship Id="rId3" Type="http://schemas.openxmlformats.org/officeDocument/2006/relationships/tags" Target="../tags/tag416.xml"/><Relationship Id="rId7" Type="http://schemas.openxmlformats.org/officeDocument/2006/relationships/tags" Target="../tags/tag420.xml"/><Relationship Id="rId12" Type="http://schemas.openxmlformats.org/officeDocument/2006/relationships/image" Target="../media/image4.emf"/><Relationship Id="rId2" Type="http://schemas.openxmlformats.org/officeDocument/2006/relationships/tags" Target="../tags/tag415.xml"/><Relationship Id="rId1" Type="http://schemas.openxmlformats.org/officeDocument/2006/relationships/vmlDrawing" Target="../drawings/vmlDrawing101.vml"/><Relationship Id="rId6" Type="http://schemas.openxmlformats.org/officeDocument/2006/relationships/tags" Target="../tags/tag419.xml"/><Relationship Id="rId11" Type="http://schemas.openxmlformats.org/officeDocument/2006/relationships/image" Target="../media/image5.png"/><Relationship Id="rId5" Type="http://schemas.openxmlformats.org/officeDocument/2006/relationships/tags" Target="../tags/tag418.xml"/><Relationship Id="rId10" Type="http://schemas.openxmlformats.org/officeDocument/2006/relationships/oleObject" Target="../embeddings/oleObject111.bin"/><Relationship Id="rId4" Type="http://schemas.openxmlformats.org/officeDocument/2006/relationships/tags" Target="../tags/tag417.xml"/><Relationship Id="rId9" Type="http://schemas.openxmlformats.org/officeDocument/2006/relationships/image" Target="../media/image6.jpeg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tags" Target="../tags/tag422.xml"/><Relationship Id="rId7" Type="http://schemas.openxmlformats.org/officeDocument/2006/relationships/oleObject" Target="../embeddings/oleObject112.bin"/><Relationship Id="rId2" Type="http://schemas.openxmlformats.org/officeDocument/2006/relationships/tags" Target="../tags/tag421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17.xml"/><Relationship Id="rId4" Type="http://schemas.openxmlformats.org/officeDocument/2006/relationships/tags" Target="../tags/tag423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424.xml"/><Relationship Id="rId1" Type="http://schemas.openxmlformats.org/officeDocument/2006/relationships/vmlDrawing" Target="../drawings/vmlDrawing103.vml"/><Relationship Id="rId4" Type="http://schemas.openxmlformats.org/officeDocument/2006/relationships/oleObject" Target="../embeddings/oleObject113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tags" Target="../tags/tag426.xml"/><Relationship Id="rId2" Type="http://schemas.openxmlformats.org/officeDocument/2006/relationships/tags" Target="../tags/tag425.xml"/><Relationship Id="rId1" Type="http://schemas.openxmlformats.org/officeDocument/2006/relationships/vmlDrawing" Target="../drawings/vmlDrawing104.vml"/><Relationship Id="rId6" Type="http://schemas.openxmlformats.org/officeDocument/2006/relationships/oleObject" Target="../embeddings/oleObject114.bin"/><Relationship Id="rId5" Type="http://schemas.openxmlformats.org/officeDocument/2006/relationships/slideMaster" Target="../slideMasters/slideMaster17.xml"/><Relationship Id="rId4" Type="http://schemas.openxmlformats.org/officeDocument/2006/relationships/tags" Target="../tags/tag427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tags" Target="../tags/tag429.xml"/><Relationship Id="rId2" Type="http://schemas.openxmlformats.org/officeDocument/2006/relationships/tags" Target="../tags/tag428.xml"/><Relationship Id="rId1" Type="http://schemas.openxmlformats.org/officeDocument/2006/relationships/vmlDrawing" Target="../drawings/vmlDrawing105.vml"/><Relationship Id="rId6" Type="http://schemas.openxmlformats.org/officeDocument/2006/relationships/oleObject" Target="../embeddings/oleObject115.bin"/><Relationship Id="rId5" Type="http://schemas.openxmlformats.org/officeDocument/2006/relationships/slideMaster" Target="../slideMasters/slideMaster17.xml"/><Relationship Id="rId4" Type="http://schemas.openxmlformats.org/officeDocument/2006/relationships/tags" Target="../tags/tag430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image" Target="../media/image6.jpeg"/><Relationship Id="rId4" Type="http://schemas.openxmlformats.org/officeDocument/2006/relationships/slideMaster" Target="../slideMasters/slideMaster3.xml"/></Relationships>
</file>

<file path=ppt/slideLayouts/_rels/slideLayout14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6.bin"/><Relationship Id="rId3" Type="http://schemas.openxmlformats.org/officeDocument/2006/relationships/tags" Target="../tags/tag432.xml"/><Relationship Id="rId7" Type="http://schemas.openxmlformats.org/officeDocument/2006/relationships/slideMaster" Target="../slideMasters/slideMaster17.xml"/><Relationship Id="rId2" Type="http://schemas.openxmlformats.org/officeDocument/2006/relationships/tags" Target="../tags/tag431.xml"/><Relationship Id="rId1" Type="http://schemas.openxmlformats.org/officeDocument/2006/relationships/vmlDrawing" Target="../drawings/vmlDrawing106.vml"/><Relationship Id="rId6" Type="http://schemas.openxmlformats.org/officeDocument/2006/relationships/tags" Target="../tags/tag435.xml"/><Relationship Id="rId5" Type="http://schemas.openxmlformats.org/officeDocument/2006/relationships/tags" Target="../tags/tag434.xml"/><Relationship Id="rId4" Type="http://schemas.openxmlformats.org/officeDocument/2006/relationships/tags" Target="../tags/tag43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7.bin"/><Relationship Id="rId2" Type="http://schemas.openxmlformats.org/officeDocument/2006/relationships/slideMaster" Target="../slideMasters/slideMaster17.xml"/><Relationship Id="rId1" Type="http://schemas.openxmlformats.org/officeDocument/2006/relationships/vmlDrawing" Target="../drawings/vmlDrawing107.v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8.xml"/><Relationship Id="rId3" Type="http://schemas.openxmlformats.org/officeDocument/2006/relationships/tags" Target="../tags/tag445.xml"/><Relationship Id="rId7" Type="http://schemas.openxmlformats.org/officeDocument/2006/relationships/tags" Target="../tags/tag449.xml"/><Relationship Id="rId12" Type="http://schemas.openxmlformats.org/officeDocument/2006/relationships/image" Target="../media/image5.png"/><Relationship Id="rId2" Type="http://schemas.openxmlformats.org/officeDocument/2006/relationships/tags" Target="../tags/tag444.xml"/><Relationship Id="rId1" Type="http://schemas.openxmlformats.org/officeDocument/2006/relationships/vmlDrawing" Target="../drawings/vmlDrawing109.vml"/><Relationship Id="rId6" Type="http://schemas.openxmlformats.org/officeDocument/2006/relationships/tags" Target="../tags/tag448.xml"/><Relationship Id="rId11" Type="http://schemas.openxmlformats.org/officeDocument/2006/relationships/image" Target="../media/image4.emf"/><Relationship Id="rId5" Type="http://schemas.openxmlformats.org/officeDocument/2006/relationships/tags" Target="../tags/tag447.xml"/><Relationship Id="rId10" Type="http://schemas.openxmlformats.org/officeDocument/2006/relationships/oleObject" Target="../embeddings/oleObject119.bin"/><Relationship Id="rId4" Type="http://schemas.openxmlformats.org/officeDocument/2006/relationships/tags" Target="../tags/tag446.xml"/><Relationship Id="rId9" Type="http://schemas.openxmlformats.org/officeDocument/2006/relationships/image" Target="../media/image3.jpeg"/></Relationships>
</file>

<file path=ppt/slideLayouts/_rels/slideLayout14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8.xml"/><Relationship Id="rId3" Type="http://schemas.openxmlformats.org/officeDocument/2006/relationships/tags" Target="../tags/tag451.xml"/><Relationship Id="rId7" Type="http://schemas.openxmlformats.org/officeDocument/2006/relationships/tags" Target="../tags/tag455.xml"/><Relationship Id="rId12" Type="http://schemas.openxmlformats.org/officeDocument/2006/relationships/image" Target="../media/image4.emf"/><Relationship Id="rId2" Type="http://schemas.openxmlformats.org/officeDocument/2006/relationships/tags" Target="../tags/tag450.xml"/><Relationship Id="rId1" Type="http://schemas.openxmlformats.org/officeDocument/2006/relationships/vmlDrawing" Target="../drawings/vmlDrawing110.vml"/><Relationship Id="rId6" Type="http://schemas.openxmlformats.org/officeDocument/2006/relationships/tags" Target="../tags/tag454.xml"/><Relationship Id="rId11" Type="http://schemas.openxmlformats.org/officeDocument/2006/relationships/image" Target="../media/image5.png"/><Relationship Id="rId5" Type="http://schemas.openxmlformats.org/officeDocument/2006/relationships/tags" Target="../tags/tag453.xml"/><Relationship Id="rId10" Type="http://schemas.openxmlformats.org/officeDocument/2006/relationships/oleObject" Target="../embeddings/oleObject120.bin"/><Relationship Id="rId4" Type="http://schemas.openxmlformats.org/officeDocument/2006/relationships/tags" Target="../tags/tag452.xml"/><Relationship Id="rId9" Type="http://schemas.openxmlformats.org/officeDocument/2006/relationships/image" Target="../media/image6.jpeg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tags" Target="../tags/tag457.xml"/><Relationship Id="rId7" Type="http://schemas.openxmlformats.org/officeDocument/2006/relationships/oleObject" Target="../embeddings/oleObject121.bin"/><Relationship Id="rId2" Type="http://schemas.openxmlformats.org/officeDocument/2006/relationships/tags" Target="../tags/tag456.xml"/><Relationship Id="rId1" Type="http://schemas.openxmlformats.org/officeDocument/2006/relationships/vmlDrawing" Target="../drawings/vmlDrawing111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18.xml"/><Relationship Id="rId4" Type="http://schemas.openxmlformats.org/officeDocument/2006/relationships/tags" Target="../tags/tag458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459.xml"/><Relationship Id="rId1" Type="http://schemas.openxmlformats.org/officeDocument/2006/relationships/vmlDrawing" Target="../drawings/vmlDrawing112.vml"/><Relationship Id="rId4" Type="http://schemas.openxmlformats.org/officeDocument/2006/relationships/oleObject" Target="../embeddings/oleObject122.bin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tags" Target="../tags/tag461.xml"/><Relationship Id="rId2" Type="http://schemas.openxmlformats.org/officeDocument/2006/relationships/tags" Target="../tags/tag460.xml"/><Relationship Id="rId1" Type="http://schemas.openxmlformats.org/officeDocument/2006/relationships/vmlDrawing" Target="../drawings/vmlDrawing113.vml"/><Relationship Id="rId6" Type="http://schemas.openxmlformats.org/officeDocument/2006/relationships/oleObject" Target="../embeddings/oleObject123.bin"/><Relationship Id="rId5" Type="http://schemas.openxmlformats.org/officeDocument/2006/relationships/slideMaster" Target="../slideMasters/slideMaster18.xml"/><Relationship Id="rId4" Type="http://schemas.openxmlformats.org/officeDocument/2006/relationships/tags" Target="../tags/tag462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tags" Target="../tags/tag464.xml"/><Relationship Id="rId2" Type="http://schemas.openxmlformats.org/officeDocument/2006/relationships/tags" Target="../tags/tag463.xml"/><Relationship Id="rId1" Type="http://schemas.openxmlformats.org/officeDocument/2006/relationships/vmlDrawing" Target="../drawings/vmlDrawing114.vml"/><Relationship Id="rId6" Type="http://schemas.openxmlformats.org/officeDocument/2006/relationships/oleObject" Target="../embeddings/oleObject124.bin"/><Relationship Id="rId5" Type="http://schemas.openxmlformats.org/officeDocument/2006/relationships/slideMaster" Target="../slideMasters/slideMaster18.xml"/><Relationship Id="rId4" Type="http://schemas.openxmlformats.org/officeDocument/2006/relationships/tags" Target="../tags/tag465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Layouts/_rels/slideLayout15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5.bin"/><Relationship Id="rId3" Type="http://schemas.openxmlformats.org/officeDocument/2006/relationships/tags" Target="../tags/tag467.xml"/><Relationship Id="rId7" Type="http://schemas.openxmlformats.org/officeDocument/2006/relationships/slideMaster" Target="../slideMasters/slideMaster18.xml"/><Relationship Id="rId2" Type="http://schemas.openxmlformats.org/officeDocument/2006/relationships/tags" Target="../tags/tag466.xml"/><Relationship Id="rId1" Type="http://schemas.openxmlformats.org/officeDocument/2006/relationships/vmlDrawing" Target="../drawings/vmlDrawing115.vml"/><Relationship Id="rId6" Type="http://schemas.openxmlformats.org/officeDocument/2006/relationships/tags" Target="../tags/tag470.xml"/><Relationship Id="rId5" Type="http://schemas.openxmlformats.org/officeDocument/2006/relationships/tags" Target="../tags/tag469.xml"/><Relationship Id="rId4" Type="http://schemas.openxmlformats.org/officeDocument/2006/relationships/tags" Target="../tags/tag468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6.bin"/><Relationship Id="rId2" Type="http://schemas.openxmlformats.org/officeDocument/2006/relationships/slideMaster" Target="../slideMasters/slideMaster18.xml"/><Relationship Id="rId1" Type="http://schemas.openxmlformats.org/officeDocument/2006/relationships/vmlDrawing" Target="../drawings/vmlDrawing116.v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9.xml"/><Relationship Id="rId3" Type="http://schemas.openxmlformats.org/officeDocument/2006/relationships/tags" Target="../tags/tag480.xml"/><Relationship Id="rId7" Type="http://schemas.openxmlformats.org/officeDocument/2006/relationships/tags" Target="../tags/tag484.xml"/><Relationship Id="rId12" Type="http://schemas.openxmlformats.org/officeDocument/2006/relationships/image" Target="../media/image5.png"/><Relationship Id="rId2" Type="http://schemas.openxmlformats.org/officeDocument/2006/relationships/tags" Target="../tags/tag479.xml"/><Relationship Id="rId1" Type="http://schemas.openxmlformats.org/officeDocument/2006/relationships/vmlDrawing" Target="../drawings/vmlDrawing118.vml"/><Relationship Id="rId6" Type="http://schemas.openxmlformats.org/officeDocument/2006/relationships/tags" Target="../tags/tag483.xml"/><Relationship Id="rId11" Type="http://schemas.openxmlformats.org/officeDocument/2006/relationships/image" Target="../media/image4.emf"/><Relationship Id="rId5" Type="http://schemas.openxmlformats.org/officeDocument/2006/relationships/tags" Target="../tags/tag482.xml"/><Relationship Id="rId10" Type="http://schemas.openxmlformats.org/officeDocument/2006/relationships/oleObject" Target="../embeddings/oleObject128.bin"/><Relationship Id="rId4" Type="http://schemas.openxmlformats.org/officeDocument/2006/relationships/tags" Target="../tags/tag481.xml"/><Relationship Id="rId9" Type="http://schemas.openxmlformats.org/officeDocument/2006/relationships/image" Target="../media/image3.jpeg"/></Relationships>
</file>

<file path=ppt/slideLayouts/_rels/slideLayout15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9.xml"/><Relationship Id="rId3" Type="http://schemas.openxmlformats.org/officeDocument/2006/relationships/tags" Target="../tags/tag486.xml"/><Relationship Id="rId7" Type="http://schemas.openxmlformats.org/officeDocument/2006/relationships/tags" Target="../tags/tag490.xml"/><Relationship Id="rId12" Type="http://schemas.openxmlformats.org/officeDocument/2006/relationships/image" Target="../media/image4.emf"/><Relationship Id="rId2" Type="http://schemas.openxmlformats.org/officeDocument/2006/relationships/tags" Target="../tags/tag485.xml"/><Relationship Id="rId1" Type="http://schemas.openxmlformats.org/officeDocument/2006/relationships/vmlDrawing" Target="../drawings/vmlDrawing119.vml"/><Relationship Id="rId6" Type="http://schemas.openxmlformats.org/officeDocument/2006/relationships/tags" Target="../tags/tag489.xml"/><Relationship Id="rId11" Type="http://schemas.openxmlformats.org/officeDocument/2006/relationships/image" Target="../media/image5.png"/><Relationship Id="rId5" Type="http://schemas.openxmlformats.org/officeDocument/2006/relationships/tags" Target="../tags/tag488.xml"/><Relationship Id="rId10" Type="http://schemas.openxmlformats.org/officeDocument/2006/relationships/oleObject" Target="../embeddings/oleObject129.bin"/><Relationship Id="rId4" Type="http://schemas.openxmlformats.org/officeDocument/2006/relationships/tags" Target="../tags/tag487.xml"/><Relationship Id="rId9" Type="http://schemas.openxmlformats.org/officeDocument/2006/relationships/image" Target="../media/image6.jpeg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tags" Target="../tags/tag492.xml"/><Relationship Id="rId7" Type="http://schemas.openxmlformats.org/officeDocument/2006/relationships/oleObject" Target="../embeddings/oleObject130.bin"/><Relationship Id="rId2" Type="http://schemas.openxmlformats.org/officeDocument/2006/relationships/tags" Target="../tags/tag491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19.xml"/><Relationship Id="rId4" Type="http://schemas.openxmlformats.org/officeDocument/2006/relationships/tags" Target="../tags/tag493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494.xml"/><Relationship Id="rId1" Type="http://schemas.openxmlformats.org/officeDocument/2006/relationships/vmlDrawing" Target="../drawings/vmlDrawing121.vml"/><Relationship Id="rId4" Type="http://schemas.openxmlformats.org/officeDocument/2006/relationships/oleObject" Target="../embeddings/oleObject131.bin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tags" Target="../tags/tag496.xml"/><Relationship Id="rId2" Type="http://schemas.openxmlformats.org/officeDocument/2006/relationships/tags" Target="../tags/tag495.xml"/><Relationship Id="rId1" Type="http://schemas.openxmlformats.org/officeDocument/2006/relationships/vmlDrawing" Target="../drawings/vmlDrawing122.vml"/><Relationship Id="rId6" Type="http://schemas.openxmlformats.org/officeDocument/2006/relationships/oleObject" Target="../embeddings/oleObject132.bin"/><Relationship Id="rId5" Type="http://schemas.openxmlformats.org/officeDocument/2006/relationships/slideMaster" Target="../slideMasters/slideMaster19.xml"/><Relationship Id="rId4" Type="http://schemas.openxmlformats.org/officeDocument/2006/relationships/tags" Target="../tags/tag497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tags" Target="../tags/tag499.xml"/><Relationship Id="rId2" Type="http://schemas.openxmlformats.org/officeDocument/2006/relationships/tags" Target="../tags/tag498.xml"/><Relationship Id="rId1" Type="http://schemas.openxmlformats.org/officeDocument/2006/relationships/vmlDrawing" Target="../drawings/vmlDrawing123.vml"/><Relationship Id="rId6" Type="http://schemas.openxmlformats.org/officeDocument/2006/relationships/oleObject" Target="../embeddings/oleObject133.bin"/><Relationship Id="rId5" Type="http://schemas.openxmlformats.org/officeDocument/2006/relationships/slideMaster" Target="../slideMasters/slideMaster19.xml"/><Relationship Id="rId4" Type="http://schemas.openxmlformats.org/officeDocument/2006/relationships/tags" Target="../tags/tag500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6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/Relationships>
</file>

<file path=ppt/slideLayouts/_rels/slideLayout16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4.bin"/><Relationship Id="rId3" Type="http://schemas.openxmlformats.org/officeDocument/2006/relationships/tags" Target="../tags/tag502.xml"/><Relationship Id="rId7" Type="http://schemas.openxmlformats.org/officeDocument/2006/relationships/slideMaster" Target="../slideMasters/slideMaster19.xml"/><Relationship Id="rId2" Type="http://schemas.openxmlformats.org/officeDocument/2006/relationships/tags" Target="../tags/tag501.xml"/><Relationship Id="rId1" Type="http://schemas.openxmlformats.org/officeDocument/2006/relationships/vmlDrawing" Target="../drawings/vmlDrawing124.vml"/><Relationship Id="rId6" Type="http://schemas.openxmlformats.org/officeDocument/2006/relationships/tags" Target="../tags/tag505.xml"/><Relationship Id="rId5" Type="http://schemas.openxmlformats.org/officeDocument/2006/relationships/tags" Target="../tags/tag504.xml"/><Relationship Id="rId4" Type="http://schemas.openxmlformats.org/officeDocument/2006/relationships/tags" Target="../tags/tag503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5.bin"/><Relationship Id="rId2" Type="http://schemas.openxmlformats.org/officeDocument/2006/relationships/slideMaster" Target="../slideMasters/slideMaster19.xml"/><Relationship Id="rId1" Type="http://schemas.openxmlformats.org/officeDocument/2006/relationships/vmlDrawing" Target="../drawings/vmlDrawing125.v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slideMaster" Target="../slideMasters/slideMaster20.xml"/><Relationship Id="rId7" Type="http://schemas.openxmlformats.org/officeDocument/2006/relationships/image" Target="../media/image19.png"/><Relationship Id="rId2" Type="http://schemas.openxmlformats.org/officeDocument/2006/relationships/tags" Target="../tags/tag514.xml"/><Relationship Id="rId1" Type="http://schemas.openxmlformats.org/officeDocument/2006/relationships/tags" Target="../tags/tag513.xml"/><Relationship Id="rId6" Type="http://schemas.openxmlformats.org/officeDocument/2006/relationships/image" Target="../media/image53.png"/><Relationship Id="rId5" Type="http://schemas.openxmlformats.org/officeDocument/2006/relationships/image" Target="../media/image48.png"/><Relationship Id="rId10" Type="http://schemas.openxmlformats.org/officeDocument/2006/relationships/image" Target="../media/image55.png"/><Relationship Id="rId4" Type="http://schemas.openxmlformats.org/officeDocument/2006/relationships/image" Target="../media/image52.png"/><Relationship Id="rId9" Type="http://schemas.openxmlformats.org/officeDocument/2006/relationships/image" Target="../media/image54.png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51.png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51.png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515.xml"/><Relationship Id="rId1" Type="http://schemas.openxmlformats.org/officeDocument/2006/relationships/vmlDrawing" Target="../drawings/vmlDrawing127.vml"/><Relationship Id="rId6" Type="http://schemas.openxmlformats.org/officeDocument/2006/relationships/oleObject" Target="../embeddings/oleObject138.bin"/><Relationship Id="rId5" Type="http://schemas.openxmlformats.org/officeDocument/2006/relationships/oleObject" Target="../embeddings/oleObject137.bin"/><Relationship Id="rId4" Type="http://schemas.openxmlformats.org/officeDocument/2006/relationships/image" Target="../media/image56.jpeg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516.xml"/><Relationship Id="rId1" Type="http://schemas.openxmlformats.org/officeDocument/2006/relationships/vmlDrawing" Target="../drawings/vmlDrawing128.vml"/><Relationship Id="rId6" Type="http://schemas.openxmlformats.org/officeDocument/2006/relationships/oleObject" Target="../embeddings/oleObject140.bin"/><Relationship Id="rId5" Type="http://schemas.openxmlformats.org/officeDocument/2006/relationships/oleObject" Target="../embeddings/oleObject139.bin"/><Relationship Id="rId4" Type="http://schemas.openxmlformats.org/officeDocument/2006/relationships/image" Target="../media/image57.jpeg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517.xml"/><Relationship Id="rId1" Type="http://schemas.openxmlformats.org/officeDocument/2006/relationships/vmlDrawing" Target="../drawings/vmlDrawing129.vml"/><Relationship Id="rId6" Type="http://schemas.openxmlformats.org/officeDocument/2006/relationships/oleObject" Target="../embeddings/oleObject142.bin"/><Relationship Id="rId5" Type="http://schemas.openxmlformats.org/officeDocument/2006/relationships/oleObject" Target="../embeddings/oleObject141.bin"/><Relationship Id="rId4" Type="http://schemas.openxmlformats.org/officeDocument/2006/relationships/image" Target="../media/image58.jpe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Layouts/_rels/slideLayout17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1.xml"/><Relationship Id="rId3" Type="http://schemas.openxmlformats.org/officeDocument/2006/relationships/tags" Target="../tags/tag527.xml"/><Relationship Id="rId7" Type="http://schemas.openxmlformats.org/officeDocument/2006/relationships/tags" Target="../tags/tag531.xml"/><Relationship Id="rId12" Type="http://schemas.openxmlformats.org/officeDocument/2006/relationships/image" Target="../media/image5.png"/><Relationship Id="rId2" Type="http://schemas.openxmlformats.org/officeDocument/2006/relationships/tags" Target="../tags/tag526.xml"/><Relationship Id="rId1" Type="http://schemas.openxmlformats.org/officeDocument/2006/relationships/vmlDrawing" Target="../drawings/vmlDrawing131.vml"/><Relationship Id="rId6" Type="http://schemas.openxmlformats.org/officeDocument/2006/relationships/tags" Target="../tags/tag530.xml"/><Relationship Id="rId11" Type="http://schemas.openxmlformats.org/officeDocument/2006/relationships/image" Target="../media/image4.emf"/><Relationship Id="rId5" Type="http://schemas.openxmlformats.org/officeDocument/2006/relationships/tags" Target="../tags/tag529.xml"/><Relationship Id="rId10" Type="http://schemas.openxmlformats.org/officeDocument/2006/relationships/oleObject" Target="../embeddings/oleObject144.bin"/><Relationship Id="rId4" Type="http://schemas.openxmlformats.org/officeDocument/2006/relationships/tags" Target="../tags/tag528.xml"/><Relationship Id="rId9" Type="http://schemas.openxmlformats.org/officeDocument/2006/relationships/image" Target="../media/image3.jpeg"/></Relationships>
</file>

<file path=ppt/slideLayouts/_rels/slideLayout17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1.xml"/><Relationship Id="rId3" Type="http://schemas.openxmlformats.org/officeDocument/2006/relationships/tags" Target="../tags/tag533.xml"/><Relationship Id="rId7" Type="http://schemas.openxmlformats.org/officeDocument/2006/relationships/tags" Target="../tags/tag537.xml"/><Relationship Id="rId12" Type="http://schemas.openxmlformats.org/officeDocument/2006/relationships/image" Target="../media/image4.emf"/><Relationship Id="rId2" Type="http://schemas.openxmlformats.org/officeDocument/2006/relationships/tags" Target="../tags/tag532.xml"/><Relationship Id="rId1" Type="http://schemas.openxmlformats.org/officeDocument/2006/relationships/vmlDrawing" Target="../drawings/vmlDrawing132.vml"/><Relationship Id="rId6" Type="http://schemas.openxmlformats.org/officeDocument/2006/relationships/tags" Target="../tags/tag536.xml"/><Relationship Id="rId11" Type="http://schemas.openxmlformats.org/officeDocument/2006/relationships/image" Target="../media/image5.png"/><Relationship Id="rId5" Type="http://schemas.openxmlformats.org/officeDocument/2006/relationships/tags" Target="../tags/tag535.xml"/><Relationship Id="rId10" Type="http://schemas.openxmlformats.org/officeDocument/2006/relationships/oleObject" Target="../embeddings/oleObject145.bin"/><Relationship Id="rId4" Type="http://schemas.openxmlformats.org/officeDocument/2006/relationships/tags" Target="../tags/tag534.xml"/><Relationship Id="rId9" Type="http://schemas.openxmlformats.org/officeDocument/2006/relationships/image" Target="../media/image6.jpeg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tags" Target="../tags/tag539.xml"/><Relationship Id="rId7" Type="http://schemas.openxmlformats.org/officeDocument/2006/relationships/oleObject" Target="../embeddings/oleObject146.bin"/><Relationship Id="rId2" Type="http://schemas.openxmlformats.org/officeDocument/2006/relationships/tags" Target="../tags/tag538.xml"/><Relationship Id="rId1" Type="http://schemas.openxmlformats.org/officeDocument/2006/relationships/vmlDrawing" Target="../drawings/vmlDrawing133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21.xml"/><Relationship Id="rId4" Type="http://schemas.openxmlformats.org/officeDocument/2006/relationships/tags" Target="../tags/tag540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541.xml"/><Relationship Id="rId1" Type="http://schemas.openxmlformats.org/officeDocument/2006/relationships/vmlDrawing" Target="../drawings/vmlDrawing134.vml"/><Relationship Id="rId4" Type="http://schemas.openxmlformats.org/officeDocument/2006/relationships/oleObject" Target="../embeddings/oleObject147.bin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tags" Target="../tags/tag543.xml"/><Relationship Id="rId2" Type="http://schemas.openxmlformats.org/officeDocument/2006/relationships/tags" Target="../tags/tag542.xml"/><Relationship Id="rId1" Type="http://schemas.openxmlformats.org/officeDocument/2006/relationships/vmlDrawing" Target="../drawings/vmlDrawing135.vml"/><Relationship Id="rId6" Type="http://schemas.openxmlformats.org/officeDocument/2006/relationships/oleObject" Target="../embeddings/oleObject148.bin"/><Relationship Id="rId5" Type="http://schemas.openxmlformats.org/officeDocument/2006/relationships/slideMaster" Target="../slideMasters/slideMaster21.xml"/><Relationship Id="rId4" Type="http://schemas.openxmlformats.org/officeDocument/2006/relationships/tags" Target="../tags/tag544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tags" Target="../tags/tag546.xml"/><Relationship Id="rId2" Type="http://schemas.openxmlformats.org/officeDocument/2006/relationships/tags" Target="../tags/tag545.xml"/><Relationship Id="rId1" Type="http://schemas.openxmlformats.org/officeDocument/2006/relationships/vmlDrawing" Target="../drawings/vmlDrawing136.vml"/><Relationship Id="rId6" Type="http://schemas.openxmlformats.org/officeDocument/2006/relationships/oleObject" Target="../embeddings/oleObject149.bin"/><Relationship Id="rId5" Type="http://schemas.openxmlformats.org/officeDocument/2006/relationships/slideMaster" Target="../slideMasters/slideMaster21.xml"/><Relationship Id="rId4" Type="http://schemas.openxmlformats.org/officeDocument/2006/relationships/tags" Target="../tags/tag547.xml"/></Relationships>
</file>

<file path=ppt/slideLayouts/_rels/slideLayout17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0.bin"/><Relationship Id="rId3" Type="http://schemas.openxmlformats.org/officeDocument/2006/relationships/tags" Target="../tags/tag549.xml"/><Relationship Id="rId7" Type="http://schemas.openxmlformats.org/officeDocument/2006/relationships/slideMaster" Target="../slideMasters/slideMaster21.xml"/><Relationship Id="rId2" Type="http://schemas.openxmlformats.org/officeDocument/2006/relationships/tags" Target="../tags/tag548.xml"/><Relationship Id="rId1" Type="http://schemas.openxmlformats.org/officeDocument/2006/relationships/vmlDrawing" Target="../drawings/vmlDrawing137.vml"/><Relationship Id="rId6" Type="http://schemas.openxmlformats.org/officeDocument/2006/relationships/tags" Target="../tags/tag552.xml"/><Relationship Id="rId5" Type="http://schemas.openxmlformats.org/officeDocument/2006/relationships/tags" Target="../tags/tag551.xml"/><Relationship Id="rId4" Type="http://schemas.openxmlformats.org/officeDocument/2006/relationships/tags" Target="../tags/tag550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1.bin"/><Relationship Id="rId2" Type="http://schemas.openxmlformats.org/officeDocument/2006/relationships/slideMaster" Target="../slideMasters/slideMaster21.xml"/><Relationship Id="rId1" Type="http://schemas.openxmlformats.org/officeDocument/2006/relationships/vmlDrawing" Target="../drawings/vmlDrawing138.v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Layouts/_rels/slideLayout18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2.xml"/><Relationship Id="rId3" Type="http://schemas.openxmlformats.org/officeDocument/2006/relationships/tags" Target="../tags/tag562.xml"/><Relationship Id="rId7" Type="http://schemas.openxmlformats.org/officeDocument/2006/relationships/tags" Target="../tags/tag566.xml"/><Relationship Id="rId12" Type="http://schemas.openxmlformats.org/officeDocument/2006/relationships/image" Target="../media/image5.png"/><Relationship Id="rId2" Type="http://schemas.openxmlformats.org/officeDocument/2006/relationships/tags" Target="../tags/tag561.xml"/><Relationship Id="rId1" Type="http://schemas.openxmlformats.org/officeDocument/2006/relationships/vmlDrawing" Target="../drawings/vmlDrawing140.vml"/><Relationship Id="rId6" Type="http://schemas.openxmlformats.org/officeDocument/2006/relationships/tags" Target="../tags/tag565.xml"/><Relationship Id="rId11" Type="http://schemas.openxmlformats.org/officeDocument/2006/relationships/image" Target="../media/image4.emf"/><Relationship Id="rId5" Type="http://schemas.openxmlformats.org/officeDocument/2006/relationships/tags" Target="../tags/tag564.xml"/><Relationship Id="rId10" Type="http://schemas.openxmlformats.org/officeDocument/2006/relationships/oleObject" Target="../embeddings/oleObject153.bin"/><Relationship Id="rId4" Type="http://schemas.openxmlformats.org/officeDocument/2006/relationships/tags" Target="../tags/tag563.xml"/><Relationship Id="rId9" Type="http://schemas.openxmlformats.org/officeDocument/2006/relationships/image" Target="../media/image3.jpeg"/></Relationships>
</file>

<file path=ppt/slideLayouts/_rels/slideLayout18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2.xml"/><Relationship Id="rId3" Type="http://schemas.openxmlformats.org/officeDocument/2006/relationships/tags" Target="../tags/tag568.xml"/><Relationship Id="rId7" Type="http://schemas.openxmlformats.org/officeDocument/2006/relationships/tags" Target="../tags/tag572.xml"/><Relationship Id="rId12" Type="http://schemas.openxmlformats.org/officeDocument/2006/relationships/image" Target="../media/image4.emf"/><Relationship Id="rId2" Type="http://schemas.openxmlformats.org/officeDocument/2006/relationships/tags" Target="../tags/tag567.xml"/><Relationship Id="rId1" Type="http://schemas.openxmlformats.org/officeDocument/2006/relationships/vmlDrawing" Target="../drawings/vmlDrawing141.vml"/><Relationship Id="rId6" Type="http://schemas.openxmlformats.org/officeDocument/2006/relationships/tags" Target="../tags/tag571.xml"/><Relationship Id="rId11" Type="http://schemas.openxmlformats.org/officeDocument/2006/relationships/image" Target="../media/image5.png"/><Relationship Id="rId5" Type="http://schemas.openxmlformats.org/officeDocument/2006/relationships/tags" Target="../tags/tag570.xml"/><Relationship Id="rId10" Type="http://schemas.openxmlformats.org/officeDocument/2006/relationships/oleObject" Target="../embeddings/oleObject154.bin"/><Relationship Id="rId4" Type="http://schemas.openxmlformats.org/officeDocument/2006/relationships/tags" Target="../tags/tag569.xml"/><Relationship Id="rId9" Type="http://schemas.openxmlformats.org/officeDocument/2006/relationships/image" Target="../media/image6.jpeg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tags" Target="../tags/tag574.xml"/><Relationship Id="rId7" Type="http://schemas.openxmlformats.org/officeDocument/2006/relationships/oleObject" Target="../embeddings/oleObject155.bin"/><Relationship Id="rId2" Type="http://schemas.openxmlformats.org/officeDocument/2006/relationships/tags" Target="../tags/tag573.xml"/><Relationship Id="rId1" Type="http://schemas.openxmlformats.org/officeDocument/2006/relationships/vmlDrawing" Target="../drawings/vmlDrawing142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22.xml"/><Relationship Id="rId4" Type="http://schemas.openxmlformats.org/officeDocument/2006/relationships/tags" Target="../tags/tag575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576.xml"/><Relationship Id="rId1" Type="http://schemas.openxmlformats.org/officeDocument/2006/relationships/vmlDrawing" Target="../drawings/vmlDrawing143.vml"/><Relationship Id="rId4" Type="http://schemas.openxmlformats.org/officeDocument/2006/relationships/oleObject" Target="../embeddings/oleObject156.bin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tags" Target="../tags/tag578.xml"/><Relationship Id="rId2" Type="http://schemas.openxmlformats.org/officeDocument/2006/relationships/tags" Target="../tags/tag577.xml"/><Relationship Id="rId1" Type="http://schemas.openxmlformats.org/officeDocument/2006/relationships/vmlDrawing" Target="../drawings/vmlDrawing144.vml"/><Relationship Id="rId6" Type="http://schemas.openxmlformats.org/officeDocument/2006/relationships/oleObject" Target="../embeddings/oleObject157.bin"/><Relationship Id="rId5" Type="http://schemas.openxmlformats.org/officeDocument/2006/relationships/slideMaster" Target="../slideMasters/slideMaster22.xml"/><Relationship Id="rId4" Type="http://schemas.openxmlformats.org/officeDocument/2006/relationships/tags" Target="../tags/tag579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tags" Target="../tags/tag581.xml"/><Relationship Id="rId2" Type="http://schemas.openxmlformats.org/officeDocument/2006/relationships/tags" Target="../tags/tag580.xml"/><Relationship Id="rId1" Type="http://schemas.openxmlformats.org/officeDocument/2006/relationships/vmlDrawing" Target="../drawings/vmlDrawing145.vml"/><Relationship Id="rId6" Type="http://schemas.openxmlformats.org/officeDocument/2006/relationships/oleObject" Target="../embeddings/oleObject158.bin"/><Relationship Id="rId5" Type="http://schemas.openxmlformats.org/officeDocument/2006/relationships/slideMaster" Target="../slideMasters/slideMaster22.xml"/><Relationship Id="rId4" Type="http://schemas.openxmlformats.org/officeDocument/2006/relationships/tags" Target="../tags/tag582.xml"/></Relationships>
</file>

<file path=ppt/slideLayouts/_rels/slideLayout18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9.bin"/><Relationship Id="rId3" Type="http://schemas.openxmlformats.org/officeDocument/2006/relationships/tags" Target="../tags/tag584.xml"/><Relationship Id="rId7" Type="http://schemas.openxmlformats.org/officeDocument/2006/relationships/slideMaster" Target="../slideMasters/slideMaster22.xml"/><Relationship Id="rId2" Type="http://schemas.openxmlformats.org/officeDocument/2006/relationships/tags" Target="../tags/tag583.xml"/><Relationship Id="rId1" Type="http://schemas.openxmlformats.org/officeDocument/2006/relationships/vmlDrawing" Target="../drawings/vmlDrawing146.vml"/><Relationship Id="rId6" Type="http://schemas.openxmlformats.org/officeDocument/2006/relationships/tags" Target="../tags/tag587.xml"/><Relationship Id="rId5" Type="http://schemas.openxmlformats.org/officeDocument/2006/relationships/tags" Target="../tags/tag586.xml"/><Relationship Id="rId4" Type="http://schemas.openxmlformats.org/officeDocument/2006/relationships/tags" Target="../tags/tag585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0.bin"/><Relationship Id="rId2" Type="http://schemas.openxmlformats.org/officeDocument/2006/relationships/slideMaster" Target="../slideMasters/slideMaster22.xml"/><Relationship Id="rId1" Type="http://schemas.openxmlformats.org/officeDocument/2006/relationships/vmlDrawing" Target="../drawings/vmlDrawing147.v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27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6.png"/><Relationship Id="rId5" Type="http://schemas.openxmlformats.org/officeDocument/2006/relationships/image" Target="../media/image21.png"/><Relationship Id="rId4" Type="http://schemas.openxmlformats.org/officeDocument/2006/relationships/image" Target="../media/image25.png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588.xml"/><Relationship Id="rId1" Type="http://schemas.openxmlformats.org/officeDocument/2006/relationships/vmlDrawing" Target="../drawings/vmlDrawing148.vml"/><Relationship Id="rId6" Type="http://schemas.openxmlformats.org/officeDocument/2006/relationships/oleObject" Target="../embeddings/oleObject162.bin"/><Relationship Id="rId5" Type="http://schemas.openxmlformats.org/officeDocument/2006/relationships/image" Target="../media/image59.jpeg"/><Relationship Id="rId4" Type="http://schemas.openxmlformats.org/officeDocument/2006/relationships/oleObject" Target="../embeddings/oleObject161.bin"/></Relationships>
</file>

<file path=ppt/slideLayouts/_rels/slideLayout19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3.xml"/><Relationship Id="rId3" Type="http://schemas.openxmlformats.org/officeDocument/2006/relationships/tags" Target="../tags/tag598.xml"/><Relationship Id="rId7" Type="http://schemas.openxmlformats.org/officeDocument/2006/relationships/tags" Target="../tags/tag602.xml"/><Relationship Id="rId12" Type="http://schemas.openxmlformats.org/officeDocument/2006/relationships/image" Target="../media/image5.png"/><Relationship Id="rId2" Type="http://schemas.openxmlformats.org/officeDocument/2006/relationships/tags" Target="../tags/tag597.xml"/><Relationship Id="rId1" Type="http://schemas.openxmlformats.org/officeDocument/2006/relationships/vmlDrawing" Target="../drawings/vmlDrawing150.vml"/><Relationship Id="rId6" Type="http://schemas.openxmlformats.org/officeDocument/2006/relationships/tags" Target="../tags/tag601.xml"/><Relationship Id="rId11" Type="http://schemas.openxmlformats.org/officeDocument/2006/relationships/image" Target="../media/image4.emf"/><Relationship Id="rId5" Type="http://schemas.openxmlformats.org/officeDocument/2006/relationships/tags" Target="../tags/tag600.xml"/><Relationship Id="rId10" Type="http://schemas.openxmlformats.org/officeDocument/2006/relationships/oleObject" Target="../embeddings/oleObject164.bin"/><Relationship Id="rId4" Type="http://schemas.openxmlformats.org/officeDocument/2006/relationships/tags" Target="../tags/tag599.xml"/><Relationship Id="rId9" Type="http://schemas.openxmlformats.org/officeDocument/2006/relationships/image" Target="../media/image3.jpeg"/></Relationships>
</file>

<file path=ppt/slideLayouts/_rels/slideLayout19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3.xml"/><Relationship Id="rId3" Type="http://schemas.openxmlformats.org/officeDocument/2006/relationships/tags" Target="../tags/tag604.xml"/><Relationship Id="rId7" Type="http://schemas.openxmlformats.org/officeDocument/2006/relationships/tags" Target="../tags/tag608.xml"/><Relationship Id="rId12" Type="http://schemas.openxmlformats.org/officeDocument/2006/relationships/image" Target="../media/image4.emf"/><Relationship Id="rId2" Type="http://schemas.openxmlformats.org/officeDocument/2006/relationships/tags" Target="../tags/tag603.xml"/><Relationship Id="rId1" Type="http://schemas.openxmlformats.org/officeDocument/2006/relationships/vmlDrawing" Target="../drawings/vmlDrawing151.vml"/><Relationship Id="rId6" Type="http://schemas.openxmlformats.org/officeDocument/2006/relationships/tags" Target="../tags/tag607.xml"/><Relationship Id="rId11" Type="http://schemas.openxmlformats.org/officeDocument/2006/relationships/image" Target="../media/image5.png"/><Relationship Id="rId5" Type="http://schemas.openxmlformats.org/officeDocument/2006/relationships/tags" Target="../tags/tag606.xml"/><Relationship Id="rId10" Type="http://schemas.openxmlformats.org/officeDocument/2006/relationships/oleObject" Target="../embeddings/oleObject165.bin"/><Relationship Id="rId4" Type="http://schemas.openxmlformats.org/officeDocument/2006/relationships/tags" Target="../tags/tag605.xml"/><Relationship Id="rId9" Type="http://schemas.openxmlformats.org/officeDocument/2006/relationships/image" Target="../media/image6.jpeg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tags" Target="../tags/tag610.xml"/><Relationship Id="rId7" Type="http://schemas.openxmlformats.org/officeDocument/2006/relationships/oleObject" Target="../embeddings/oleObject166.bin"/><Relationship Id="rId2" Type="http://schemas.openxmlformats.org/officeDocument/2006/relationships/tags" Target="../tags/tag609.xml"/><Relationship Id="rId1" Type="http://schemas.openxmlformats.org/officeDocument/2006/relationships/vmlDrawing" Target="../drawings/vmlDrawing152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23.xml"/><Relationship Id="rId4" Type="http://schemas.openxmlformats.org/officeDocument/2006/relationships/tags" Target="../tags/tag611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612.xml"/><Relationship Id="rId1" Type="http://schemas.openxmlformats.org/officeDocument/2006/relationships/vmlDrawing" Target="../drawings/vmlDrawing153.vml"/><Relationship Id="rId4" Type="http://schemas.openxmlformats.org/officeDocument/2006/relationships/oleObject" Target="../embeddings/oleObject167.bin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tags" Target="../tags/tag614.xml"/><Relationship Id="rId2" Type="http://schemas.openxmlformats.org/officeDocument/2006/relationships/tags" Target="../tags/tag613.xml"/><Relationship Id="rId1" Type="http://schemas.openxmlformats.org/officeDocument/2006/relationships/vmlDrawing" Target="../drawings/vmlDrawing154.vml"/><Relationship Id="rId6" Type="http://schemas.openxmlformats.org/officeDocument/2006/relationships/oleObject" Target="../embeddings/oleObject168.bin"/><Relationship Id="rId5" Type="http://schemas.openxmlformats.org/officeDocument/2006/relationships/slideMaster" Target="../slideMasters/slideMaster23.xml"/><Relationship Id="rId4" Type="http://schemas.openxmlformats.org/officeDocument/2006/relationships/tags" Target="../tags/tag615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tags" Target="../tags/tag617.xml"/><Relationship Id="rId2" Type="http://schemas.openxmlformats.org/officeDocument/2006/relationships/tags" Target="../tags/tag616.xml"/><Relationship Id="rId1" Type="http://schemas.openxmlformats.org/officeDocument/2006/relationships/vmlDrawing" Target="../drawings/vmlDrawing155.vml"/><Relationship Id="rId6" Type="http://schemas.openxmlformats.org/officeDocument/2006/relationships/oleObject" Target="../embeddings/oleObject169.bin"/><Relationship Id="rId5" Type="http://schemas.openxmlformats.org/officeDocument/2006/relationships/slideMaster" Target="../slideMasters/slideMaster23.xml"/><Relationship Id="rId4" Type="http://schemas.openxmlformats.org/officeDocument/2006/relationships/tags" Target="../tags/tag618.xml"/></Relationships>
</file>

<file path=ppt/slideLayouts/_rels/slideLayout19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0.bin"/><Relationship Id="rId3" Type="http://schemas.openxmlformats.org/officeDocument/2006/relationships/tags" Target="../tags/tag620.xml"/><Relationship Id="rId7" Type="http://schemas.openxmlformats.org/officeDocument/2006/relationships/slideMaster" Target="../slideMasters/slideMaster23.xml"/><Relationship Id="rId2" Type="http://schemas.openxmlformats.org/officeDocument/2006/relationships/tags" Target="../tags/tag619.xml"/><Relationship Id="rId1" Type="http://schemas.openxmlformats.org/officeDocument/2006/relationships/vmlDrawing" Target="../drawings/vmlDrawing156.vml"/><Relationship Id="rId6" Type="http://schemas.openxmlformats.org/officeDocument/2006/relationships/tags" Target="../tags/tag623.xml"/><Relationship Id="rId5" Type="http://schemas.openxmlformats.org/officeDocument/2006/relationships/tags" Target="../tags/tag622.xml"/><Relationship Id="rId4" Type="http://schemas.openxmlformats.org/officeDocument/2006/relationships/tags" Target="../tags/tag621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1.bin"/><Relationship Id="rId2" Type="http://schemas.openxmlformats.org/officeDocument/2006/relationships/slideMaster" Target="../slideMasters/slideMaster23.xml"/><Relationship Id="rId1" Type="http://schemas.openxmlformats.org/officeDocument/2006/relationships/vmlDrawing" Target="../drawings/vmlDrawing157.v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12" Type="http://schemas.openxmlformats.org/officeDocument/2006/relationships/image" Target="../media/image4.emf"/><Relationship Id="rId2" Type="http://schemas.openxmlformats.org/officeDocument/2006/relationships/tags" Target="../tags/tag16.xml"/><Relationship Id="rId1" Type="http://schemas.openxmlformats.org/officeDocument/2006/relationships/vmlDrawing" Target="../drawings/vmlDrawing3.vml"/><Relationship Id="rId6" Type="http://schemas.openxmlformats.org/officeDocument/2006/relationships/tags" Target="../tags/tag20.xml"/><Relationship Id="rId11" Type="http://schemas.openxmlformats.org/officeDocument/2006/relationships/image" Target="../media/image5.png"/><Relationship Id="rId5" Type="http://schemas.openxmlformats.org/officeDocument/2006/relationships/tags" Target="../tags/tag19.xml"/><Relationship Id="rId10" Type="http://schemas.openxmlformats.org/officeDocument/2006/relationships/oleObject" Target="../embeddings/oleObject3.bin"/><Relationship Id="rId4" Type="http://schemas.openxmlformats.org/officeDocument/2006/relationships/tags" Target="../tags/tag18.xml"/><Relationship Id="rId9" Type="http://schemas.openxmlformats.org/officeDocument/2006/relationships/image" Target="../media/image6.jpe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1.png"/><Relationship Id="rId5" Type="http://schemas.openxmlformats.org/officeDocument/2006/relationships/image" Target="../media/image26.png"/><Relationship Id="rId4" Type="http://schemas.openxmlformats.org/officeDocument/2006/relationships/image" Target="../media/image21.png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0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4.xml"/><Relationship Id="rId3" Type="http://schemas.openxmlformats.org/officeDocument/2006/relationships/tags" Target="../tags/tag633.xml"/><Relationship Id="rId7" Type="http://schemas.openxmlformats.org/officeDocument/2006/relationships/tags" Target="../tags/tag637.xml"/><Relationship Id="rId12" Type="http://schemas.openxmlformats.org/officeDocument/2006/relationships/image" Target="../media/image5.png"/><Relationship Id="rId2" Type="http://schemas.openxmlformats.org/officeDocument/2006/relationships/tags" Target="../tags/tag632.xml"/><Relationship Id="rId1" Type="http://schemas.openxmlformats.org/officeDocument/2006/relationships/vmlDrawing" Target="../drawings/vmlDrawing159.vml"/><Relationship Id="rId6" Type="http://schemas.openxmlformats.org/officeDocument/2006/relationships/tags" Target="../tags/tag636.xml"/><Relationship Id="rId11" Type="http://schemas.openxmlformats.org/officeDocument/2006/relationships/image" Target="../media/image4.emf"/><Relationship Id="rId5" Type="http://schemas.openxmlformats.org/officeDocument/2006/relationships/tags" Target="../tags/tag635.xml"/><Relationship Id="rId10" Type="http://schemas.openxmlformats.org/officeDocument/2006/relationships/oleObject" Target="../embeddings/oleObject173.bin"/><Relationship Id="rId4" Type="http://schemas.openxmlformats.org/officeDocument/2006/relationships/tags" Target="../tags/tag634.xml"/><Relationship Id="rId9" Type="http://schemas.openxmlformats.org/officeDocument/2006/relationships/image" Target="../media/image3.jpeg"/></Relationships>
</file>

<file path=ppt/slideLayouts/_rels/slideLayout20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4.xml"/><Relationship Id="rId3" Type="http://schemas.openxmlformats.org/officeDocument/2006/relationships/tags" Target="../tags/tag639.xml"/><Relationship Id="rId7" Type="http://schemas.openxmlformats.org/officeDocument/2006/relationships/tags" Target="../tags/tag643.xml"/><Relationship Id="rId12" Type="http://schemas.openxmlformats.org/officeDocument/2006/relationships/image" Target="../media/image4.emf"/><Relationship Id="rId2" Type="http://schemas.openxmlformats.org/officeDocument/2006/relationships/tags" Target="../tags/tag638.xml"/><Relationship Id="rId1" Type="http://schemas.openxmlformats.org/officeDocument/2006/relationships/vmlDrawing" Target="../drawings/vmlDrawing160.vml"/><Relationship Id="rId6" Type="http://schemas.openxmlformats.org/officeDocument/2006/relationships/tags" Target="../tags/tag642.xml"/><Relationship Id="rId11" Type="http://schemas.openxmlformats.org/officeDocument/2006/relationships/image" Target="../media/image5.png"/><Relationship Id="rId5" Type="http://schemas.openxmlformats.org/officeDocument/2006/relationships/tags" Target="../tags/tag641.xml"/><Relationship Id="rId10" Type="http://schemas.openxmlformats.org/officeDocument/2006/relationships/oleObject" Target="../embeddings/oleObject174.bin"/><Relationship Id="rId4" Type="http://schemas.openxmlformats.org/officeDocument/2006/relationships/tags" Target="../tags/tag640.xml"/><Relationship Id="rId9" Type="http://schemas.openxmlformats.org/officeDocument/2006/relationships/image" Target="../media/image6.jpeg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tags" Target="../tags/tag645.xml"/><Relationship Id="rId7" Type="http://schemas.openxmlformats.org/officeDocument/2006/relationships/oleObject" Target="../embeddings/oleObject175.bin"/><Relationship Id="rId2" Type="http://schemas.openxmlformats.org/officeDocument/2006/relationships/tags" Target="../tags/tag644.xml"/><Relationship Id="rId1" Type="http://schemas.openxmlformats.org/officeDocument/2006/relationships/vmlDrawing" Target="../drawings/vmlDrawing161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24.xml"/><Relationship Id="rId4" Type="http://schemas.openxmlformats.org/officeDocument/2006/relationships/tags" Target="../tags/tag646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647.xml"/><Relationship Id="rId1" Type="http://schemas.openxmlformats.org/officeDocument/2006/relationships/vmlDrawing" Target="../drawings/vmlDrawing162.vml"/><Relationship Id="rId4" Type="http://schemas.openxmlformats.org/officeDocument/2006/relationships/oleObject" Target="../embeddings/oleObject176.bin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tags" Target="../tags/tag649.xml"/><Relationship Id="rId2" Type="http://schemas.openxmlformats.org/officeDocument/2006/relationships/tags" Target="../tags/tag648.xml"/><Relationship Id="rId1" Type="http://schemas.openxmlformats.org/officeDocument/2006/relationships/vmlDrawing" Target="../drawings/vmlDrawing163.vml"/><Relationship Id="rId6" Type="http://schemas.openxmlformats.org/officeDocument/2006/relationships/oleObject" Target="../embeddings/oleObject177.bin"/><Relationship Id="rId5" Type="http://schemas.openxmlformats.org/officeDocument/2006/relationships/slideMaster" Target="../slideMasters/slideMaster24.xml"/><Relationship Id="rId4" Type="http://schemas.openxmlformats.org/officeDocument/2006/relationships/tags" Target="../tags/tag650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tags" Target="../tags/tag652.xml"/><Relationship Id="rId2" Type="http://schemas.openxmlformats.org/officeDocument/2006/relationships/tags" Target="../tags/tag651.xml"/><Relationship Id="rId1" Type="http://schemas.openxmlformats.org/officeDocument/2006/relationships/vmlDrawing" Target="../drawings/vmlDrawing164.vml"/><Relationship Id="rId6" Type="http://schemas.openxmlformats.org/officeDocument/2006/relationships/oleObject" Target="../embeddings/oleObject178.bin"/><Relationship Id="rId5" Type="http://schemas.openxmlformats.org/officeDocument/2006/relationships/slideMaster" Target="../slideMasters/slideMaster24.xml"/><Relationship Id="rId4" Type="http://schemas.openxmlformats.org/officeDocument/2006/relationships/tags" Target="../tags/tag653.xml"/></Relationships>
</file>

<file path=ppt/slideLayouts/_rels/slideLayout20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9.bin"/><Relationship Id="rId3" Type="http://schemas.openxmlformats.org/officeDocument/2006/relationships/tags" Target="../tags/tag655.xml"/><Relationship Id="rId7" Type="http://schemas.openxmlformats.org/officeDocument/2006/relationships/slideMaster" Target="../slideMasters/slideMaster24.xml"/><Relationship Id="rId2" Type="http://schemas.openxmlformats.org/officeDocument/2006/relationships/tags" Target="../tags/tag654.xml"/><Relationship Id="rId1" Type="http://schemas.openxmlformats.org/officeDocument/2006/relationships/vmlDrawing" Target="../drawings/vmlDrawing165.vml"/><Relationship Id="rId6" Type="http://schemas.openxmlformats.org/officeDocument/2006/relationships/tags" Target="../tags/tag658.xml"/><Relationship Id="rId5" Type="http://schemas.openxmlformats.org/officeDocument/2006/relationships/tags" Target="../tags/tag657.xml"/><Relationship Id="rId4" Type="http://schemas.openxmlformats.org/officeDocument/2006/relationships/tags" Target="../tags/tag656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0.bin"/><Relationship Id="rId2" Type="http://schemas.openxmlformats.org/officeDocument/2006/relationships/slideMaster" Target="../slideMasters/slideMaster24.xml"/><Relationship Id="rId1" Type="http://schemas.openxmlformats.org/officeDocument/2006/relationships/vmlDrawing" Target="../drawings/vmlDrawing166.v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1.png"/><Relationship Id="rId4" Type="http://schemas.openxmlformats.org/officeDocument/2006/relationships/image" Target="../media/image26.png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5.xml"/><Relationship Id="rId3" Type="http://schemas.openxmlformats.org/officeDocument/2006/relationships/tags" Target="../tags/tag668.xml"/><Relationship Id="rId7" Type="http://schemas.openxmlformats.org/officeDocument/2006/relationships/tags" Target="../tags/tag672.xml"/><Relationship Id="rId12" Type="http://schemas.openxmlformats.org/officeDocument/2006/relationships/image" Target="../media/image5.png"/><Relationship Id="rId2" Type="http://schemas.openxmlformats.org/officeDocument/2006/relationships/tags" Target="../tags/tag667.xml"/><Relationship Id="rId1" Type="http://schemas.openxmlformats.org/officeDocument/2006/relationships/vmlDrawing" Target="../drawings/vmlDrawing168.vml"/><Relationship Id="rId6" Type="http://schemas.openxmlformats.org/officeDocument/2006/relationships/tags" Target="../tags/tag671.xml"/><Relationship Id="rId11" Type="http://schemas.openxmlformats.org/officeDocument/2006/relationships/image" Target="../media/image4.emf"/><Relationship Id="rId5" Type="http://schemas.openxmlformats.org/officeDocument/2006/relationships/tags" Target="../tags/tag670.xml"/><Relationship Id="rId10" Type="http://schemas.openxmlformats.org/officeDocument/2006/relationships/oleObject" Target="../embeddings/oleObject182.bin"/><Relationship Id="rId4" Type="http://schemas.openxmlformats.org/officeDocument/2006/relationships/tags" Target="../tags/tag669.xml"/><Relationship Id="rId9" Type="http://schemas.openxmlformats.org/officeDocument/2006/relationships/image" Target="../media/image3.jpeg"/></Relationships>
</file>

<file path=ppt/slideLayouts/_rels/slideLayout2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5.xml"/><Relationship Id="rId3" Type="http://schemas.openxmlformats.org/officeDocument/2006/relationships/tags" Target="../tags/tag674.xml"/><Relationship Id="rId7" Type="http://schemas.openxmlformats.org/officeDocument/2006/relationships/tags" Target="../tags/tag678.xml"/><Relationship Id="rId12" Type="http://schemas.openxmlformats.org/officeDocument/2006/relationships/image" Target="../media/image4.emf"/><Relationship Id="rId2" Type="http://schemas.openxmlformats.org/officeDocument/2006/relationships/tags" Target="../tags/tag673.xml"/><Relationship Id="rId1" Type="http://schemas.openxmlformats.org/officeDocument/2006/relationships/vmlDrawing" Target="../drawings/vmlDrawing169.vml"/><Relationship Id="rId6" Type="http://schemas.openxmlformats.org/officeDocument/2006/relationships/tags" Target="../tags/tag677.xml"/><Relationship Id="rId11" Type="http://schemas.openxmlformats.org/officeDocument/2006/relationships/image" Target="../media/image5.png"/><Relationship Id="rId5" Type="http://schemas.openxmlformats.org/officeDocument/2006/relationships/tags" Target="../tags/tag676.xml"/><Relationship Id="rId10" Type="http://schemas.openxmlformats.org/officeDocument/2006/relationships/oleObject" Target="../embeddings/oleObject183.bin"/><Relationship Id="rId4" Type="http://schemas.openxmlformats.org/officeDocument/2006/relationships/tags" Target="../tags/tag675.xml"/><Relationship Id="rId9" Type="http://schemas.openxmlformats.org/officeDocument/2006/relationships/image" Target="../media/image6.jpeg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tags" Target="../tags/tag680.xml"/><Relationship Id="rId7" Type="http://schemas.openxmlformats.org/officeDocument/2006/relationships/oleObject" Target="../embeddings/oleObject184.bin"/><Relationship Id="rId2" Type="http://schemas.openxmlformats.org/officeDocument/2006/relationships/tags" Target="../tags/tag679.xml"/><Relationship Id="rId1" Type="http://schemas.openxmlformats.org/officeDocument/2006/relationships/vmlDrawing" Target="../drawings/vmlDrawing170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25.xml"/><Relationship Id="rId4" Type="http://schemas.openxmlformats.org/officeDocument/2006/relationships/tags" Target="../tags/tag681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682.xml"/><Relationship Id="rId1" Type="http://schemas.openxmlformats.org/officeDocument/2006/relationships/vmlDrawing" Target="../drawings/vmlDrawing171.vml"/><Relationship Id="rId4" Type="http://schemas.openxmlformats.org/officeDocument/2006/relationships/oleObject" Target="../embeddings/oleObject185.bin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tags" Target="../tags/tag684.xml"/><Relationship Id="rId2" Type="http://schemas.openxmlformats.org/officeDocument/2006/relationships/tags" Target="../tags/tag683.xml"/><Relationship Id="rId1" Type="http://schemas.openxmlformats.org/officeDocument/2006/relationships/vmlDrawing" Target="../drawings/vmlDrawing172.vml"/><Relationship Id="rId6" Type="http://schemas.openxmlformats.org/officeDocument/2006/relationships/oleObject" Target="../embeddings/oleObject186.bin"/><Relationship Id="rId5" Type="http://schemas.openxmlformats.org/officeDocument/2006/relationships/slideMaster" Target="../slideMasters/slideMaster25.xml"/><Relationship Id="rId4" Type="http://schemas.openxmlformats.org/officeDocument/2006/relationships/tags" Target="../tags/tag685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tags" Target="../tags/tag687.xml"/><Relationship Id="rId2" Type="http://schemas.openxmlformats.org/officeDocument/2006/relationships/tags" Target="../tags/tag686.xml"/><Relationship Id="rId1" Type="http://schemas.openxmlformats.org/officeDocument/2006/relationships/vmlDrawing" Target="../drawings/vmlDrawing173.vml"/><Relationship Id="rId6" Type="http://schemas.openxmlformats.org/officeDocument/2006/relationships/oleObject" Target="../embeddings/oleObject187.bin"/><Relationship Id="rId5" Type="http://schemas.openxmlformats.org/officeDocument/2006/relationships/slideMaster" Target="../slideMasters/slideMaster25.xml"/><Relationship Id="rId4" Type="http://schemas.openxmlformats.org/officeDocument/2006/relationships/tags" Target="../tags/tag688.xml"/></Relationships>
</file>

<file path=ppt/slideLayouts/_rels/slideLayout2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8.bin"/><Relationship Id="rId3" Type="http://schemas.openxmlformats.org/officeDocument/2006/relationships/tags" Target="../tags/tag690.xml"/><Relationship Id="rId7" Type="http://schemas.openxmlformats.org/officeDocument/2006/relationships/slideMaster" Target="../slideMasters/slideMaster25.xml"/><Relationship Id="rId2" Type="http://schemas.openxmlformats.org/officeDocument/2006/relationships/tags" Target="../tags/tag689.xml"/><Relationship Id="rId1" Type="http://schemas.openxmlformats.org/officeDocument/2006/relationships/vmlDrawing" Target="../drawings/vmlDrawing174.vml"/><Relationship Id="rId6" Type="http://schemas.openxmlformats.org/officeDocument/2006/relationships/tags" Target="../tags/tag693.xml"/><Relationship Id="rId5" Type="http://schemas.openxmlformats.org/officeDocument/2006/relationships/tags" Target="../tags/tag692.xml"/><Relationship Id="rId4" Type="http://schemas.openxmlformats.org/officeDocument/2006/relationships/tags" Target="../tags/tag691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9.bin"/><Relationship Id="rId2" Type="http://schemas.openxmlformats.org/officeDocument/2006/relationships/slideMaster" Target="../slideMasters/slideMaster25.xml"/><Relationship Id="rId1" Type="http://schemas.openxmlformats.org/officeDocument/2006/relationships/vmlDrawing" Target="../drawings/vmlDrawing175.v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o.in/url?sa=i&amp;rct=j&amp;q=&amp;esrc=s&amp;source=images&amp;cd=&amp;cad=rja&amp;uact=8&amp;ved=0ahUKEwil946Fm9vKAhWDrxoKHc33DxgQjRwIBw&amp;url=http://iif.co.nz/odds-ends/post-it-notes-surprisingly-persuasive/&amp;psig=AFQjCNG5JJC76KUui0a-oC0GKePF5Omyvg&amp;ust=1454575653688874" TargetMode="External"/><Relationship Id="rId7" Type="http://schemas.openxmlformats.org/officeDocument/2006/relationships/image" Target="../media/image3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7.xml"/><Relationship Id="rId6" Type="http://schemas.openxmlformats.org/officeDocument/2006/relationships/image" Target="../media/image26.png"/><Relationship Id="rId5" Type="http://schemas.openxmlformats.org/officeDocument/2006/relationships/image" Target="../media/image21.png"/><Relationship Id="rId4" Type="http://schemas.openxmlformats.org/officeDocument/2006/relationships/image" Target="../media/image32.jpeg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2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6.xml"/><Relationship Id="rId3" Type="http://schemas.openxmlformats.org/officeDocument/2006/relationships/tags" Target="../tags/tag703.xml"/><Relationship Id="rId7" Type="http://schemas.openxmlformats.org/officeDocument/2006/relationships/tags" Target="../tags/tag707.xml"/><Relationship Id="rId12" Type="http://schemas.openxmlformats.org/officeDocument/2006/relationships/image" Target="../media/image5.png"/><Relationship Id="rId2" Type="http://schemas.openxmlformats.org/officeDocument/2006/relationships/tags" Target="../tags/tag702.xml"/><Relationship Id="rId1" Type="http://schemas.openxmlformats.org/officeDocument/2006/relationships/vmlDrawing" Target="../drawings/vmlDrawing177.vml"/><Relationship Id="rId6" Type="http://schemas.openxmlformats.org/officeDocument/2006/relationships/tags" Target="../tags/tag706.xml"/><Relationship Id="rId11" Type="http://schemas.openxmlformats.org/officeDocument/2006/relationships/image" Target="../media/image4.emf"/><Relationship Id="rId5" Type="http://schemas.openxmlformats.org/officeDocument/2006/relationships/tags" Target="../tags/tag705.xml"/><Relationship Id="rId10" Type="http://schemas.openxmlformats.org/officeDocument/2006/relationships/oleObject" Target="../embeddings/oleObject191.bin"/><Relationship Id="rId4" Type="http://schemas.openxmlformats.org/officeDocument/2006/relationships/tags" Target="../tags/tag704.xml"/><Relationship Id="rId9" Type="http://schemas.openxmlformats.org/officeDocument/2006/relationships/image" Target="../media/image3.jpeg"/></Relationships>
</file>

<file path=ppt/slideLayouts/_rels/slideLayout2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6.xml"/><Relationship Id="rId3" Type="http://schemas.openxmlformats.org/officeDocument/2006/relationships/tags" Target="../tags/tag709.xml"/><Relationship Id="rId7" Type="http://schemas.openxmlformats.org/officeDocument/2006/relationships/tags" Target="../tags/tag713.xml"/><Relationship Id="rId12" Type="http://schemas.openxmlformats.org/officeDocument/2006/relationships/image" Target="../media/image4.emf"/><Relationship Id="rId2" Type="http://schemas.openxmlformats.org/officeDocument/2006/relationships/tags" Target="../tags/tag708.xml"/><Relationship Id="rId1" Type="http://schemas.openxmlformats.org/officeDocument/2006/relationships/vmlDrawing" Target="../drawings/vmlDrawing178.vml"/><Relationship Id="rId6" Type="http://schemas.openxmlformats.org/officeDocument/2006/relationships/tags" Target="../tags/tag712.xml"/><Relationship Id="rId11" Type="http://schemas.openxmlformats.org/officeDocument/2006/relationships/image" Target="../media/image5.png"/><Relationship Id="rId5" Type="http://schemas.openxmlformats.org/officeDocument/2006/relationships/tags" Target="../tags/tag711.xml"/><Relationship Id="rId10" Type="http://schemas.openxmlformats.org/officeDocument/2006/relationships/oleObject" Target="../embeddings/oleObject192.bin"/><Relationship Id="rId4" Type="http://schemas.openxmlformats.org/officeDocument/2006/relationships/tags" Target="../tags/tag710.xml"/><Relationship Id="rId9" Type="http://schemas.openxmlformats.org/officeDocument/2006/relationships/image" Target="../media/image6.jpeg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tags" Target="../tags/tag715.xml"/><Relationship Id="rId7" Type="http://schemas.openxmlformats.org/officeDocument/2006/relationships/oleObject" Target="../embeddings/oleObject193.bin"/><Relationship Id="rId2" Type="http://schemas.openxmlformats.org/officeDocument/2006/relationships/tags" Target="../tags/tag714.xml"/><Relationship Id="rId1" Type="http://schemas.openxmlformats.org/officeDocument/2006/relationships/vmlDrawing" Target="../drawings/vmlDrawing179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26.xml"/><Relationship Id="rId4" Type="http://schemas.openxmlformats.org/officeDocument/2006/relationships/tags" Target="../tags/tag716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717.xml"/><Relationship Id="rId1" Type="http://schemas.openxmlformats.org/officeDocument/2006/relationships/vmlDrawing" Target="../drawings/vmlDrawing180.vml"/><Relationship Id="rId4" Type="http://schemas.openxmlformats.org/officeDocument/2006/relationships/oleObject" Target="../embeddings/oleObject194.bin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tags" Target="../tags/tag719.xml"/><Relationship Id="rId2" Type="http://schemas.openxmlformats.org/officeDocument/2006/relationships/tags" Target="../tags/tag718.xml"/><Relationship Id="rId1" Type="http://schemas.openxmlformats.org/officeDocument/2006/relationships/vmlDrawing" Target="../drawings/vmlDrawing181.vml"/><Relationship Id="rId6" Type="http://schemas.openxmlformats.org/officeDocument/2006/relationships/oleObject" Target="../embeddings/oleObject195.bin"/><Relationship Id="rId5" Type="http://schemas.openxmlformats.org/officeDocument/2006/relationships/slideMaster" Target="../slideMasters/slideMaster26.xml"/><Relationship Id="rId4" Type="http://schemas.openxmlformats.org/officeDocument/2006/relationships/tags" Target="../tags/tag720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tags" Target="../tags/tag722.xml"/><Relationship Id="rId2" Type="http://schemas.openxmlformats.org/officeDocument/2006/relationships/tags" Target="../tags/tag721.xml"/><Relationship Id="rId1" Type="http://schemas.openxmlformats.org/officeDocument/2006/relationships/vmlDrawing" Target="../drawings/vmlDrawing182.vml"/><Relationship Id="rId6" Type="http://schemas.openxmlformats.org/officeDocument/2006/relationships/oleObject" Target="../embeddings/oleObject196.bin"/><Relationship Id="rId5" Type="http://schemas.openxmlformats.org/officeDocument/2006/relationships/slideMaster" Target="../slideMasters/slideMaster26.xml"/><Relationship Id="rId4" Type="http://schemas.openxmlformats.org/officeDocument/2006/relationships/tags" Target="../tags/tag723.xml"/></Relationships>
</file>

<file path=ppt/slideLayouts/_rels/slideLayout2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7.bin"/><Relationship Id="rId3" Type="http://schemas.openxmlformats.org/officeDocument/2006/relationships/tags" Target="../tags/tag725.xml"/><Relationship Id="rId7" Type="http://schemas.openxmlformats.org/officeDocument/2006/relationships/slideMaster" Target="../slideMasters/slideMaster26.xml"/><Relationship Id="rId2" Type="http://schemas.openxmlformats.org/officeDocument/2006/relationships/tags" Target="../tags/tag724.xml"/><Relationship Id="rId1" Type="http://schemas.openxmlformats.org/officeDocument/2006/relationships/vmlDrawing" Target="../drawings/vmlDrawing183.vml"/><Relationship Id="rId6" Type="http://schemas.openxmlformats.org/officeDocument/2006/relationships/tags" Target="../tags/tag728.xml"/><Relationship Id="rId5" Type="http://schemas.openxmlformats.org/officeDocument/2006/relationships/tags" Target="../tags/tag727.xml"/><Relationship Id="rId4" Type="http://schemas.openxmlformats.org/officeDocument/2006/relationships/tags" Target="../tags/tag726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8.bin"/><Relationship Id="rId2" Type="http://schemas.openxmlformats.org/officeDocument/2006/relationships/slideMaster" Target="../slideMasters/slideMaster26.xml"/><Relationship Id="rId1" Type="http://schemas.openxmlformats.org/officeDocument/2006/relationships/vmlDrawing" Target="../drawings/vmlDrawing184.v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8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3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7.xml"/><Relationship Id="rId3" Type="http://schemas.openxmlformats.org/officeDocument/2006/relationships/tags" Target="../tags/tag738.xml"/><Relationship Id="rId7" Type="http://schemas.openxmlformats.org/officeDocument/2006/relationships/tags" Target="../tags/tag742.xml"/><Relationship Id="rId12" Type="http://schemas.openxmlformats.org/officeDocument/2006/relationships/image" Target="../media/image5.png"/><Relationship Id="rId2" Type="http://schemas.openxmlformats.org/officeDocument/2006/relationships/tags" Target="../tags/tag737.xml"/><Relationship Id="rId1" Type="http://schemas.openxmlformats.org/officeDocument/2006/relationships/vmlDrawing" Target="../drawings/vmlDrawing186.vml"/><Relationship Id="rId6" Type="http://schemas.openxmlformats.org/officeDocument/2006/relationships/tags" Target="../tags/tag741.xml"/><Relationship Id="rId11" Type="http://schemas.openxmlformats.org/officeDocument/2006/relationships/image" Target="../media/image4.emf"/><Relationship Id="rId5" Type="http://schemas.openxmlformats.org/officeDocument/2006/relationships/tags" Target="../tags/tag740.xml"/><Relationship Id="rId10" Type="http://schemas.openxmlformats.org/officeDocument/2006/relationships/oleObject" Target="../embeddings/oleObject200.bin"/><Relationship Id="rId4" Type="http://schemas.openxmlformats.org/officeDocument/2006/relationships/tags" Target="../tags/tag739.xml"/><Relationship Id="rId9" Type="http://schemas.openxmlformats.org/officeDocument/2006/relationships/image" Target="../media/image3.jpeg"/></Relationships>
</file>

<file path=ppt/slideLayouts/_rels/slideLayout23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7.xml"/><Relationship Id="rId3" Type="http://schemas.openxmlformats.org/officeDocument/2006/relationships/tags" Target="../tags/tag744.xml"/><Relationship Id="rId7" Type="http://schemas.openxmlformats.org/officeDocument/2006/relationships/tags" Target="../tags/tag748.xml"/><Relationship Id="rId12" Type="http://schemas.openxmlformats.org/officeDocument/2006/relationships/image" Target="../media/image4.emf"/><Relationship Id="rId2" Type="http://schemas.openxmlformats.org/officeDocument/2006/relationships/tags" Target="../tags/tag743.xml"/><Relationship Id="rId1" Type="http://schemas.openxmlformats.org/officeDocument/2006/relationships/vmlDrawing" Target="../drawings/vmlDrawing187.vml"/><Relationship Id="rId6" Type="http://schemas.openxmlformats.org/officeDocument/2006/relationships/tags" Target="../tags/tag747.xml"/><Relationship Id="rId11" Type="http://schemas.openxmlformats.org/officeDocument/2006/relationships/image" Target="../media/image5.png"/><Relationship Id="rId5" Type="http://schemas.openxmlformats.org/officeDocument/2006/relationships/tags" Target="../tags/tag746.xml"/><Relationship Id="rId10" Type="http://schemas.openxmlformats.org/officeDocument/2006/relationships/oleObject" Target="../embeddings/oleObject201.bin"/><Relationship Id="rId4" Type="http://schemas.openxmlformats.org/officeDocument/2006/relationships/tags" Target="../tags/tag745.xml"/><Relationship Id="rId9" Type="http://schemas.openxmlformats.org/officeDocument/2006/relationships/image" Target="../media/image6.jpeg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tags" Target="../tags/tag750.xml"/><Relationship Id="rId7" Type="http://schemas.openxmlformats.org/officeDocument/2006/relationships/oleObject" Target="../embeddings/oleObject202.bin"/><Relationship Id="rId2" Type="http://schemas.openxmlformats.org/officeDocument/2006/relationships/tags" Target="../tags/tag749.xml"/><Relationship Id="rId1" Type="http://schemas.openxmlformats.org/officeDocument/2006/relationships/vmlDrawing" Target="../drawings/vmlDrawing188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27.xml"/><Relationship Id="rId4" Type="http://schemas.openxmlformats.org/officeDocument/2006/relationships/tags" Target="../tags/tag751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752.xml"/><Relationship Id="rId1" Type="http://schemas.openxmlformats.org/officeDocument/2006/relationships/vmlDrawing" Target="../drawings/vmlDrawing189.vml"/><Relationship Id="rId4" Type="http://schemas.openxmlformats.org/officeDocument/2006/relationships/oleObject" Target="../embeddings/oleObject203.bin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tags" Target="../tags/tag754.xml"/><Relationship Id="rId2" Type="http://schemas.openxmlformats.org/officeDocument/2006/relationships/tags" Target="../tags/tag753.xml"/><Relationship Id="rId1" Type="http://schemas.openxmlformats.org/officeDocument/2006/relationships/vmlDrawing" Target="../drawings/vmlDrawing190.vml"/><Relationship Id="rId6" Type="http://schemas.openxmlformats.org/officeDocument/2006/relationships/oleObject" Target="../embeddings/oleObject204.bin"/><Relationship Id="rId5" Type="http://schemas.openxmlformats.org/officeDocument/2006/relationships/slideMaster" Target="../slideMasters/slideMaster27.xml"/><Relationship Id="rId4" Type="http://schemas.openxmlformats.org/officeDocument/2006/relationships/tags" Target="../tags/tag755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tags" Target="../tags/tag757.xml"/><Relationship Id="rId2" Type="http://schemas.openxmlformats.org/officeDocument/2006/relationships/tags" Target="../tags/tag756.xml"/><Relationship Id="rId1" Type="http://schemas.openxmlformats.org/officeDocument/2006/relationships/vmlDrawing" Target="../drawings/vmlDrawing191.vml"/><Relationship Id="rId6" Type="http://schemas.openxmlformats.org/officeDocument/2006/relationships/oleObject" Target="../embeddings/oleObject205.bin"/><Relationship Id="rId5" Type="http://schemas.openxmlformats.org/officeDocument/2006/relationships/slideMaster" Target="../slideMasters/slideMaster27.xml"/><Relationship Id="rId4" Type="http://schemas.openxmlformats.org/officeDocument/2006/relationships/tags" Target="../tags/tag758.xml"/></Relationships>
</file>

<file path=ppt/slideLayouts/_rels/slideLayout23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6.bin"/><Relationship Id="rId3" Type="http://schemas.openxmlformats.org/officeDocument/2006/relationships/tags" Target="../tags/tag760.xml"/><Relationship Id="rId7" Type="http://schemas.openxmlformats.org/officeDocument/2006/relationships/slideMaster" Target="../slideMasters/slideMaster27.xml"/><Relationship Id="rId2" Type="http://schemas.openxmlformats.org/officeDocument/2006/relationships/tags" Target="../tags/tag759.xml"/><Relationship Id="rId1" Type="http://schemas.openxmlformats.org/officeDocument/2006/relationships/vmlDrawing" Target="../drawings/vmlDrawing192.vml"/><Relationship Id="rId6" Type="http://schemas.openxmlformats.org/officeDocument/2006/relationships/tags" Target="../tags/tag763.xml"/><Relationship Id="rId5" Type="http://schemas.openxmlformats.org/officeDocument/2006/relationships/tags" Target="../tags/tag762.xml"/><Relationship Id="rId4" Type="http://schemas.openxmlformats.org/officeDocument/2006/relationships/tags" Target="../tags/tag761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7.bin"/><Relationship Id="rId2" Type="http://schemas.openxmlformats.org/officeDocument/2006/relationships/slideMaster" Target="../slideMasters/slideMaster27.xml"/><Relationship Id="rId1" Type="http://schemas.openxmlformats.org/officeDocument/2006/relationships/vmlDrawing" Target="../drawings/vmlDrawing193.v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1.png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slideMaster" Target="../slideMasters/slideMaster28.xml"/><Relationship Id="rId7" Type="http://schemas.openxmlformats.org/officeDocument/2006/relationships/image" Target="../media/image19.png"/><Relationship Id="rId2" Type="http://schemas.openxmlformats.org/officeDocument/2006/relationships/tags" Target="../tags/tag772.xml"/><Relationship Id="rId1" Type="http://schemas.openxmlformats.org/officeDocument/2006/relationships/tags" Target="../tags/tag771.xml"/><Relationship Id="rId6" Type="http://schemas.openxmlformats.org/officeDocument/2006/relationships/image" Target="../media/image53.png"/><Relationship Id="rId5" Type="http://schemas.openxmlformats.org/officeDocument/2006/relationships/image" Target="../media/image48.png"/><Relationship Id="rId10" Type="http://schemas.openxmlformats.org/officeDocument/2006/relationships/image" Target="../media/image55.png"/><Relationship Id="rId4" Type="http://schemas.openxmlformats.org/officeDocument/2006/relationships/image" Target="../media/image52.png"/><Relationship Id="rId9" Type="http://schemas.openxmlformats.org/officeDocument/2006/relationships/image" Target="../media/image54.png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28.xml"/><Relationship Id="rId4" Type="http://schemas.openxmlformats.org/officeDocument/2006/relationships/image" Target="../media/image51.png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28.xml"/><Relationship Id="rId4" Type="http://schemas.openxmlformats.org/officeDocument/2006/relationships/image" Target="../media/image51.png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773.xml"/><Relationship Id="rId1" Type="http://schemas.openxmlformats.org/officeDocument/2006/relationships/vmlDrawing" Target="../drawings/vmlDrawing195.vml"/><Relationship Id="rId6" Type="http://schemas.openxmlformats.org/officeDocument/2006/relationships/oleObject" Target="../embeddings/oleObject210.bin"/><Relationship Id="rId5" Type="http://schemas.openxmlformats.org/officeDocument/2006/relationships/oleObject" Target="../embeddings/oleObject209.bin"/><Relationship Id="rId4" Type="http://schemas.openxmlformats.org/officeDocument/2006/relationships/image" Target="../media/image56.jpeg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774.xml"/><Relationship Id="rId1" Type="http://schemas.openxmlformats.org/officeDocument/2006/relationships/vmlDrawing" Target="../drawings/vmlDrawing196.vml"/><Relationship Id="rId6" Type="http://schemas.openxmlformats.org/officeDocument/2006/relationships/oleObject" Target="../embeddings/oleObject212.bin"/><Relationship Id="rId5" Type="http://schemas.openxmlformats.org/officeDocument/2006/relationships/oleObject" Target="../embeddings/oleObject211.bin"/><Relationship Id="rId4" Type="http://schemas.openxmlformats.org/officeDocument/2006/relationships/image" Target="../media/image57.jpeg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775.xml"/><Relationship Id="rId1" Type="http://schemas.openxmlformats.org/officeDocument/2006/relationships/vmlDrawing" Target="../drawings/vmlDrawing197.vml"/><Relationship Id="rId6" Type="http://schemas.openxmlformats.org/officeDocument/2006/relationships/oleObject" Target="../embeddings/oleObject214.bin"/><Relationship Id="rId5" Type="http://schemas.openxmlformats.org/officeDocument/2006/relationships/oleObject" Target="../embeddings/oleObject213.bin"/><Relationship Id="rId4" Type="http://schemas.openxmlformats.org/officeDocument/2006/relationships/image" Target="../media/image58.jpeg"/></Relationships>
</file>

<file path=ppt/slideLayouts/_rels/slideLayout24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9.xml"/><Relationship Id="rId3" Type="http://schemas.openxmlformats.org/officeDocument/2006/relationships/tags" Target="../tags/tag785.xml"/><Relationship Id="rId7" Type="http://schemas.openxmlformats.org/officeDocument/2006/relationships/tags" Target="../tags/tag789.xml"/><Relationship Id="rId12" Type="http://schemas.openxmlformats.org/officeDocument/2006/relationships/image" Target="../media/image5.png"/><Relationship Id="rId2" Type="http://schemas.openxmlformats.org/officeDocument/2006/relationships/tags" Target="../tags/tag784.xml"/><Relationship Id="rId1" Type="http://schemas.openxmlformats.org/officeDocument/2006/relationships/vmlDrawing" Target="../drawings/vmlDrawing199.vml"/><Relationship Id="rId6" Type="http://schemas.openxmlformats.org/officeDocument/2006/relationships/tags" Target="../tags/tag788.xml"/><Relationship Id="rId11" Type="http://schemas.openxmlformats.org/officeDocument/2006/relationships/image" Target="../media/image4.emf"/><Relationship Id="rId5" Type="http://schemas.openxmlformats.org/officeDocument/2006/relationships/tags" Target="../tags/tag787.xml"/><Relationship Id="rId10" Type="http://schemas.openxmlformats.org/officeDocument/2006/relationships/oleObject" Target="../embeddings/oleObject216.bin"/><Relationship Id="rId4" Type="http://schemas.openxmlformats.org/officeDocument/2006/relationships/tags" Target="../tags/tag786.xml"/><Relationship Id="rId9" Type="http://schemas.openxmlformats.org/officeDocument/2006/relationships/image" Target="../media/image3.jpeg"/></Relationships>
</file>

<file path=ppt/slideLayouts/_rels/slideLayout24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9.xml"/><Relationship Id="rId3" Type="http://schemas.openxmlformats.org/officeDocument/2006/relationships/tags" Target="../tags/tag791.xml"/><Relationship Id="rId7" Type="http://schemas.openxmlformats.org/officeDocument/2006/relationships/tags" Target="../tags/tag795.xml"/><Relationship Id="rId12" Type="http://schemas.openxmlformats.org/officeDocument/2006/relationships/image" Target="../media/image4.emf"/><Relationship Id="rId2" Type="http://schemas.openxmlformats.org/officeDocument/2006/relationships/tags" Target="../tags/tag790.xml"/><Relationship Id="rId1" Type="http://schemas.openxmlformats.org/officeDocument/2006/relationships/vmlDrawing" Target="../drawings/vmlDrawing200.vml"/><Relationship Id="rId6" Type="http://schemas.openxmlformats.org/officeDocument/2006/relationships/tags" Target="../tags/tag794.xml"/><Relationship Id="rId11" Type="http://schemas.openxmlformats.org/officeDocument/2006/relationships/image" Target="../media/image5.png"/><Relationship Id="rId5" Type="http://schemas.openxmlformats.org/officeDocument/2006/relationships/tags" Target="../tags/tag793.xml"/><Relationship Id="rId10" Type="http://schemas.openxmlformats.org/officeDocument/2006/relationships/oleObject" Target="../embeddings/oleObject217.bin"/><Relationship Id="rId4" Type="http://schemas.openxmlformats.org/officeDocument/2006/relationships/tags" Target="../tags/tag792.xml"/><Relationship Id="rId9" Type="http://schemas.openxmlformats.org/officeDocument/2006/relationships/image" Target="../media/image6.jpeg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tags" Target="../tags/tag797.xml"/><Relationship Id="rId7" Type="http://schemas.openxmlformats.org/officeDocument/2006/relationships/oleObject" Target="../embeddings/oleObject218.bin"/><Relationship Id="rId2" Type="http://schemas.openxmlformats.org/officeDocument/2006/relationships/tags" Target="../tags/tag796.xml"/><Relationship Id="rId1" Type="http://schemas.openxmlformats.org/officeDocument/2006/relationships/vmlDrawing" Target="../drawings/vmlDrawing201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29.xml"/><Relationship Id="rId4" Type="http://schemas.openxmlformats.org/officeDocument/2006/relationships/tags" Target="../tags/tag798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1.png"/><Relationship Id="rId4" Type="http://schemas.openxmlformats.org/officeDocument/2006/relationships/image" Target="../media/image26.png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799.xml"/><Relationship Id="rId1" Type="http://schemas.openxmlformats.org/officeDocument/2006/relationships/vmlDrawing" Target="../drawings/vmlDrawing202.vml"/><Relationship Id="rId4" Type="http://schemas.openxmlformats.org/officeDocument/2006/relationships/oleObject" Target="../embeddings/oleObject219.bin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tags" Target="../tags/tag801.xml"/><Relationship Id="rId2" Type="http://schemas.openxmlformats.org/officeDocument/2006/relationships/tags" Target="../tags/tag800.xml"/><Relationship Id="rId1" Type="http://schemas.openxmlformats.org/officeDocument/2006/relationships/vmlDrawing" Target="../drawings/vmlDrawing203.vml"/><Relationship Id="rId6" Type="http://schemas.openxmlformats.org/officeDocument/2006/relationships/oleObject" Target="../embeddings/oleObject220.bin"/><Relationship Id="rId5" Type="http://schemas.openxmlformats.org/officeDocument/2006/relationships/slideMaster" Target="../slideMasters/slideMaster29.xml"/><Relationship Id="rId4" Type="http://schemas.openxmlformats.org/officeDocument/2006/relationships/tags" Target="../tags/tag802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tags" Target="../tags/tag804.xml"/><Relationship Id="rId2" Type="http://schemas.openxmlformats.org/officeDocument/2006/relationships/tags" Target="../tags/tag803.xml"/><Relationship Id="rId1" Type="http://schemas.openxmlformats.org/officeDocument/2006/relationships/vmlDrawing" Target="../drawings/vmlDrawing204.vml"/><Relationship Id="rId6" Type="http://schemas.openxmlformats.org/officeDocument/2006/relationships/oleObject" Target="../embeddings/oleObject221.bin"/><Relationship Id="rId5" Type="http://schemas.openxmlformats.org/officeDocument/2006/relationships/slideMaster" Target="../slideMasters/slideMaster29.xml"/><Relationship Id="rId4" Type="http://schemas.openxmlformats.org/officeDocument/2006/relationships/tags" Target="../tags/tag805.xml"/></Relationships>
</file>

<file path=ppt/slideLayouts/_rels/slideLayout25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2.bin"/><Relationship Id="rId3" Type="http://schemas.openxmlformats.org/officeDocument/2006/relationships/tags" Target="../tags/tag807.xml"/><Relationship Id="rId7" Type="http://schemas.openxmlformats.org/officeDocument/2006/relationships/slideMaster" Target="../slideMasters/slideMaster29.xml"/><Relationship Id="rId2" Type="http://schemas.openxmlformats.org/officeDocument/2006/relationships/tags" Target="../tags/tag806.xml"/><Relationship Id="rId1" Type="http://schemas.openxmlformats.org/officeDocument/2006/relationships/vmlDrawing" Target="../drawings/vmlDrawing205.vml"/><Relationship Id="rId6" Type="http://schemas.openxmlformats.org/officeDocument/2006/relationships/tags" Target="../tags/tag810.xml"/><Relationship Id="rId5" Type="http://schemas.openxmlformats.org/officeDocument/2006/relationships/tags" Target="../tags/tag809.xml"/><Relationship Id="rId4" Type="http://schemas.openxmlformats.org/officeDocument/2006/relationships/tags" Target="../tags/tag808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3.bin"/><Relationship Id="rId2" Type="http://schemas.openxmlformats.org/officeDocument/2006/relationships/slideMaster" Target="../slideMasters/slideMaster29.xml"/><Relationship Id="rId1" Type="http://schemas.openxmlformats.org/officeDocument/2006/relationships/vmlDrawing" Target="../drawings/vmlDrawing206.v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5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0.xml"/><Relationship Id="rId3" Type="http://schemas.openxmlformats.org/officeDocument/2006/relationships/tags" Target="../tags/tag820.xml"/><Relationship Id="rId7" Type="http://schemas.openxmlformats.org/officeDocument/2006/relationships/tags" Target="../tags/tag824.xml"/><Relationship Id="rId12" Type="http://schemas.openxmlformats.org/officeDocument/2006/relationships/image" Target="../media/image5.png"/><Relationship Id="rId2" Type="http://schemas.openxmlformats.org/officeDocument/2006/relationships/tags" Target="../tags/tag819.xml"/><Relationship Id="rId1" Type="http://schemas.openxmlformats.org/officeDocument/2006/relationships/vmlDrawing" Target="../drawings/vmlDrawing208.vml"/><Relationship Id="rId6" Type="http://schemas.openxmlformats.org/officeDocument/2006/relationships/tags" Target="../tags/tag823.xml"/><Relationship Id="rId11" Type="http://schemas.openxmlformats.org/officeDocument/2006/relationships/image" Target="../media/image4.emf"/><Relationship Id="rId5" Type="http://schemas.openxmlformats.org/officeDocument/2006/relationships/tags" Target="../tags/tag822.xml"/><Relationship Id="rId10" Type="http://schemas.openxmlformats.org/officeDocument/2006/relationships/oleObject" Target="../embeddings/oleObject225.bin"/><Relationship Id="rId4" Type="http://schemas.openxmlformats.org/officeDocument/2006/relationships/tags" Target="../tags/tag821.xml"/><Relationship Id="rId9" Type="http://schemas.openxmlformats.org/officeDocument/2006/relationships/image" Target="../media/image3.jpeg"/></Relationships>
</file>

<file path=ppt/slideLayouts/_rels/slideLayout25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0.xml"/><Relationship Id="rId3" Type="http://schemas.openxmlformats.org/officeDocument/2006/relationships/tags" Target="../tags/tag826.xml"/><Relationship Id="rId7" Type="http://schemas.openxmlformats.org/officeDocument/2006/relationships/tags" Target="../tags/tag830.xml"/><Relationship Id="rId12" Type="http://schemas.openxmlformats.org/officeDocument/2006/relationships/image" Target="../media/image4.emf"/><Relationship Id="rId2" Type="http://schemas.openxmlformats.org/officeDocument/2006/relationships/tags" Target="../tags/tag825.xml"/><Relationship Id="rId1" Type="http://schemas.openxmlformats.org/officeDocument/2006/relationships/vmlDrawing" Target="../drawings/vmlDrawing209.vml"/><Relationship Id="rId6" Type="http://schemas.openxmlformats.org/officeDocument/2006/relationships/tags" Target="../tags/tag829.xml"/><Relationship Id="rId11" Type="http://schemas.openxmlformats.org/officeDocument/2006/relationships/image" Target="../media/image5.png"/><Relationship Id="rId5" Type="http://schemas.openxmlformats.org/officeDocument/2006/relationships/tags" Target="../tags/tag828.xml"/><Relationship Id="rId10" Type="http://schemas.openxmlformats.org/officeDocument/2006/relationships/oleObject" Target="../embeddings/oleObject226.bin"/><Relationship Id="rId4" Type="http://schemas.openxmlformats.org/officeDocument/2006/relationships/tags" Target="../tags/tag827.xml"/><Relationship Id="rId9" Type="http://schemas.openxmlformats.org/officeDocument/2006/relationships/image" Target="../media/image6.jpeg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tags" Target="../tags/tag832.xml"/><Relationship Id="rId7" Type="http://schemas.openxmlformats.org/officeDocument/2006/relationships/oleObject" Target="../embeddings/oleObject227.bin"/><Relationship Id="rId2" Type="http://schemas.openxmlformats.org/officeDocument/2006/relationships/tags" Target="../tags/tag831.xml"/><Relationship Id="rId1" Type="http://schemas.openxmlformats.org/officeDocument/2006/relationships/vmlDrawing" Target="../drawings/vmlDrawing210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30.xml"/><Relationship Id="rId4" Type="http://schemas.openxmlformats.org/officeDocument/2006/relationships/tags" Target="../tags/tag833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5.png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image" Target="../media/image22.png"/><Relationship Id="rId5" Type="http://schemas.openxmlformats.org/officeDocument/2006/relationships/image" Target="../media/image19.png"/><Relationship Id="rId10" Type="http://schemas.openxmlformats.org/officeDocument/2006/relationships/image" Target="../media/image38.png"/><Relationship Id="rId4" Type="http://schemas.openxmlformats.org/officeDocument/2006/relationships/image" Target="../media/image30.png"/><Relationship Id="rId9" Type="http://schemas.openxmlformats.org/officeDocument/2006/relationships/image" Target="../media/image37.png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834.xml"/><Relationship Id="rId1" Type="http://schemas.openxmlformats.org/officeDocument/2006/relationships/vmlDrawing" Target="../drawings/vmlDrawing211.vml"/><Relationship Id="rId4" Type="http://schemas.openxmlformats.org/officeDocument/2006/relationships/oleObject" Target="../embeddings/oleObject228.bin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tags" Target="../tags/tag836.xml"/><Relationship Id="rId2" Type="http://schemas.openxmlformats.org/officeDocument/2006/relationships/tags" Target="../tags/tag835.xml"/><Relationship Id="rId1" Type="http://schemas.openxmlformats.org/officeDocument/2006/relationships/vmlDrawing" Target="../drawings/vmlDrawing212.vml"/><Relationship Id="rId6" Type="http://schemas.openxmlformats.org/officeDocument/2006/relationships/oleObject" Target="../embeddings/oleObject229.bin"/><Relationship Id="rId5" Type="http://schemas.openxmlformats.org/officeDocument/2006/relationships/slideMaster" Target="../slideMasters/slideMaster30.xml"/><Relationship Id="rId4" Type="http://schemas.openxmlformats.org/officeDocument/2006/relationships/tags" Target="../tags/tag837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tags" Target="../tags/tag839.xml"/><Relationship Id="rId2" Type="http://schemas.openxmlformats.org/officeDocument/2006/relationships/tags" Target="../tags/tag838.xml"/><Relationship Id="rId1" Type="http://schemas.openxmlformats.org/officeDocument/2006/relationships/vmlDrawing" Target="../drawings/vmlDrawing213.vml"/><Relationship Id="rId6" Type="http://schemas.openxmlformats.org/officeDocument/2006/relationships/oleObject" Target="../embeddings/oleObject230.bin"/><Relationship Id="rId5" Type="http://schemas.openxmlformats.org/officeDocument/2006/relationships/slideMaster" Target="../slideMasters/slideMaster30.xml"/><Relationship Id="rId4" Type="http://schemas.openxmlformats.org/officeDocument/2006/relationships/tags" Target="../tags/tag840.xml"/></Relationships>
</file>

<file path=ppt/slideLayouts/_rels/slideLayout26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1.bin"/><Relationship Id="rId3" Type="http://schemas.openxmlformats.org/officeDocument/2006/relationships/tags" Target="../tags/tag842.xml"/><Relationship Id="rId7" Type="http://schemas.openxmlformats.org/officeDocument/2006/relationships/slideMaster" Target="../slideMasters/slideMaster30.xml"/><Relationship Id="rId2" Type="http://schemas.openxmlformats.org/officeDocument/2006/relationships/tags" Target="../tags/tag841.xml"/><Relationship Id="rId1" Type="http://schemas.openxmlformats.org/officeDocument/2006/relationships/vmlDrawing" Target="../drawings/vmlDrawing214.vml"/><Relationship Id="rId6" Type="http://schemas.openxmlformats.org/officeDocument/2006/relationships/tags" Target="../tags/tag845.xml"/><Relationship Id="rId5" Type="http://schemas.openxmlformats.org/officeDocument/2006/relationships/tags" Target="../tags/tag844.xml"/><Relationship Id="rId4" Type="http://schemas.openxmlformats.org/officeDocument/2006/relationships/tags" Target="../tags/tag843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2.bin"/><Relationship Id="rId2" Type="http://schemas.openxmlformats.org/officeDocument/2006/relationships/slideMaster" Target="../slideMasters/slideMaster30.xml"/><Relationship Id="rId1" Type="http://schemas.openxmlformats.org/officeDocument/2006/relationships/vmlDrawing" Target="../drawings/vmlDrawing215.v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6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1.xml"/><Relationship Id="rId3" Type="http://schemas.openxmlformats.org/officeDocument/2006/relationships/tags" Target="../tags/tag855.xml"/><Relationship Id="rId7" Type="http://schemas.openxmlformats.org/officeDocument/2006/relationships/tags" Target="../tags/tag859.xml"/><Relationship Id="rId12" Type="http://schemas.openxmlformats.org/officeDocument/2006/relationships/image" Target="../media/image5.png"/><Relationship Id="rId2" Type="http://schemas.openxmlformats.org/officeDocument/2006/relationships/tags" Target="../tags/tag854.xml"/><Relationship Id="rId1" Type="http://schemas.openxmlformats.org/officeDocument/2006/relationships/vmlDrawing" Target="../drawings/vmlDrawing217.vml"/><Relationship Id="rId6" Type="http://schemas.openxmlformats.org/officeDocument/2006/relationships/tags" Target="../tags/tag858.xml"/><Relationship Id="rId11" Type="http://schemas.openxmlformats.org/officeDocument/2006/relationships/image" Target="../media/image4.emf"/><Relationship Id="rId5" Type="http://schemas.openxmlformats.org/officeDocument/2006/relationships/tags" Target="../tags/tag857.xml"/><Relationship Id="rId10" Type="http://schemas.openxmlformats.org/officeDocument/2006/relationships/oleObject" Target="../embeddings/oleObject234.bin"/><Relationship Id="rId4" Type="http://schemas.openxmlformats.org/officeDocument/2006/relationships/tags" Target="../tags/tag856.xml"/><Relationship Id="rId9" Type="http://schemas.openxmlformats.org/officeDocument/2006/relationships/image" Target="../media/image3.jpeg"/></Relationships>
</file>

<file path=ppt/slideLayouts/_rels/slideLayout26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1.xml"/><Relationship Id="rId3" Type="http://schemas.openxmlformats.org/officeDocument/2006/relationships/tags" Target="../tags/tag861.xml"/><Relationship Id="rId7" Type="http://schemas.openxmlformats.org/officeDocument/2006/relationships/tags" Target="../tags/tag865.xml"/><Relationship Id="rId12" Type="http://schemas.openxmlformats.org/officeDocument/2006/relationships/image" Target="../media/image4.emf"/><Relationship Id="rId2" Type="http://schemas.openxmlformats.org/officeDocument/2006/relationships/tags" Target="../tags/tag860.xml"/><Relationship Id="rId1" Type="http://schemas.openxmlformats.org/officeDocument/2006/relationships/vmlDrawing" Target="../drawings/vmlDrawing218.vml"/><Relationship Id="rId6" Type="http://schemas.openxmlformats.org/officeDocument/2006/relationships/tags" Target="../tags/tag864.xml"/><Relationship Id="rId11" Type="http://schemas.openxmlformats.org/officeDocument/2006/relationships/image" Target="../media/image5.png"/><Relationship Id="rId5" Type="http://schemas.openxmlformats.org/officeDocument/2006/relationships/tags" Target="../tags/tag863.xml"/><Relationship Id="rId10" Type="http://schemas.openxmlformats.org/officeDocument/2006/relationships/oleObject" Target="../embeddings/oleObject235.bin"/><Relationship Id="rId4" Type="http://schemas.openxmlformats.org/officeDocument/2006/relationships/tags" Target="../tags/tag862.xml"/><Relationship Id="rId9" Type="http://schemas.openxmlformats.org/officeDocument/2006/relationships/image" Target="../media/image6.jpeg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tags" Target="../tags/tag867.xml"/><Relationship Id="rId7" Type="http://schemas.openxmlformats.org/officeDocument/2006/relationships/oleObject" Target="../embeddings/oleObject236.bin"/><Relationship Id="rId2" Type="http://schemas.openxmlformats.org/officeDocument/2006/relationships/tags" Target="../tags/tag866.xml"/><Relationship Id="rId1" Type="http://schemas.openxmlformats.org/officeDocument/2006/relationships/vmlDrawing" Target="../drawings/vmlDrawing219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31.xml"/><Relationship Id="rId4" Type="http://schemas.openxmlformats.org/officeDocument/2006/relationships/tags" Target="../tags/tag868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5.png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image" Target="../media/image22.png"/><Relationship Id="rId5" Type="http://schemas.openxmlformats.org/officeDocument/2006/relationships/image" Target="../media/image19.png"/><Relationship Id="rId10" Type="http://schemas.openxmlformats.org/officeDocument/2006/relationships/image" Target="../media/image38.png"/><Relationship Id="rId4" Type="http://schemas.openxmlformats.org/officeDocument/2006/relationships/image" Target="../media/image30.png"/><Relationship Id="rId9" Type="http://schemas.openxmlformats.org/officeDocument/2006/relationships/image" Target="../media/image37.png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869.xml"/><Relationship Id="rId1" Type="http://schemas.openxmlformats.org/officeDocument/2006/relationships/vmlDrawing" Target="../drawings/vmlDrawing220.vml"/><Relationship Id="rId4" Type="http://schemas.openxmlformats.org/officeDocument/2006/relationships/oleObject" Target="../embeddings/oleObject237.bin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tags" Target="../tags/tag871.xml"/><Relationship Id="rId2" Type="http://schemas.openxmlformats.org/officeDocument/2006/relationships/tags" Target="../tags/tag870.xml"/><Relationship Id="rId1" Type="http://schemas.openxmlformats.org/officeDocument/2006/relationships/vmlDrawing" Target="../drawings/vmlDrawing221.vml"/><Relationship Id="rId6" Type="http://schemas.openxmlformats.org/officeDocument/2006/relationships/oleObject" Target="../embeddings/oleObject238.bin"/><Relationship Id="rId5" Type="http://schemas.openxmlformats.org/officeDocument/2006/relationships/slideMaster" Target="../slideMasters/slideMaster31.xml"/><Relationship Id="rId4" Type="http://schemas.openxmlformats.org/officeDocument/2006/relationships/tags" Target="../tags/tag872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tags" Target="../tags/tag874.xml"/><Relationship Id="rId2" Type="http://schemas.openxmlformats.org/officeDocument/2006/relationships/tags" Target="../tags/tag873.xml"/><Relationship Id="rId1" Type="http://schemas.openxmlformats.org/officeDocument/2006/relationships/vmlDrawing" Target="../drawings/vmlDrawing222.vml"/><Relationship Id="rId6" Type="http://schemas.openxmlformats.org/officeDocument/2006/relationships/oleObject" Target="../embeddings/oleObject239.bin"/><Relationship Id="rId5" Type="http://schemas.openxmlformats.org/officeDocument/2006/relationships/slideMaster" Target="../slideMasters/slideMaster31.xml"/><Relationship Id="rId4" Type="http://schemas.openxmlformats.org/officeDocument/2006/relationships/tags" Target="../tags/tag875.xml"/></Relationships>
</file>

<file path=ppt/slideLayouts/_rels/slideLayout27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0.bin"/><Relationship Id="rId3" Type="http://schemas.openxmlformats.org/officeDocument/2006/relationships/tags" Target="../tags/tag877.xml"/><Relationship Id="rId7" Type="http://schemas.openxmlformats.org/officeDocument/2006/relationships/slideMaster" Target="../slideMasters/slideMaster31.xml"/><Relationship Id="rId2" Type="http://schemas.openxmlformats.org/officeDocument/2006/relationships/tags" Target="../tags/tag876.xml"/><Relationship Id="rId1" Type="http://schemas.openxmlformats.org/officeDocument/2006/relationships/vmlDrawing" Target="../drawings/vmlDrawing223.vml"/><Relationship Id="rId6" Type="http://schemas.openxmlformats.org/officeDocument/2006/relationships/tags" Target="../tags/tag880.xml"/><Relationship Id="rId5" Type="http://schemas.openxmlformats.org/officeDocument/2006/relationships/tags" Target="../tags/tag879.xml"/><Relationship Id="rId4" Type="http://schemas.openxmlformats.org/officeDocument/2006/relationships/tags" Target="../tags/tag878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1.bin"/><Relationship Id="rId2" Type="http://schemas.openxmlformats.org/officeDocument/2006/relationships/slideMaster" Target="../slideMasters/slideMaster31.xml"/><Relationship Id="rId1" Type="http://schemas.openxmlformats.org/officeDocument/2006/relationships/vmlDrawing" Target="../drawings/vmlDrawing224.v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7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2.xml"/><Relationship Id="rId3" Type="http://schemas.openxmlformats.org/officeDocument/2006/relationships/tags" Target="../tags/tag890.xml"/><Relationship Id="rId7" Type="http://schemas.openxmlformats.org/officeDocument/2006/relationships/tags" Target="../tags/tag894.xml"/><Relationship Id="rId12" Type="http://schemas.openxmlformats.org/officeDocument/2006/relationships/image" Target="../media/image5.png"/><Relationship Id="rId2" Type="http://schemas.openxmlformats.org/officeDocument/2006/relationships/tags" Target="../tags/tag889.xml"/><Relationship Id="rId1" Type="http://schemas.openxmlformats.org/officeDocument/2006/relationships/vmlDrawing" Target="../drawings/vmlDrawing226.vml"/><Relationship Id="rId6" Type="http://schemas.openxmlformats.org/officeDocument/2006/relationships/tags" Target="../tags/tag893.xml"/><Relationship Id="rId11" Type="http://schemas.openxmlformats.org/officeDocument/2006/relationships/image" Target="../media/image4.emf"/><Relationship Id="rId5" Type="http://schemas.openxmlformats.org/officeDocument/2006/relationships/tags" Target="../tags/tag892.xml"/><Relationship Id="rId10" Type="http://schemas.openxmlformats.org/officeDocument/2006/relationships/oleObject" Target="../embeddings/oleObject243.bin"/><Relationship Id="rId4" Type="http://schemas.openxmlformats.org/officeDocument/2006/relationships/tags" Target="../tags/tag891.xml"/><Relationship Id="rId9" Type="http://schemas.openxmlformats.org/officeDocument/2006/relationships/image" Target="../media/image3.jpeg"/></Relationships>
</file>

<file path=ppt/slideLayouts/_rels/slideLayout27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2.xml"/><Relationship Id="rId3" Type="http://schemas.openxmlformats.org/officeDocument/2006/relationships/tags" Target="../tags/tag896.xml"/><Relationship Id="rId7" Type="http://schemas.openxmlformats.org/officeDocument/2006/relationships/tags" Target="../tags/tag900.xml"/><Relationship Id="rId12" Type="http://schemas.openxmlformats.org/officeDocument/2006/relationships/image" Target="../media/image4.emf"/><Relationship Id="rId2" Type="http://schemas.openxmlformats.org/officeDocument/2006/relationships/tags" Target="../tags/tag895.xml"/><Relationship Id="rId1" Type="http://schemas.openxmlformats.org/officeDocument/2006/relationships/vmlDrawing" Target="../drawings/vmlDrawing227.vml"/><Relationship Id="rId6" Type="http://schemas.openxmlformats.org/officeDocument/2006/relationships/tags" Target="../tags/tag899.xml"/><Relationship Id="rId11" Type="http://schemas.openxmlformats.org/officeDocument/2006/relationships/image" Target="../media/image5.png"/><Relationship Id="rId5" Type="http://schemas.openxmlformats.org/officeDocument/2006/relationships/tags" Target="../tags/tag898.xml"/><Relationship Id="rId10" Type="http://schemas.openxmlformats.org/officeDocument/2006/relationships/oleObject" Target="../embeddings/oleObject244.bin"/><Relationship Id="rId4" Type="http://schemas.openxmlformats.org/officeDocument/2006/relationships/tags" Target="../tags/tag897.xml"/><Relationship Id="rId9" Type="http://schemas.openxmlformats.org/officeDocument/2006/relationships/image" Target="../media/image6.jpeg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tags" Target="../tags/tag902.xml"/><Relationship Id="rId7" Type="http://schemas.openxmlformats.org/officeDocument/2006/relationships/oleObject" Target="../embeddings/oleObject245.bin"/><Relationship Id="rId2" Type="http://schemas.openxmlformats.org/officeDocument/2006/relationships/tags" Target="../tags/tag901.xml"/><Relationship Id="rId1" Type="http://schemas.openxmlformats.org/officeDocument/2006/relationships/vmlDrawing" Target="../drawings/vmlDrawing228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32.xml"/><Relationship Id="rId4" Type="http://schemas.openxmlformats.org/officeDocument/2006/relationships/tags" Target="../tags/tag903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2.png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19.png"/><Relationship Id="rId11" Type="http://schemas.openxmlformats.org/officeDocument/2006/relationships/image" Target="../media/image38.png"/><Relationship Id="rId5" Type="http://schemas.openxmlformats.org/officeDocument/2006/relationships/image" Target="../media/image30.png"/><Relationship Id="rId10" Type="http://schemas.openxmlformats.org/officeDocument/2006/relationships/image" Target="../media/image37.png"/><Relationship Id="rId4" Type="http://schemas.openxmlformats.org/officeDocument/2006/relationships/image" Target="../media/image39.jpeg"/><Relationship Id="rId9" Type="http://schemas.openxmlformats.org/officeDocument/2006/relationships/image" Target="../media/image36.png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904.xml"/><Relationship Id="rId1" Type="http://schemas.openxmlformats.org/officeDocument/2006/relationships/vmlDrawing" Target="../drawings/vmlDrawing229.vml"/><Relationship Id="rId4" Type="http://schemas.openxmlformats.org/officeDocument/2006/relationships/oleObject" Target="../embeddings/oleObject246.bin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tags" Target="../tags/tag906.xml"/><Relationship Id="rId2" Type="http://schemas.openxmlformats.org/officeDocument/2006/relationships/tags" Target="../tags/tag905.xml"/><Relationship Id="rId1" Type="http://schemas.openxmlformats.org/officeDocument/2006/relationships/vmlDrawing" Target="../drawings/vmlDrawing230.vml"/><Relationship Id="rId6" Type="http://schemas.openxmlformats.org/officeDocument/2006/relationships/oleObject" Target="../embeddings/oleObject247.bin"/><Relationship Id="rId5" Type="http://schemas.openxmlformats.org/officeDocument/2006/relationships/slideMaster" Target="../slideMasters/slideMaster32.xml"/><Relationship Id="rId4" Type="http://schemas.openxmlformats.org/officeDocument/2006/relationships/tags" Target="../tags/tag907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tags" Target="../tags/tag909.xml"/><Relationship Id="rId2" Type="http://schemas.openxmlformats.org/officeDocument/2006/relationships/tags" Target="../tags/tag908.xml"/><Relationship Id="rId1" Type="http://schemas.openxmlformats.org/officeDocument/2006/relationships/vmlDrawing" Target="../drawings/vmlDrawing231.vml"/><Relationship Id="rId6" Type="http://schemas.openxmlformats.org/officeDocument/2006/relationships/oleObject" Target="../embeddings/oleObject248.bin"/><Relationship Id="rId5" Type="http://schemas.openxmlformats.org/officeDocument/2006/relationships/slideMaster" Target="../slideMasters/slideMaster32.xml"/><Relationship Id="rId4" Type="http://schemas.openxmlformats.org/officeDocument/2006/relationships/tags" Target="../tags/tag910.xml"/></Relationships>
</file>

<file path=ppt/slideLayouts/_rels/slideLayout28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9.bin"/><Relationship Id="rId3" Type="http://schemas.openxmlformats.org/officeDocument/2006/relationships/tags" Target="../tags/tag912.xml"/><Relationship Id="rId7" Type="http://schemas.openxmlformats.org/officeDocument/2006/relationships/slideMaster" Target="../slideMasters/slideMaster32.xml"/><Relationship Id="rId2" Type="http://schemas.openxmlformats.org/officeDocument/2006/relationships/tags" Target="../tags/tag911.xml"/><Relationship Id="rId1" Type="http://schemas.openxmlformats.org/officeDocument/2006/relationships/vmlDrawing" Target="../drawings/vmlDrawing232.vml"/><Relationship Id="rId6" Type="http://schemas.openxmlformats.org/officeDocument/2006/relationships/tags" Target="../tags/tag915.xml"/><Relationship Id="rId5" Type="http://schemas.openxmlformats.org/officeDocument/2006/relationships/tags" Target="../tags/tag914.xml"/><Relationship Id="rId4" Type="http://schemas.openxmlformats.org/officeDocument/2006/relationships/tags" Target="../tags/tag913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0.bin"/><Relationship Id="rId2" Type="http://schemas.openxmlformats.org/officeDocument/2006/relationships/slideMaster" Target="../slideMasters/slideMaster32.xml"/><Relationship Id="rId1" Type="http://schemas.openxmlformats.org/officeDocument/2006/relationships/vmlDrawing" Target="../drawings/vmlDrawing233.v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8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3.xml"/><Relationship Id="rId3" Type="http://schemas.openxmlformats.org/officeDocument/2006/relationships/tags" Target="../tags/tag925.xml"/><Relationship Id="rId7" Type="http://schemas.openxmlformats.org/officeDocument/2006/relationships/tags" Target="../tags/tag929.xml"/><Relationship Id="rId12" Type="http://schemas.openxmlformats.org/officeDocument/2006/relationships/image" Target="../media/image5.png"/><Relationship Id="rId2" Type="http://schemas.openxmlformats.org/officeDocument/2006/relationships/tags" Target="../tags/tag924.xml"/><Relationship Id="rId1" Type="http://schemas.openxmlformats.org/officeDocument/2006/relationships/vmlDrawing" Target="../drawings/vmlDrawing235.vml"/><Relationship Id="rId6" Type="http://schemas.openxmlformats.org/officeDocument/2006/relationships/tags" Target="../tags/tag928.xml"/><Relationship Id="rId11" Type="http://schemas.openxmlformats.org/officeDocument/2006/relationships/image" Target="../media/image4.emf"/><Relationship Id="rId5" Type="http://schemas.openxmlformats.org/officeDocument/2006/relationships/tags" Target="../tags/tag927.xml"/><Relationship Id="rId10" Type="http://schemas.openxmlformats.org/officeDocument/2006/relationships/oleObject" Target="../embeddings/oleObject252.bin"/><Relationship Id="rId4" Type="http://schemas.openxmlformats.org/officeDocument/2006/relationships/tags" Target="../tags/tag926.xml"/><Relationship Id="rId9" Type="http://schemas.openxmlformats.org/officeDocument/2006/relationships/image" Target="../media/image3.jpeg"/></Relationships>
</file>

<file path=ppt/slideLayouts/_rels/slideLayout28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3.xml"/><Relationship Id="rId3" Type="http://schemas.openxmlformats.org/officeDocument/2006/relationships/tags" Target="../tags/tag931.xml"/><Relationship Id="rId7" Type="http://schemas.openxmlformats.org/officeDocument/2006/relationships/tags" Target="../tags/tag935.xml"/><Relationship Id="rId12" Type="http://schemas.openxmlformats.org/officeDocument/2006/relationships/image" Target="../media/image4.emf"/><Relationship Id="rId2" Type="http://schemas.openxmlformats.org/officeDocument/2006/relationships/tags" Target="../tags/tag930.xml"/><Relationship Id="rId1" Type="http://schemas.openxmlformats.org/officeDocument/2006/relationships/vmlDrawing" Target="../drawings/vmlDrawing236.vml"/><Relationship Id="rId6" Type="http://schemas.openxmlformats.org/officeDocument/2006/relationships/tags" Target="../tags/tag934.xml"/><Relationship Id="rId11" Type="http://schemas.openxmlformats.org/officeDocument/2006/relationships/image" Target="../media/image5.png"/><Relationship Id="rId5" Type="http://schemas.openxmlformats.org/officeDocument/2006/relationships/tags" Target="../tags/tag933.xml"/><Relationship Id="rId10" Type="http://schemas.openxmlformats.org/officeDocument/2006/relationships/oleObject" Target="../embeddings/oleObject253.bin"/><Relationship Id="rId4" Type="http://schemas.openxmlformats.org/officeDocument/2006/relationships/tags" Target="../tags/tag932.xml"/><Relationship Id="rId9" Type="http://schemas.openxmlformats.org/officeDocument/2006/relationships/image" Target="../media/image6.jpeg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tags" Target="../tags/tag937.xml"/><Relationship Id="rId7" Type="http://schemas.openxmlformats.org/officeDocument/2006/relationships/oleObject" Target="../embeddings/oleObject254.bin"/><Relationship Id="rId2" Type="http://schemas.openxmlformats.org/officeDocument/2006/relationships/tags" Target="../tags/tag936.xml"/><Relationship Id="rId1" Type="http://schemas.openxmlformats.org/officeDocument/2006/relationships/vmlDrawing" Target="../drawings/vmlDrawing237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33.xml"/><Relationship Id="rId4" Type="http://schemas.openxmlformats.org/officeDocument/2006/relationships/tags" Target="../tags/tag938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2.png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image" Target="../media/image19.png"/><Relationship Id="rId11" Type="http://schemas.openxmlformats.org/officeDocument/2006/relationships/image" Target="../media/image43.png"/><Relationship Id="rId5" Type="http://schemas.openxmlformats.org/officeDocument/2006/relationships/image" Target="../media/image29.png"/><Relationship Id="rId10" Type="http://schemas.openxmlformats.org/officeDocument/2006/relationships/image" Target="../media/image42.png"/><Relationship Id="rId4" Type="http://schemas.openxmlformats.org/officeDocument/2006/relationships/image" Target="../media/image39.jpeg"/><Relationship Id="rId9" Type="http://schemas.openxmlformats.org/officeDocument/2006/relationships/image" Target="../media/image41.png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939.xml"/><Relationship Id="rId1" Type="http://schemas.openxmlformats.org/officeDocument/2006/relationships/vmlDrawing" Target="../drawings/vmlDrawing238.vml"/><Relationship Id="rId4" Type="http://schemas.openxmlformats.org/officeDocument/2006/relationships/oleObject" Target="../embeddings/oleObject255.bin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tags" Target="../tags/tag941.xml"/><Relationship Id="rId2" Type="http://schemas.openxmlformats.org/officeDocument/2006/relationships/tags" Target="../tags/tag940.xml"/><Relationship Id="rId1" Type="http://schemas.openxmlformats.org/officeDocument/2006/relationships/vmlDrawing" Target="../drawings/vmlDrawing239.vml"/><Relationship Id="rId6" Type="http://schemas.openxmlformats.org/officeDocument/2006/relationships/oleObject" Target="../embeddings/oleObject256.bin"/><Relationship Id="rId5" Type="http://schemas.openxmlformats.org/officeDocument/2006/relationships/slideMaster" Target="../slideMasters/slideMaster33.xml"/><Relationship Id="rId4" Type="http://schemas.openxmlformats.org/officeDocument/2006/relationships/tags" Target="../tags/tag942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tags" Target="../tags/tag944.xml"/><Relationship Id="rId2" Type="http://schemas.openxmlformats.org/officeDocument/2006/relationships/tags" Target="../tags/tag943.xml"/><Relationship Id="rId1" Type="http://schemas.openxmlformats.org/officeDocument/2006/relationships/vmlDrawing" Target="../drawings/vmlDrawing240.vml"/><Relationship Id="rId6" Type="http://schemas.openxmlformats.org/officeDocument/2006/relationships/oleObject" Target="../embeddings/oleObject257.bin"/><Relationship Id="rId5" Type="http://schemas.openxmlformats.org/officeDocument/2006/relationships/slideMaster" Target="../slideMasters/slideMaster33.xml"/><Relationship Id="rId4" Type="http://schemas.openxmlformats.org/officeDocument/2006/relationships/tags" Target="../tags/tag945.xml"/></Relationships>
</file>

<file path=ppt/slideLayouts/_rels/slideLayout29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8.bin"/><Relationship Id="rId3" Type="http://schemas.openxmlformats.org/officeDocument/2006/relationships/tags" Target="../tags/tag947.xml"/><Relationship Id="rId7" Type="http://schemas.openxmlformats.org/officeDocument/2006/relationships/slideMaster" Target="../slideMasters/slideMaster33.xml"/><Relationship Id="rId2" Type="http://schemas.openxmlformats.org/officeDocument/2006/relationships/tags" Target="../tags/tag946.xml"/><Relationship Id="rId1" Type="http://schemas.openxmlformats.org/officeDocument/2006/relationships/vmlDrawing" Target="../drawings/vmlDrawing241.vml"/><Relationship Id="rId6" Type="http://schemas.openxmlformats.org/officeDocument/2006/relationships/tags" Target="../tags/tag950.xml"/><Relationship Id="rId5" Type="http://schemas.openxmlformats.org/officeDocument/2006/relationships/tags" Target="../tags/tag949.xml"/><Relationship Id="rId4" Type="http://schemas.openxmlformats.org/officeDocument/2006/relationships/tags" Target="../tags/tag948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9.bin"/><Relationship Id="rId2" Type="http://schemas.openxmlformats.org/officeDocument/2006/relationships/slideMaster" Target="../slideMasters/slideMaster33.xml"/><Relationship Id="rId1" Type="http://schemas.openxmlformats.org/officeDocument/2006/relationships/vmlDrawing" Target="../drawings/vmlDrawing242.v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9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4.xml"/><Relationship Id="rId3" Type="http://schemas.openxmlformats.org/officeDocument/2006/relationships/tags" Target="../tags/tag960.xml"/><Relationship Id="rId7" Type="http://schemas.openxmlformats.org/officeDocument/2006/relationships/tags" Target="../tags/tag964.xml"/><Relationship Id="rId12" Type="http://schemas.openxmlformats.org/officeDocument/2006/relationships/image" Target="../media/image5.png"/><Relationship Id="rId2" Type="http://schemas.openxmlformats.org/officeDocument/2006/relationships/tags" Target="../tags/tag959.xml"/><Relationship Id="rId1" Type="http://schemas.openxmlformats.org/officeDocument/2006/relationships/vmlDrawing" Target="../drawings/vmlDrawing244.vml"/><Relationship Id="rId6" Type="http://schemas.openxmlformats.org/officeDocument/2006/relationships/tags" Target="../tags/tag963.xml"/><Relationship Id="rId11" Type="http://schemas.openxmlformats.org/officeDocument/2006/relationships/image" Target="../media/image4.emf"/><Relationship Id="rId5" Type="http://schemas.openxmlformats.org/officeDocument/2006/relationships/tags" Target="../tags/tag962.xml"/><Relationship Id="rId10" Type="http://schemas.openxmlformats.org/officeDocument/2006/relationships/oleObject" Target="../embeddings/oleObject261.bin"/><Relationship Id="rId4" Type="http://schemas.openxmlformats.org/officeDocument/2006/relationships/tags" Target="../tags/tag961.xml"/><Relationship Id="rId9" Type="http://schemas.openxmlformats.org/officeDocument/2006/relationships/image" Target="../media/image3.jpeg"/></Relationships>
</file>

<file path=ppt/slideLayouts/_rels/slideLayout29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4.xml"/><Relationship Id="rId3" Type="http://schemas.openxmlformats.org/officeDocument/2006/relationships/tags" Target="../tags/tag966.xml"/><Relationship Id="rId7" Type="http://schemas.openxmlformats.org/officeDocument/2006/relationships/tags" Target="../tags/tag970.xml"/><Relationship Id="rId12" Type="http://schemas.openxmlformats.org/officeDocument/2006/relationships/image" Target="../media/image4.emf"/><Relationship Id="rId2" Type="http://schemas.openxmlformats.org/officeDocument/2006/relationships/tags" Target="../tags/tag965.xml"/><Relationship Id="rId1" Type="http://schemas.openxmlformats.org/officeDocument/2006/relationships/vmlDrawing" Target="../drawings/vmlDrawing245.vml"/><Relationship Id="rId6" Type="http://schemas.openxmlformats.org/officeDocument/2006/relationships/tags" Target="../tags/tag969.xml"/><Relationship Id="rId11" Type="http://schemas.openxmlformats.org/officeDocument/2006/relationships/image" Target="../media/image5.png"/><Relationship Id="rId5" Type="http://schemas.openxmlformats.org/officeDocument/2006/relationships/tags" Target="../tags/tag968.xml"/><Relationship Id="rId10" Type="http://schemas.openxmlformats.org/officeDocument/2006/relationships/oleObject" Target="../embeddings/oleObject262.bin"/><Relationship Id="rId4" Type="http://schemas.openxmlformats.org/officeDocument/2006/relationships/tags" Target="../tags/tag967.xml"/><Relationship Id="rId9" Type="http://schemas.openxmlformats.org/officeDocument/2006/relationships/image" Target="../media/image6.jpeg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tags" Target="../tags/tag972.xml"/><Relationship Id="rId7" Type="http://schemas.openxmlformats.org/officeDocument/2006/relationships/oleObject" Target="../embeddings/oleObject263.bin"/><Relationship Id="rId2" Type="http://schemas.openxmlformats.org/officeDocument/2006/relationships/tags" Target="../tags/tag971.xml"/><Relationship Id="rId1" Type="http://schemas.openxmlformats.org/officeDocument/2006/relationships/vmlDrawing" Target="../drawings/vmlDrawing246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34.xml"/><Relationship Id="rId4" Type="http://schemas.openxmlformats.org/officeDocument/2006/relationships/tags" Target="../tags/tag97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oleObject" Target="../embeddings/oleObject4.bin"/><Relationship Id="rId2" Type="http://schemas.openxmlformats.org/officeDocument/2006/relationships/tags" Target="../tags/tag2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4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974.xml"/><Relationship Id="rId1" Type="http://schemas.openxmlformats.org/officeDocument/2006/relationships/vmlDrawing" Target="../drawings/vmlDrawing247.vml"/><Relationship Id="rId4" Type="http://schemas.openxmlformats.org/officeDocument/2006/relationships/oleObject" Target="../embeddings/oleObject264.bin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tags" Target="../tags/tag976.xml"/><Relationship Id="rId2" Type="http://schemas.openxmlformats.org/officeDocument/2006/relationships/tags" Target="../tags/tag975.xml"/><Relationship Id="rId1" Type="http://schemas.openxmlformats.org/officeDocument/2006/relationships/vmlDrawing" Target="../drawings/vmlDrawing248.vml"/><Relationship Id="rId6" Type="http://schemas.openxmlformats.org/officeDocument/2006/relationships/oleObject" Target="../embeddings/oleObject265.bin"/><Relationship Id="rId5" Type="http://schemas.openxmlformats.org/officeDocument/2006/relationships/slideMaster" Target="../slideMasters/slideMaster34.xml"/><Relationship Id="rId4" Type="http://schemas.openxmlformats.org/officeDocument/2006/relationships/tags" Target="../tags/tag977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tags" Target="../tags/tag979.xml"/><Relationship Id="rId2" Type="http://schemas.openxmlformats.org/officeDocument/2006/relationships/tags" Target="../tags/tag978.xml"/><Relationship Id="rId1" Type="http://schemas.openxmlformats.org/officeDocument/2006/relationships/vmlDrawing" Target="../drawings/vmlDrawing249.vml"/><Relationship Id="rId6" Type="http://schemas.openxmlformats.org/officeDocument/2006/relationships/oleObject" Target="../embeddings/oleObject266.bin"/><Relationship Id="rId5" Type="http://schemas.openxmlformats.org/officeDocument/2006/relationships/slideMaster" Target="../slideMasters/slideMaster34.xml"/><Relationship Id="rId4" Type="http://schemas.openxmlformats.org/officeDocument/2006/relationships/tags" Target="../tags/tag980.xml"/></Relationships>
</file>

<file path=ppt/slideLayouts/_rels/slideLayout30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7.bin"/><Relationship Id="rId3" Type="http://schemas.openxmlformats.org/officeDocument/2006/relationships/tags" Target="../tags/tag982.xml"/><Relationship Id="rId7" Type="http://schemas.openxmlformats.org/officeDocument/2006/relationships/slideMaster" Target="../slideMasters/slideMaster34.xml"/><Relationship Id="rId2" Type="http://schemas.openxmlformats.org/officeDocument/2006/relationships/tags" Target="../tags/tag981.xml"/><Relationship Id="rId1" Type="http://schemas.openxmlformats.org/officeDocument/2006/relationships/vmlDrawing" Target="../drawings/vmlDrawing250.vml"/><Relationship Id="rId6" Type="http://schemas.openxmlformats.org/officeDocument/2006/relationships/tags" Target="../tags/tag985.xml"/><Relationship Id="rId5" Type="http://schemas.openxmlformats.org/officeDocument/2006/relationships/tags" Target="../tags/tag984.xml"/><Relationship Id="rId4" Type="http://schemas.openxmlformats.org/officeDocument/2006/relationships/tags" Target="../tags/tag983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8.bin"/><Relationship Id="rId2" Type="http://schemas.openxmlformats.org/officeDocument/2006/relationships/slideMaster" Target="../slideMasters/slideMaster34.xml"/><Relationship Id="rId1" Type="http://schemas.openxmlformats.org/officeDocument/2006/relationships/vmlDrawing" Target="../drawings/vmlDrawing251.v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0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5.xml"/><Relationship Id="rId3" Type="http://schemas.openxmlformats.org/officeDocument/2006/relationships/tags" Target="../tags/tag995.xml"/><Relationship Id="rId7" Type="http://schemas.openxmlformats.org/officeDocument/2006/relationships/tags" Target="../tags/tag999.xml"/><Relationship Id="rId12" Type="http://schemas.openxmlformats.org/officeDocument/2006/relationships/image" Target="../media/image5.png"/><Relationship Id="rId2" Type="http://schemas.openxmlformats.org/officeDocument/2006/relationships/tags" Target="../tags/tag994.xml"/><Relationship Id="rId1" Type="http://schemas.openxmlformats.org/officeDocument/2006/relationships/vmlDrawing" Target="../drawings/vmlDrawing253.vml"/><Relationship Id="rId6" Type="http://schemas.openxmlformats.org/officeDocument/2006/relationships/tags" Target="../tags/tag998.xml"/><Relationship Id="rId11" Type="http://schemas.openxmlformats.org/officeDocument/2006/relationships/image" Target="../media/image4.emf"/><Relationship Id="rId5" Type="http://schemas.openxmlformats.org/officeDocument/2006/relationships/tags" Target="../tags/tag997.xml"/><Relationship Id="rId10" Type="http://schemas.openxmlformats.org/officeDocument/2006/relationships/oleObject" Target="../embeddings/oleObject270.bin"/><Relationship Id="rId4" Type="http://schemas.openxmlformats.org/officeDocument/2006/relationships/tags" Target="../tags/tag996.xml"/><Relationship Id="rId9" Type="http://schemas.openxmlformats.org/officeDocument/2006/relationships/image" Target="../media/image3.jpeg"/></Relationships>
</file>

<file path=ppt/slideLayouts/_rels/slideLayout30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5.xml"/><Relationship Id="rId3" Type="http://schemas.openxmlformats.org/officeDocument/2006/relationships/tags" Target="../tags/tag1001.xml"/><Relationship Id="rId7" Type="http://schemas.openxmlformats.org/officeDocument/2006/relationships/tags" Target="../tags/tag1005.xml"/><Relationship Id="rId12" Type="http://schemas.openxmlformats.org/officeDocument/2006/relationships/image" Target="../media/image4.emf"/><Relationship Id="rId2" Type="http://schemas.openxmlformats.org/officeDocument/2006/relationships/tags" Target="../tags/tag1000.xml"/><Relationship Id="rId1" Type="http://schemas.openxmlformats.org/officeDocument/2006/relationships/vmlDrawing" Target="../drawings/vmlDrawing254.vml"/><Relationship Id="rId6" Type="http://schemas.openxmlformats.org/officeDocument/2006/relationships/tags" Target="../tags/tag1004.xml"/><Relationship Id="rId11" Type="http://schemas.openxmlformats.org/officeDocument/2006/relationships/image" Target="../media/image5.png"/><Relationship Id="rId5" Type="http://schemas.openxmlformats.org/officeDocument/2006/relationships/tags" Target="../tags/tag1003.xml"/><Relationship Id="rId10" Type="http://schemas.openxmlformats.org/officeDocument/2006/relationships/oleObject" Target="../embeddings/oleObject271.bin"/><Relationship Id="rId4" Type="http://schemas.openxmlformats.org/officeDocument/2006/relationships/tags" Target="../tags/tag1002.xml"/><Relationship Id="rId9" Type="http://schemas.openxmlformats.org/officeDocument/2006/relationships/image" Target="../media/image6.jpeg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tags" Target="../tags/tag1007.xml"/><Relationship Id="rId7" Type="http://schemas.openxmlformats.org/officeDocument/2006/relationships/oleObject" Target="../embeddings/oleObject272.bin"/><Relationship Id="rId2" Type="http://schemas.openxmlformats.org/officeDocument/2006/relationships/tags" Target="../tags/tag1006.xml"/><Relationship Id="rId1" Type="http://schemas.openxmlformats.org/officeDocument/2006/relationships/vmlDrawing" Target="../drawings/vmlDrawing255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35.xml"/><Relationship Id="rId4" Type="http://schemas.openxmlformats.org/officeDocument/2006/relationships/tags" Target="../tags/tag1008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13" Type="http://schemas.openxmlformats.org/officeDocument/2006/relationships/image" Target="../media/image45.png"/><Relationship Id="rId3" Type="http://schemas.openxmlformats.org/officeDocument/2006/relationships/tags" Target="../tags/tag68.xml"/><Relationship Id="rId7" Type="http://schemas.openxmlformats.org/officeDocument/2006/relationships/slideMaster" Target="../slideMasters/slideMaster4.xml"/><Relationship Id="rId12" Type="http://schemas.openxmlformats.org/officeDocument/2006/relationships/hyperlink" Target="https://git-scm.com/" TargetMode="External"/><Relationship Id="rId2" Type="http://schemas.openxmlformats.org/officeDocument/2006/relationships/tags" Target="../tags/tag67.xml"/><Relationship Id="rId1" Type="http://schemas.openxmlformats.org/officeDocument/2006/relationships/vmlDrawing" Target="../drawings/vmlDrawing17.vml"/><Relationship Id="rId6" Type="http://schemas.openxmlformats.org/officeDocument/2006/relationships/tags" Target="../tags/tag71.xml"/><Relationship Id="rId11" Type="http://schemas.openxmlformats.org/officeDocument/2006/relationships/image" Target="../media/image44.jpeg"/><Relationship Id="rId5" Type="http://schemas.openxmlformats.org/officeDocument/2006/relationships/tags" Target="../tags/tag70.xml"/><Relationship Id="rId10" Type="http://schemas.openxmlformats.org/officeDocument/2006/relationships/image" Target="../media/image4.emf"/><Relationship Id="rId4" Type="http://schemas.openxmlformats.org/officeDocument/2006/relationships/tags" Target="../tags/tag69.xml"/><Relationship Id="rId9" Type="http://schemas.openxmlformats.org/officeDocument/2006/relationships/oleObject" Target="../embeddings/oleObject17.bin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009.xml"/><Relationship Id="rId1" Type="http://schemas.openxmlformats.org/officeDocument/2006/relationships/vmlDrawing" Target="../drawings/vmlDrawing256.vml"/><Relationship Id="rId4" Type="http://schemas.openxmlformats.org/officeDocument/2006/relationships/oleObject" Target="../embeddings/oleObject273.bin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tags" Target="../tags/tag1011.xml"/><Relationship Id="rId2" Type="http://schemas.openxmlformats.org/officeDocument/2006/relationships/tags" Target="../tags/tag1010.xml"/><Relationship Id="rId1" Type="http://schemas.openxmlformats.org/officeDocument/2006/relationships/vmlDrawing" Target="../drawings/vmlDrawing257.vml"/><Relationship Id="rId6" Type="http://schemas.openxmlformats.org/officeDocument/2006/relationships/oleObject" Target="../embeddings/oleObject274.bin"/><Relationship Id="rId5" Type="http://schemas.openxmlformats.org/officeDocument/2006/relationships/slideMaster" Target="../slideMasters/slideMaster35.xml"/><Relationship Id="rId4" Type="http://schemas.openxmlformats.org/officeDocument/2006/relationships/tags" Target="../tags/tag1012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tags" Target="../tags/tag1014.xml"/><Relationship Id="rId2" Type="http://schemas.openxmlformats.org/officeDocument/2006/relationships/tags" Target="../tags/tag1013.xml"/><Relationship Id="rId1" Type="http://schemas.openxmlformats.org/officeDocument/2006/relationships/vmlDrawing" Target="../drawings/vmlDrawing258.vml"/><Relationship Id="rId6" Type="http://schemas.openxmlformats.org/officeDocument/2006/relationships/oleObject" Target="../embeddings/oleObject275.bin"/><Relationship Id="rId5" Type="http://schemas.openxmlformats.org/officeDocument/2006/relationships/slideMaster" Target="../slideMasters/slideMaster35.xml"/><Relationship Id="rId4" Type="http://schemas.openxmlformats.org/officeDocument/2006/relationships/tags" Target="../tags/tag1015.xml"/></Relationships>
</file>

<file path=ppt/slideLayouts/_rels/slideLayout3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76.bin"/><Relationship Id="rId3" Type="http://schemas.openxmlformats.org/officeDocument/2006/relationships/tags" Target="../tags/tag1017.xml"/><Relationship Id="rId7" Type="http://schemas.openxmlformats.org/officeDocument/2006/relationships/slideMaster" Target="../slideMasters/slideMaster35.xml"/><Relationship Id="rId2" Type="http://schemas.openxmlformats.org/officeDocument/2006/relationships/tags" Target="../tags/tag1016.xml"/><Relationship Id="rId1" Type="http://schemas.openxmlformats.org/officeDocument/2006/relationships/vmlDrawing" Target="../drawings/vmlDrawing259.vml"/><Relationship Id="rId6" Type="http://schemas.openxmlformats.org/officeDocument/2006/relationships/tags" Target="../tags/tag1020.xml"/><Relationship Id="rId5" Type="http://schemas.openxmlformats.org/officeDocument/2006/relationships/tags" Target="../tags/tag1019.xml"/><Relationship Id="rId4" Type="http://schemas.openxmlformats.org/officeDocument/2006/relationships/tags" Target="../tags/tag1018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7.bin"/><Relationship Id="rId2" Type="http://schemas.openxmlformats.org/officeDocument/2006/relationships/slideMaster" Target="../slideMasters/slideMaster35.xml"/><Relationship Id="rId1" Type="http://schemas.openxmlformats.org/officeDocument/2006/relationships/vmlDrawing" Target="../drawings/vmlDrawing260.v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slideMaster" Target="../slideMasters/slideMaster36.xml"/><Relationship Id="rId7" Type="http://schemas.openxmlformats.org/officeDocument/2006/relationships/image" Target="../media/image19.png"/><Relationship Id="rId2" Type="http://schemas.openxmlformats.org/officeDocument/2006/relationships/tags" Target="../tags/tag1029.xml"/><Relationship Id="rId1" Type="http://schemas.openxmlformats.org/officeDocument/2006/relationships/tags" Target="../tags/tag1028.xml"/><Relationship Id="rId6" Type="http://schemas.openxmlformats.org/officeDocument/2006/relationships/image" Target="../media/image53.png"/><Relationship Id="rId5" Type="http://schemas.openxmlformats.org/officeDocument/2006/relationships/image" Target="../media/image48.png"/><Relationship Id="rId10" Type="http://schemas.openxmlformats.org/officeDocument/2006/relationships/image" Target="../media/image55.png"/><Relationship Id="rId4" Type="http://schemas.openxmlformats.org/officeDocument/2006/relationships/image" Target="../media/image52.png"/><Relationship Id="rId9" Type="http://schemas.openxmlformats.org/officeDocument/2006/relationships/image" Target="../media/image54.png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36.xml"/><Relationship Id="rId4" Type="http://schemas.openxmlformats.org/officeDocument/2006/relationships/image" Target="../media/image51.png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36.xml"/><Relationship Id="rId4" Type="http://schemas.openxmlformats.org/officeDocument/2006/relationships/image" Target="../media/image51.png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81.xml"/><Relationship Id="rId7" Type="http://schemas.openxmlformats.org/officeDocument/2006/relationships/tags" Target="../tags/tag85.xml"/><Relationship Id="rId12" Type="http://schemas.openxmlformats.org/officeDocument/2006/relationships/image" Target="../media/image5.png"/><Relationship Id="rId2" Type="http://schemas.openxmlformats.org/officeDocument/2006/relationships/tags" Target="../tags/tag80.xml"/><Relationship Id="rId1" Type="http://schemas.openxmlformats.org/officeDocument/2006/relationships/vmlDrawing" Target="../drawings/vmlDrawing19.vml"/><Relationship Id="rId6" Type="http://schemas.openxmlformats.org/officeDocument/2006/relationships/tags" Target="../tags/tag84.xml"/><Relationship Id="rId11" Type="http://schemas.openxmlformats.org/officeDocument/2006/relationships/image" Target="../media/image4.emf"/><Relationship Id="rId5" Type="http://schemas.openxmlformats.org/officeDocument/2006/relationships/tags" Target="../tags/tag83.xml"/><Relationship Id="rId10" Type="http://schemas.openxmlformats.org/officeDocument/2006/relationships/oleObject" Target="../embeddings/oleObject19.bin"/><Relationship Id="rId4" Type="http://schemas.openxmlformats.org/officeDocument/2006/relationships/tags" Target="../tags/tag82.xml"/><Relationship Id="rId9" Type="http://schemas.openxmlformats.org/officeDocument/2006/relationships/image" Target="../media/image46.jpeg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030.xml"/><Relationship Id="rId1" Type="http://schemas.openxmlformats.org/officeDocument/2006/relationships/vmlDrawing" Target="../drawings/vmlDrawing262.vml"/><Relationship Id="rId6" Type="http://schemas.openxmlformats.org/officeDocument/2006/relationships/oleObject" Target="../embeddings/oleObject280.bin"/><Relationship Id="rId5" Type="http://schemas.openxmlformats.org/officeDocument/2006/relationships/oleObject" Target="../embeddings/oleObject279.bin"/><Relationship Id="rId4" Type="http://schemas.openxmlformats.org/officeDocument/2006/relationships/image" Target="../media/image56.jpeg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031.xml"/><Relationship Id="rId1" Type="http://schemas.openxmlformats.org/officeDocument/2006/relationships/vmlDrawing" Target="../drawings/vmlDrawing263.vml"/><Relationship Id="rId6" Type="http://schemas.openxmlformats.org/officeDocument/2006/relationships/oleObject" Target="../embeddings/oleObject282.bin"/><Relationship Id="rId5" Type="http://schemas.openxmlformats.org/officeDocument/2006/relationships/oleObject" Target="../embeddings/oleObject281.bin"/><Relationship Id="rId4" Type="http://schemas.openxmlformats.org/officeDocument/2006/relationships/image" Target="../media/image57.jpeg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032.xml"/><Relationship Id="rId1" Type="http://schemas.openxmlformats.org/officeDocument/2006/relationships/vmlDrawing" Target="../drawings/vmlDrawing264.vml"/><Relationship Id="rId6" Type="http://schemas.openxmlformats.org/officeDocument/2006/relationships/oleObject" Target="../embeddings/oleObject284.bin"/><Relationship Id="rId5" Type="http://schemas.openxmlformats.org/officeDocument/2006/relationships/oleObject" Target="../embeddings/oleObject283.bin"/><Relationship Id="rId4" Type="http://schemas.openxmlformats.org/officeDocument/2006/relationships/image" Target="../media/image58.jpeg"/></Relationships>
</file>

<file path=ppt/slideLayouts/_rels/slideLayout32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7.xml"/><Relationship Id="rId3" Type="http://schemas.openxmlformats.org/officeDocument/2006/relationships/tags" Target="../tags/tag1042.xml"/><Relationship Id="rId7" Type="http://schemas.openxmlformats.org/officeDocument/2006/relationships/tags" Target="../tags/tag1046.xml"/><Relationship Id="rId12" Type="http://schemas.openxmlformats.org/officeDocument/2006/relationships/image" Target="../media/image5.png"/><Relationship Id="rId2" Type="http://schemas.openxmlformats.org/officeDocument/2006/relationships/tags" Target="../tags/tag1041.xml"/><Relationship Id="rId1" Type="http://schemas.openxmlformats.org/officeDocument/2006/relationships/vmlDrawing" Target="../drawings/vmlDrawing266.vml"/><Relationship Id="rId6" Type="http://schemas.openxmlformats.org/officeDocument/2006/relationships/tags" Target="../tags/tag1045.xml"/><Relationship Id="rId11" Type="http://schemas.openxmlformats.org/officeDocument/2006/relationships/image" Target="../media/image4.emf"/><Relationship Id="rId5" Type="http://schemas.openxmlformats.org/officeDocument/2006/relationships/tags" Target="../tags/tag1044.xml"/><Relationship Id="rId10" Type="http://schemas.openxmlformats.org/officeDocument/2006/relationships/oleObject" Target="../embeddings/oleObject286.bin"/><Relationship Id="rId4" Type="http://schemas.openxmlformats.org/officeDocument/2006/relationships/tags" Target="../tags/tag1043.xml"/><Relationship Id="rId9" Type="http://schemas.openxmlformats.org/officeDocument/2006/relationships/image" Target="../media/image3.jpeg"/></Relationships>
</file>

<file path=ppt/slideLayouts/_rels/slideLayout32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7.xml"/><Relationship Id="rId3" Type="http://schemas.openxmlformats.org/officeDocument/2006/relationships/tags" Target="../tags/tag1048.xml"/><Relationship Id="rId7" Type="http://schemas.openxmlformats.org/officeDocument/2006/relationships/tags" Target="../tags/tag1052.xml"/><Relationship Id="rId12" Type="http://schemas.openxmlformats.org/officeDocument/2006/relationships/image" Target="../media/image4.emf"/><Relationship Id="rId2" Type="http://schemas.openxmlformats.org/officeDocument/2006/relationships/tags" Target="../tags/tag1047.xml"/><Relationship Id="rId1" Type="http://schemas.openxmlformats.org/officeDocument/2006/relationships/vmlDrawing" Target="../drawings/vmlDrawing267.vml"/><Relationship Id="rId6" Type="http://schemas.openxmlformats.org/officeDocument/2006/relationships/tags" Target="../tags/tag1051.xml"/><Relationship Id="rId11" Type="http://schemas.openxmlformats.org/officeDocument/2006/relationships/image" Target="../media/image5.png"/><Relationship Id="rId5" Type="http://schemas.openxmlformats.org/officeDocument/2006/relationships/tags" Target="../tags/tag1050.xml"/><Relationship Id="rId10" Type="http://schemas.openxmlformats.org/officeDocument/2006/relationships/oleObject" Target="../embeddings/oleObject287.bin"/><Relationship Id="rId4" Type="http://schemas.openxmlformats.org/officeDocument/2006/relationships/tags" Target="../tags/tag1049.xml"/><Relationship Id="rId9" Type="http://schemas.openxmlformats.org/officeDocument/2006/relationships/image" Target="../media/image6.jpeg"/></Relationships>
</file>

<file path=ppt/slideLayouts/_rels/slideLayout325.xml.rels><?xml version="1.0" encoding="UTF-8" standalone="yes"?>
<Relationships xmlns="http://schemas.openxmlformats.org/package/2006/relationships"><Relationship Id="rId3" Type="http://schemas.openxmlformats.org/officeDocument/2006/relationships/tags" Target="../tags/tag1054.xml"/><Relationship Id="rId7" Type="http://schemas.openxmlformats.org/officeDocument/2006/relationships/oleObject" Target="../embeddings/oleObject288.bin"/><Relationship Id="rId2" Type="http://schemas.openxmlformats.org/officeDocument/2006/relationships/tags" Target="../tags/tag1053.xml"/><Relationship Id="rId1" Type="http://schemas.openxmlformats.org/officeDocument/2006/relationships/vmlDrawing" Target="../drawings/vmlDrawing268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37.xml"/><Relationship Id="rId4" Type="http://schemas.openxmlformats.org/officeDocument/2006/relationships/tags" Target="../tags/tag1055.xml"/></Relationships>
</file>

<file path=ppt/slideLayouts/_rels/slideLayout3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056.xml"/><Relationship Id="rId1" Type="http://schemas.openxmlformats.org/officeDocument/2006/relationships/vmlDrawing" Target="../drawings/vmlDrawing269.vml"/><Relationship Id="rId4" Type="http://schemas.openxmlformats.org/officeDocument/2006/relationships/oleObject" Target="../embeddings/oleObject289.bin"/></Relationships>
</file>

<file path=ppt/slideLayouts/_rels/slideLayout327.xml.rels><?xml version="1.0" encoding="UTF-8" standalone="yes"?>
<Relationships xmlns="http://schemas.openxmlformats.org/package/2006/relationships"><Relationship Id="rId3" Type="http://schemas.openxmlformats.org/officeDocument/2006/relationships/tags" Target="../tags/tag1058.xml"/><Relationship Id="rId2" Type="http://schemas.openxmlformats.org/officeDocument/2006/relationships/tags" Target="../tags/tag1057.xml"/><Relationship Id="rId1" Type="http://schemas.openxmlformats.org/officeDocument/2006/relationships/vmlDrawing" Target="../drawings/vmlDrawing270.vml"/><Relationship Id="rId6" Type="http://schemas.openxmlformats.org/officeDocument/2006/relationships/oleObject" Target="../embeddings/oleObject290.bin"/><Relationship Id="rId5" Type="http://schemas.openxmlformats.org/officeDocument/2006/relationships/slideMaster" Target="../slideMasters/slideMaster37.xml"/><Relationship Id="rId4" Type="http://schemas.openxmlformats.org/officeDocument/2006/relationships/tags" Target="../tags/tag1059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tags" Target="../tags/tag1061.xml"/><Relationship Id="rId2" Type="http://schemas.openxmlformats.org/officeDocument/2006/relationships/tags" Target="../tags/tag1060.xml"/><Relationship Id="rId1" Type="http://schemas.openxmlformats.org/officeDocument/2006/relationships/vmlDrawing" Target="../drawings/vmlDrawing271.vml"/><Relationship Id="rId6" Type="http://schemas.openxmlformats.org/officeDocument/2006/relationships/oleObject" Target="../embeddings/oleObject291.bin"/><Relationship Id="rId5" Type="http://schemas.openxmlformats.org/officeDocument/2006/relationships/slideMaster" Target="../slideMasters/slideMaster37.xml"/><Relationship Id="rId4" Type="http://schemas.openxmlformats.org/officeDocument/2006/relationships/tags" Target="../tags/tag1062.xml"/></Relationships>
</file>

<file path=ppt/slideLayouts/_rels/slideLayout3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92.bin"/><Relationship Id="rId3" Type="http://schemas.openxmlformats.org/officeDocument/2006/relationships/tags" Target="../tags/tag1064.xml"/><Relationship Id="rId7" Type="http://schemas.openxmlformats.org/officeDocument/2006/relationships/slideMaster" Target="../slideMasters/slideMaster37.xml"/><Relationship Id="rId2" Type="http://schemas.openxmlformats.org/officeDocument/2006/relationships/tags" Target="../tags/tag1063.xml"/><Relationship Id="rId1" Type="http://schemas.openxmlformats.org/officeDocument/2006/relationships/vmlDrawing" Target="../drawings/vmlDrawing272.vml"/><Relationship Id="rId6" Type="http://schemas.openxmlformats.org/officeDocument/2006/relationships/tags" Target="../tags/tag1067.xml"/><Relationship Id="rId5" Type="http://schemas.openxmlformats.org/officeDocument/2006/relationships/tags" Target="../tags/tag1066.xml"/><Relationship Id="rId4" Type="http://schemas.openxmlformats.org/officeDocument/2006/relationships/tags" Target="../tags/tag1065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87.xml"/><Relationship Id="rId7" Type="http://schemas.openxmlformats.org/officeDocument/2006/relationships/tags" Target="../tags/tag91.xml"/><Relationship Id="rId12" Type="http://schemas.openxmlformats.org/officeDocument/2006/relationships/image" Target="../media/image4.emf"/><Relationship Id="rId2" Type="http://schemas.openxmlformats.org/officeDocument/2006/relationships/tags" Target="../tags/tag86.xml"/><Relationship Id="rId1" Type="http://schemas.openxmlformats.org/officeDocument/2006/relationships/vmlDrawing" Target="../drawings/vmlDrawing20.vml"/><Relationship Id="rId6" Type="http://schemas.openxmlformats.org/officeDocument/2006/relationships/tags" Target="../tags/tag90.xml"/><Relationship Id="rId11" Type="http://schemas.openxmlformats.org/officeDocument/2006/relationships/image" Target="../media/image5.png"/><Relationship Id="rId5" Type="http://schemas.openxmlformats.org/officeDocument/2006/relationships/tags" Target="../tags/tag89.xml"/><Relationship Id="rId10" Type="http://schemas.openxmlformats.org/officeDocument/2006/relationships/oleObject" Target="../embeddings/oleObject20.bin"/><Relationship Id="rId4" Type="http://schemas.openxmlformats.org/officeDocument/2006/relationships/tags" Target="../tags/tag88.xml"/><Relationship Id="rId9" Type="http://schemas.openxmlformats.org/officeDocument/2006/relationships/image" Target="../media/image6.jpeg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3.bin"/><Relationship Id="rId2" Type="http://schemas.openxmlformats.org/officeDocument/2006/relationships/slideMaster" Target="../slideMasters/slideMaster37.xml"/><Relationship Id="rId1" Type="http://schemas.openxmlformats.org/officeDocument/2006/relationships/vmlDrawing" Target="../drawings/vmlDrawing273.v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3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8.xml"/><Relationship Id="rId3" Type="http://schemas.openxmlformats.org/officeDocument/2006/relationships/tags" Target="../tags/tag1077.xml"/><Relationship Id="rId7" Type="http://schemas.openxmlformats.org/officeDocument/2006/relationships/tags" Target="../tags/tag1081.xml"/><Relationship Id="rId12" Type="http://schemas.openxmlformats.org/officeDocument/2006/relationships/image" Target="../media/image5.png"/><Relationship Id="rId2" Type="http://schemas.openxmlformats.org/officeDocument/2006/relationships/tags" Target="../tags/tag1076.xml"/><Relationship Id="rId1" Type="http://schemas.openxmlformats.org/officeDocument/2006/relationships/vmlDrawing" Target="../drawings/vmlDrawing275.vml"/><Relationship Id="rId6" Type="http://schemas.openxmlformats.org/officeDocument/2006/relationships/tags" Target="../tags/tag1080.xml"/><Relationship Id="rId11" Type="http://schemas.openxmlformats.org/officeDocument/2006/relationships/image" Target="../media/image4.emf"/><Relationship Id="rId5" Type="http://schemas.openxmlformats.org/officeDocument/2006/relationships/tags" Target="../tags/tag1079.xml"/><Relationship Id="rId10" Type="http://schemas.openxmlformats.org/officeDocument/2006/relationships/oleObject" Target="../embeddings/oleObject295.bin"/><Relationship Id="rId4" Type="http://schemas.openxmlformats.org/officeDocument/2006/relationships/tags" Target="../tags/tag1078.xml"/><Relationship Id="rId9" Type="http://schemas.openxmlformats.org/officeDocument/2006/relationships/image" Target="../media/image3.jpeg"/></Relationships>
</file>

<file path=ppt/slideLayouts/_rels/slideLayout33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8.xml"/><Relationship Id="rId3" Type="http://schemas.openxmlformats.org/officeDocument/2006/relationships/tags" Target="../tags/tag1083.xml"/><Relationship Id="rId7" Type="http://schemas.openxmlformats.org/officeDocument/2006/relationships/tags" Target="../tags/tag1087.xml"/><Relationship Id="rId12" Type="http://schemas.openxmlformats.org/officeDocument/2006/relationships/image" Target="../media/image4.emf"/><Relationship Id="rId2" Type="http://schemas.openxmlformats.org/officeDocument/2006/relationships/tags" Target="../tags/tag1082.xml"/><Relationship Id="rId1" Type="http://schemas.openxmlformats.org/officeDocument/2006/relationships/vmlDrawing" Target="../drawings/vmlDrawing276.vml"/><Relationship Id="rId6" Type="http://schemas.openxmlformats.org/officeDocument/2006/relationships/tags" Target="../tags/tag1086.xml"/><Relationship Id="rId11" Type="http://schemas.openxmlformats.org/officeDocument/2006/relationships/image" Target="../media/image5.png"/><Relationship Id="rId5" Type="http://schemas.openxmlformats.org/officeDocument/2006/relationships/tags" Target="../tags/tag1085.xml"/><Relationship Id="rId10" Type="http://schemas.openxmlformats.org/officeDocument/2006/relationships/oleObject" Target="../embeddings/oleObject296.bin"/><Relationship Id="rId4" Type="http://schemas.openxmlformats.org/officeDocument/2006/relationships/tags" Target="../tags/tag1084.xml"/><Relationship Id="rId9" Type="http://schemas.openxmlformats.org/officeDocument/2006/relationships/image" Target="../media/image6.jpeg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tags" Target="../tags/tag1089.xml"/><Relationship Id="rId7" Type="http://schemas.openxmlformats.org/officeDocument/2006/relationships/oleObject" Target="../embeddings/oleObject297.bin"/><Relationship Id="rId2" Type="http://schemas.openxmlformats.org/officeDocument/2006/relationships/tags" Target="../tags/tag1088.xml"/><Relationship Id="rId1" Type="http://schemas.openxmlformats.org/officeDocument/2006/relationships/vmlDrawing" Target="../drawings/vmlDrawing277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38.xml"/><Relationship Id="rId4" Type="http://schemas.openxmlformats.org/officeDocument/2006/relationships/tags" Target="../tags/tag1090.xml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091.xml"/><Relationship Id="rId1" Type="http://schemas.openxmlformats.org/officeDocument/2006/relationships/vmlDrawing" Target="../drawings/vmlDrawing278.vml"/><Relationship Id="rId4" Type="http://schemas.openxmlformats.org/officeDocument/2006/relationships/oleObject" Target="../embeddings/oleObject298.bin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tags" Target="../tags/tag1093.xml"/><Relationship Id="rId2" Type="http://schemas.openxmlformats.org/officeDocument/2006/relationships/tags" Target="../tags/tag1092.xml"/><Relationship Id="rId1" Type="http://schemas.openxmlformats.org/officeDocument/2006/relationships/vmlDrawing" Target="../drawings/vmlDrawing279.vml"/><Relationship Id="rId6" Type="http://schemas.openxmlformats.org/officeDocument/2006/relationships/oleObject" Target="../embeddings/oleObject299.bin"/><Relationship Id="rId5" Type="http://schemas.openxmlformats.org/officeDocument/2006/relationships/slideMaster" Target="../slideMasters/slideMaster38.xml"/><Relationship Id="rId4" Type="http://schemas.openxmlformats.org/officeDocument/2006/relationships/tags" Target="../tags/tag1094.xml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tags" Target="../tags/tag1096.xml"/><Relationship Id="rId2" Type="http://schemas.openxmlformats.org/officeDocument/2006/relationships/tags" Target="../tags/tag1095.xml"/><Relationship Id="rId1" Type="http://schemas.openxmlformats.org/officeDocument/2006/relationships/vmlDrawing" Target="../drawings/vmlDrawing280.vml"/><Relationship Id="rId6" Type="http://schemas.openxmlformats.org/officeDocument/2006/relationships/oleObject" Target="../embeddings/oleObject300.bin"/><Relationship Id="rId5" Type="http://schemas.openxmlformats.org/officeDocument/2006/relationships/slideMaster" Target="../slideMasters/slideMaster38.xml"/><Relationship Id="rId4" Type="http://schemas.openxmlformats.org/officeDocument/2006/relationships/tags" Target="../tags/tag1097.xml"/></Relationships>
</file>

<file path=ppt/slideLayouts/_rels/slideLayout33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01.bin"/><Relationship Id="rId3" Type="http://schemas.openxmlformats.org/officeDocument/2006/relationships/tags" Target="../tags/tag1099.xml"/><Relationship Id="rId7" Type="http://schemas.openxmlformats.org/officeDocument/2006/relationships/slideMaster" Target="../slideMasters/slideMaster38.xml"/><Relationship Id="rId2" Type="http://schemas.openxmlformats.org/officeDocument/2006/relationships/tags" Target="../tags/tag1098.xml"/><Relationship Id="rId1" Type="http://schemas.openxmlformats.org/officeDocument/2006/relationships/vmlDrawing" Target="../drawings/vmlDrawing281.vml"/><Relationship Id="rId6" Type="http://schemas.openxmlformats.org/officeDocument/2006/relationships/tags" Target="../tags/tag1102.xml"/><Relationship Id="rId5" Type="http://schemas.openxmlformats.org/officeDocument/2006/relationships/tags" Target="../tags/tag1101.xml"/><Relationship Id="rId4" Type="http://schemas.openxmlformats.org/officeDocument/2006/relationships/tags" Target="../tags/tag1100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2.xml"/><Relationship Id="rId1" Type="http://schemas.openxmlformats.org/officeDocument/2006/relationships/vmlDrawing" Target="../drawings/vmlDrawing21.vml"/><Relationship Id="rId4" Type="http://schemas.openxmlformats.org/officeDocument/2006/relationships/oleObject" Target="../embeddings/oleObject21.bin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2.bin"/><Relationship Id="rId2" Type="http://schemas.openxmlformats.org/officeDocument/2006/relationships/slideMaster" Target="../slideMasters/slideMaster38.xml"/><Relationship Id="rId1" Type="http://schemas.openxmlformats.org/officeDocument/2006/relationships/vmlDrawing" Target="../drawings/vmlDrawing282.v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4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9.xml"/><Relationship Id="rId3" Type="http://schemas.openxmlformats.org/officeDocument/2006/relationships/tags" Target="../tags/tag1112.xml"/><Relationship Id="rId7" Type="http://schemas.openxmlformats.org/officeDocument/2006/relationships/tags" Target="../tags/tag1116.xml"/><Relationship Id="rId12" Type="http://schemas.openxmlformats.org/officeDocument/2006/relationships/image" Target="../media/image5.png"/><Relationship Id="rId2" Type="http://schemas.openxmlformats.org/officeDocument/2006/relationships/tags" Target="../tags/tag1111.xml"/><Relationship Id="rId1" Type="http://schemas.openxmlformats.org/officeDocument/2006/relationships/vmlDrawing" Target="../drawings/vmlDrawing284.vml"/><Relationship Id="rId6" Type="http://schemas.openxmlformats.org/officeDocument/2006/relationships/tags" Target="../tags/tag1115.xml"/><Relationship Id="rId11" Type="http://schemas.openxmlformats.org/officeDocument/2006/relationships/image" Target="../media/image4.emf"/><Relationship Id="rId5" Type="http://schemas.openxmlformats.org/officeDocument/2006/relationships/tags" Target="../tags/tag1114.xml"/><Relationship Id="rId10" Type="http://schemas.openxmlformats.org/officeDocument/2006/relationships/oleObject" Target="../embeddings/oleObject304.bin"/><Relationship Id="rId4" Type="http://schemas.openxmlformats.org/officeDocument/2006/relationships/tags" Target="../tags/tag1113.xml"/><Relationship Id="rId9" Type="http://schemas.openxmlformats.org/officeDocument/2006/relationships/image" Target="../media/image3.jpeg"/></Relationships>
</file>

<file path=ppt/slideLayouts/_rels/slideLayout34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9.xml"/><Relationship Id="rId3" Type="http://schemas.openxmlformats.org/officeDocument/2006/relationships/tags" Target="../tags/tag1118.xml"/><Relationship Id="rId7" Type="http://schemas.openxmlformats.org/officeDocument/2006/relationships/tags" Target="../tags/tag1122.xml"/><Relationship Id="rId12" Type="http://schemas.openxmlformats.org/officeDocument/2006/relationships/image" Target="../media/image4.emf"/><Relationship Id="rId2" Type="http://schemas.openxmlformats.org/officeDocument/2006/relationships/tags" Target="../tags/tag1117.xml"/><Relationship Id="rId1" Type="http://schemas.openxmlformats.org/officeDocument/2006/relationships/vmlDrawing" Target="../drawings/vmlDrawing285.vml"/><Relationship Id="rId6" Type="http://schemas.openxmlformats.org/officeDocument/2006/relationships/tags" Target="../tags/tag1121.xml"/><Relationship Id="rId11" Type="http://schemas.openxmlformats.org/officeDocument/2006/relationships/image" Target="../media/image5.png"/><Relationship Id="rId5" Type="http://schemas.openxmlformats.org/officeDocument/2006/relationships/tags" Target="../tags/tag1120.xml"/><Relationship Id="rId10" Type="http://schemas.openxmlformats.org/officeDocument/2006/relationships/oleObject" Target="../embeddings/oleObject305.bin"/><Relationship Id="rId4" Type="http://schemas.openxmlformats.org/officeDocument/2006/relationships/tags" Target="../tags/tag1119.xml"/><Relationship Id="rId9" Type="http://schemas.openxmlformats.org/officeDocument/2006/relationships/image" Target="../media/image6.jpeg"/></Relationships>
</file>

<file path=ppt/slideLayouts/_rels/slideLayout345.xml.rels><?xml version="1.0" encoding="UTF-8" standalone="yes"?>
<Relationships xmlns="http://schemas.openxmlformats.org/package/2006/relationships"><Relationship Id="rId3" Type="http://schemas.openxmlformats.org/officeDocument/2006/relationships/tags" Target="../tags/tag1124.xml"/><Relationship Id="rId7" Type="http://schemas.openxmlformats.org/officeDocument/2006/relationships/oleObject" Target="../embeddings/oleObject306.bin"/><Relationship Id="rId2" Type="http://schemas.openxmlformats.org/officeDocument/2006/relationships/tags" Target="../tags/tag1123.xml"/><Relationship Id="rId1" Type="http://schemas.openxmlformats.org/officeDocument/2006/relationships/vmlDrawing" Target="../drawings/vmlDrawing286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39.xml"/><Relationship Id="rId4" Type="http://schemas.openxmlformats.org/officeDocument/2006/relationships/tags" Target="../tags/tag1125.xml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1126.xml"/><Relationship Id="rId1" Type="http://schemas.openxmlformats.org/officeDocument/2006/relationships/vmlDrawing" Target="../drawings/vmlDrawing287.vml"/><Relationship Id="rId4" Type="http://schemas.openxmlformats.org/officeDocument/2006/relationships/oleObject" Target="../embeddings/oleObject307.bin"/></Relationships>
</file>

<file path=ppt/slideLayouts/_rels/slideLayout347.xml.rels><?xml version="1.0" encoding="UTF-8" standalone="yes"?>
<Relationships xmlns="http://schemas.openxmlformats.org/package/2006/relationships"><Relationship Id="rId3" Type="http://schemas.openxmlformats.org/officeDocument/2006/relationships/tags" Target="../tags/tag1128.xml"/><Relationship Id="rId2" Type="http://schemas.openxmlformats.org/officeDocument/2006/relationships/tags" Target="../tags/tag1127.xml"/><Relationship Id="rId1" Type="http://schemas.openxmlformats.org/officeDocument/2006/relationships/vmlDrawing" Target="../drawings/vmlDrawing288.vml"/><Relationship Id="rId6" Type="http://schemas.openxmlformats.org/officeDocument/2006/relationships/oleObject" Target="../embeddings/oleObject308.bin"/><Relationship Id="rId5" Type="http://schemas.openxmlformats.org/officeDocument/2006/relationships/slideMaster" Target="../slideMasters/slideMaster39.xml"/><Relationship Id="rId4" Type="http://schemas.openxmlformats.org/officeDocument/2006/relationships/tags" Target="../tags/tag1129.xml"/></Relationships>
</file>

<file path=ppt/slideLayouts/_rels/slideLayout348.xml.rels><?xml version="1.0" encoding="UTF-8" standalone="yes"?>
<Relationships xmlns="http://schemas.openxmlformats.org/package/2006/relationships"><Relationship Id="rId3" Type="http://schemas.openxmlformats.org/officeDocument/2006/relationships/tags" Target="../tags/tag1131.xml"/><Relationship Id="rId2" Type="http://schemas.openxmlformats.org/officeDocument/2006/relationships/tags" Target="../tags/tag1130.xml"/><Relationship Id="rId1" Type="http://schemas.openxmlformats.org/officeDocument/2006/relationships/vmlDrawing" Target="../drawings/vmlDrawing289.vml"/><Relationship Id="rId6" Type="http://schemas.openxmlformats.org/officeDocument/2006/relationships/oleObject" Target="../embeddings/oleObject309.bin"/><Relationship Id="rId5" Type="http://schemas.openxmlformats.org/officeDocument/2006/relationships/slideMaster" Target="../slideMasters/slideMaster39.xml"/><Relationship Id="rId4" Type="http://schemas.openxmlformats.org/officeDocument/2006/relationships/tags" Target="../tags/tag1132.xml"/></Relationships>
</file>

<file path=ppt/slideLayouts/_rels/slideLayout34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10.bin"/><Relationship Id="rId3" Type="http://schemas.openxmlformats.org/officeDocument/2006/relationships/tags" Target="../tags/tag1134.xml"/><Relationship Id="rId7" Type="http://schemas.openxmlformats.org/officeDocument/2006/relationships/slideMaster" Target="../slideMasters/slideMaster39.xml"/><Relationship Id="rId2" Type="http://schemas.openxmlformats.org/officeDocument/2006/relationships/tags" Target="../tags/tag1133.xml"/><Relationship Id="rId1" Type="http://schemas.openxmlformats.org/officeDocument/2006/relationships/vmlDrawing" Target="../drawings/vmlDrawing290.vml"/><Relationship Id="rId6" Type="http://schemas.openxmlformats.org/officeDocument/2006/relationships/tags" Target="../tags/tag1137.xml"/><Relationship Id="rId5" Type="http://schemas.openxmlformats.org/officeDocument/2006/relationships/tags" Target="../tags/tag1136.xml"/><Relationship Id="rId4" Type="http://schemas.openxmlformats.org/officeDocument/2006/relationships/tags" Target="../tags/tag113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95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1.bin"/><Relationship Id="rId2" Type="http://schemas.openxmlformats.org/officeDocument/2006/relationships/slideMaster" Target="../slideMasters/slideMaster39.xml"/><Relationship Id="rId1" Type="http://schemas.openxmlformats.org/officeDocument/2006/relationships/vmlDrawing" Target="../drawings/vmlDrawing291.v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5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0.xml"/><Relationship Id="rId3" Type="http://schemas.openxmlformats.org/officeDocument/2006/relationships/tags" Target="../tags/tag1147.xml"/><Relationship Id="rId7" Type="http://schemas.openxmlformats.org/officeDocument/2006/relationships/tags" Target="../tags/tag1151.xml"/><Relationship Id="rId12" Type="http://schemas.openxmlformats.org/officeDocument/2006/relationships/image" Target="../media/image5.png"/><Relationship Id="rId2" Type="http://schemas.openxmlformats.org/officeDocument/2006/relationships/tags" Target="../tags/tag1146.xml"/><Relationship Id="rId1" Type="http://schemas.openxmlformats.org/officeDocument/2006/relationships/vmlDrawing" Target="../drawings/vmlDrawing293.vml"/><Relationship Id="rId6" Type="http://schemas.openxmlformats.org/officeDocument/2006/relationships/tags" Target="../tags/tag1150.xml"/><Relationship Id="rId11" Type="http://schemas.openxmlformats.org/officeDocument/2006/relationships/image" Target="../media/image4.emf"/><Relationship Id="rId5" Type="http://schemas.openxmlformats.org/officeDocument/2006/relationships/tags" Target="../tags/tag1149.xml"/><Relationship Id="rId10" Type="http://schemas.openxmlformats.org/officeDocument/2006/relationships/oleObject" Target="../embeddings/oleObject313.bin"/><Relationship Id="rId4" Type="http://schemas.openxmlformats.org/officeDocument/2006/relationships/tags" Target="../tags/tag1148.xml"/><Relationship Id="rId9" Type="http://schemas.openxmlformats.org/officeDocument/2006/relationships/image" Target="../media/image3.jpeg"/></Relationships>
</file>

<file path=ppt/slideLayouts/_rels/slideLayout35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0.xml"/><Relationship Id="rId3" Type="http://schemas.openxmlformats.org/officeDocument/2006/relationships/tags" Target="../tags/tag1153.xml"/><Relationship Id="rId7" Type="http://schemas.openxmlformats.org/officeDocument/2006/relationships/tags" Target="../tags/tag1157.xml"/><Relationship Id="rId12" Type="http://schemas.openxmlformats.org/officeDocument/2006/relationships/image" Target="../media/image4.emf"/><Relationship Id="rId2" Type="http://schemas.openxmlformats.org/officeDocument/2006/relationships/tags" Target="../tags/tag1152.xml"/><Relationship Id="rId1" Type="http://schemas.openxmlformats.org/officeDocument/2006/relationships/vmlDrawing" Target="../drawings/vmlDrawing294.vml"/><Relationship Id="rId6" Type="http://schemas.openxmlformats.org/officeDocument/2006/relationships/tags" Target="../tags/tag1156.xml"/><Relationship Id="rId11" Type="http://schemas.openxmlformats.org/officeDocument/2006/relationships/image" Target="../media/image5.png"/><Relationship Id="rId5" Type="http://schemas.openxmlformats.org/officeDocument/2006/relationships/tags" Target="../tags/tag1155.xml"/><Relationship Id="rId10" Type="http://schemas.openxmlformats.org/officeDocument/2006/relationships/oleObject" Target="../embeddings/oleObject314.bin"/><Relationship Id="rId4" Type="http://schemas.openxmlformats.org/officeDocument/2006/relationships/tags" Target="../tags/tag1154.xml"/><Relationship Id="rId9" Type="http://schemas.openxmlformats.org/officeDocument/2006/relationships/image" Target="../media/image6.jpeg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tags" Target="../tags/tag1159.xml"/><Relationship Id="rId7" Type="http://schemas.openxmlformats.org/officeDocument/2006/relationships/oleObject" Target="../embeddings/oleObject315.bin"/><Relationship Id="rId2" Type="http://schemas.openxmlformats.org/officeDocument/2006/relationships/tags" Target="../tags/tag1158.xml"/><Relationship Id="rId1" Type="http://schemas.openxmlformats.org/officeDocument/2006/relationships/vmlDrawing" Target="../drawings/vmlDrawing295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40.xml"/><Relationship Id="rId4" Type="http://schemas.openxmlformats.org/officeDocument/2006/relationships/tags" Target="../tags/tag1160.xml"/></Relationships>
</file>

<file path=ppt/slideLayouts/_rels/slideLayout3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161.xml"/><Relationship Id="rId1" Type="http://schemas.openxmlformats.org/officeDocument/2006/relationships/vmlDrawing" Target="../drawings/vmlDrawing296.vml"/><Relationship Id="rId4" Type="http://schemas.openxmlformats.org/officeDocument/2006/relationships/oleObject" Target="../embeddings/oleObject316.bin"/></Relationships>
</file>

<file path=ppt/slideLayouts/_rels/slideLayout357.xml.rels><?xml version="1.0" encoding="UTF-8" standalone="yes"?>
<Relationships xmlns="http://schemas.openxmlformats.org/package/2006/relationships"><Relationship Id="rId3" Type="http://schemas.openxmlformats.org/officeDocument/2006/relationships/tags" Target="../tags/tag1163.xml"/><Relationship Id="rId2" Type="http://schemas.openxmlformats.org/officeDocument/2006/relationships/tags" Target="../tags/tag1162.xml"/><Relationship Id="rId1" Type="http://schemas.openxmlformats.org/officeDocument/2006/relationships/vmlDrawing" Target="../drawings/vmlDrawing297.vml"/><Relationship Id="rId6" Type="http://schemas.openxmlformats.org/officeDocument/2006/relationships/oleObject" Target="../embeddings/oleObject317.bin"/><Relationship Id="rId5" Type="http://schemas.openxmlformats.org/officeDocument/2006/relationships/slideMaster" Target="../slideMasters/slideMaster40.xml"/><Relationship Id="rId4" Type="http://schemas.openxmlformats.org/officeDocument/2006/relationships/tags" Target="../tags/tag1164.xml"/></Relationships>
</file>

<file path=ppt/slideLayouts/_rels/slideLayout358.xml.rels><?xml version="1.0" encoding="UTF-8" standalone="yes"?>
<Relationships xmlns="http://schemas.openxmlformats.org/package/2006/relationships"><Relationship Id="rId3" Type="http://schemas.openxmlformats.org/officeDocument/2006/relationships/tags" Target="../tags/tag1166.xml"/><Relationship Id="rId2" Type="http://schemas.openxmlformats.org/officeDocument/2006/relationships/tags" Target="../tags/tag1165.xml"/><Relationship Id="rId1" Type="http://schemas.openxmlformats.org/officeDocument/2006/relationships/vmlDrawing" Target="../drawings/vmlDrawing298.vml"/><Relationship Id="rId6" Type="http://schemas.openxmlformats.org/officeDocument/2006/relationships/oleObject" Target="../embeddings/oleObject318.bin"/><Relationship Id="rId5" Type="http://schemas.openxmlformats.org/officeDocument/2006/relationships/slideMaster" Target="../slideMasters/slideMaster40.xml"/><Relationship Id="rId4" Type="http://schemas.openxmlformats.org/officeDocument/2006/relationships/tags" Target="../tags/tag1167.xml"/></Relationships>
</file>

<file path=ppt/slideLayouts/_rels/slideLayout35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19.bin"/><Relationship Id="rId3" Type="http://schemas.openxmlformats.org/officeDocument/2006/relationships/tags" Target="../tags/tag1169.xml"/><Relationship Id="rId7" Type="http://schemas.openxmlformats.org/officeDocument/2006/relationships/slideMaster" Target="../slideMasters/slideMaster40.xml"/><Relationship Id="rId2" Type="http://schemas.openxmlformats.org/officeDocument/2006/relationships/tags" Target="../tags/tag1168.xml"/><Relationship Id="rId1" Type="http://schemas.openxmlformats.org/officeDocument/2006/relationships/vmlDrawing" Target="../drawings/vmlDrawing299.vml"/><Relationship Id="rId6" Type="http://schemas.openxmlformats.org/officeDocument/2006/relationships/tags" Target="../tags/tag1172.xml"/><Relationship Id="rId5" Type="http://schemas.openxmlformats.org/officeDocument/2006/relationships/tags" Target="../tags/tag1171.xml"/><Relationship Id="rId4" Type="http://schemas.openxmlformats.org/officeDocument/2006/relationships/tags" Target="../tags/tag1170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98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0.bin"/><Relationship Id="rId2" Type="http://schemas.openxmlformats.org/officeDocument/2006/relationships/slideMaster" Target="../slideMasters/slideMaster40.xml"/><Relationship Id="rId1" Type="http://schemas.openxmlformats.org/officeDocument/2006/relationships/vmlDrawing" Target="../drawings/vmlDrawing300.v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6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1.xml"/><Relationship Id="rId3" Type="http://schemas.openxmlformats.org/officeDocument/2006/relationships/tags" Target="../tags/tag1182.xml"/><Relationship Id="rId7" Type="http://schemas.openxmlformats.org/officeDocument/2006/relationships/tags" Target="../tags/tag1186.xml"/><Relationship Id="rId12" Type="http://schemas.openxmlformats.org/officeDocument/2006/relationships/image" Target="../media/image5.png"/><Relationship Id="rId2" Type="http://schemas.openxmlformats.org/officeDocument/2006/relationships/tags" Target="../tags/tag1181.xml"/><Relationship Id="rId1" Type="http://schemas.openxmlformats.org/officeDocument/2006/relationships/vmlDrawing" Target="../drawings/vmlDrawing302.vml"/><Relationship Id="rId6" Type="http://schemas.openxmlformats.org/officeDocument/2006/relationships/tags" Target="../tags/tag1185.xml"/><Relationship Id="rId11" Type="http://schemas.openxmlformats.org/officeDocument/2006/relationships/image" Target="../media/image4.emf"/><Relationship Id="rId5" Type="http://schemas.openxmlformats.org/officeDocument/2006/relationships/tags" Target="../tags/tag1184.xml"/><Relationship Id="rId10" Type="http://schemas.openxmlformats.org/officeDocument/2006/relationships/oleObject" Target="../embeddings/oleObject322.bin"/><Relationship Id="rId4" Type="http://schemas.openxmlformats.org/officeDocument/2006/relationships/tags" Target="../tags/tag1183.xml"/><Relationship Id="rId9" Type="http://schemas.openxmlformats.org/officeDocument/2006/relationships/image" Target="../media/image3.jpeg"/></Relationships>
</file>

<file path=ppt/slideLayouts/_rels/slideLayout36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1.xml"/><Relationship Id="rId3" Type="http://schemas.openxmlformats.org/officeDocument/2006/relationships/tags" Target="../tags/tag1188.xml"/><Relationship Id="rId7" Type="http://schemas.openxmlformats.org/officeDocument/2006/relationships/tags" Target="../tags/tag1192.xml"/><Relationship Id="rId12" Type="http://schemas.openxmlformats.org/officeDocument/2006/relationships/image" Target="../media/image4.emf"/><Relationship Id="rId2" Type="http://schemas.openxmlformats.org/officeDocument/2006/relationships/tags" Target="../tags/tag1187.xml"/><Relationship Id="rId1" Type="http://schemas.openxmlformats.org/officeDocument/2006/relationships/vmlDrawing" Target="../drawings/vmlDrawing303.vml"/><Relationship Id="rId6" Type="http://schemas.openxmlformats.org/officeDocument/2006/relationships/tags" Target="../tags/tag1191.xml"/><Relationship Id="rId11" Type="http://schemas.openxmlformats.org/officeDocument/2006/relationships/image" Target="../media/image5.png"/><Relationship Id="rId5" Type="http://schemas.openxmlformats.org/officeDocument/2006/relationships/tags" Target="../tags/tag1190.xml"/><Relationship Id="rId10" Type="http://schemas.openxmlformats.org/officeDocument/2006/relationships/oleObject" Target="../embeddings/oleObject323.bin"/><Relationship Id="rId4" Type="http://schemas.openxmlformats.org/officeDocument/2006/relationships/tags" Target="../tags/tag1189.xml"/><Relationship Id="rId9" Type="http://schemas.openxmlformats.org/officeDocument/2006/relationships/image" Target="../media/image6.jpeg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tags" Target="../tags/tag1194.xml"/><Relationship Id="rId7" Type="http://schemas.openxmlformats.org/officeDocument/2006/relationships/oleObject" Target="../embeddings/oleObject324.bin"/><Relationship Id="rId2" Type="http://schemas.openxmlformats.org/officeDocument/2006/relationships/tags" Target="../tags/tag1193.xml"/><Relationship Id="rId1" Type="http://schemas.openxmlformats.org/officeDocument/2006/relationships/vmlDrawing" Target="../drawings/vmlDrawing304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41.xml"/><Relationship Id="rId4" Type="http://schemas.openxmlformats.org/officeDocument/2006/relationships/tags" Target="../tags/tag1195.xml"/></Relationships>
</file>

<file path=ppt/slideLayouts/_rels/slideLayout3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1196.xml"/><Relationship Id="rId1" Type="http://schemas.openxmlformats.org/officeDocument/2006/relationships/vmlDrawing" Target="../drawings/vmlDrawing305.vml"/><Relationship Id="rId4" Type="http://schemas.openxmlformats.org/officeDocument/2006/relationships/oleObject" Target="../embeddings/oleObject325.bin"/></Relationships>
</file>

<file path=ppt/slideLayouts/_rels/slideLayout367.xml.rels><?xml version="1.0" encoding="UTF-8" standalone="yes"?>
<Relationships xmlns="http://schemas.openxmlformats.org/package/2006/relationships"><Relationship Id="rId3" Type="http://schemas.openxmlformats.org/officeDocument/2006/relationships/tags" Target="../tags/tag1198.xml"/><Relationship Id="rId2" Type="http://schemas.openxmlformats.org/officeDocument/2006/relationships/tags" Target="../tags/tag1197.xml"/><Relationship Id="rId1" Type="http://schemas.openxmlformats.org/officeDocument/2006/relationships/vmlDrawing" Target="../drawings/vmlDrawing306.vml"/><Relationship Id="rId6" Type="http://schemas.openxmlformats.org/officeDocument/2006/relationships/oleObject" Target="../embeddings/oleObject326.bin"/><Relationship Id="rId5" Type="http://schemas.openxmlformats.org/officeDocument/2006/relationships/slideMaster" Target="../slideMasters/slideMaster41.xml"/><Relationship Id="rId4" Type="http://schemas.openxmlformats.org/officeDocument/2006/relationships/tags" Target="../tags/tag1199.xml"/></Relationships>
</file>

<file path=ppt/slideLayouts/_rels/slideLayout368.xml.rels><?xml version="1.0" encoding="UTF-8" standalone="yes"?>
<Relationships xmlns="http://schemas.openxmlformats.org/package/2006/relationships"><Relationship Id="rId3" Type="http://schemas.openxmlformats.org/officeDocument/2006/relationships/tags" Target="../tags/tag1201.xml"/><Relationship Id="rId2" Type="http://schemas.openxmlformats.org/officeDocument/2006/relationships/tags" Target="../tags/tag1200.xml"/><Relationship Id="rId1" Type="http://schemas.openxmlformats.org/officeDocument/2006/relationships/vmlDrawing" Target="../drawings/vmlDrawing307.vml"/><Relationship Id="rId6" Type="http://schemas.openxmlformats.org/officeDocument/2006/relationships/oleObject" Target="../embeddings/oleObject327.bin"/><Relationship Id="rId5" Type="http://schemas.openxmlformats.org/officeDocument/2006/relationships/slideMaster" Target="../slideMasters/slideMaster41.xml"/><Relationship Id="rId4" Type="http://schemas.openxmlformats.org/officeDocument/2006/relationships/tags" Target="../tags/tag1202.xml"/></Relationships>
</file>

<file path=ppt/slideLayouts/_rels/slideLayout36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28.bin"/><Relationship Id="rId3" Type="http://schemas.openxmlformats.org/officeDocument/2006/relationships/tags" Target="../tags/tag1204.xml"/><Relationship Id="rId7" Type="http://schemas.openxmlformats.org/officeDocument/2006/relationships/slideMaster" Target="../slideMasters/slideMaster41.xml"/><Relationship Id="rId2" Type="http://schemas.openxmlformats.org/officeDocument/2006/relationships/tags" Target="../tags/tag1203.xml"/><Relationship Id="rId1" Type="http://schemas.openxmlformats.org/officeDocument/2006/relationships/vmlDrawing" Target="../drawings/vmlDrawing308.vml"/><Relationship Id="rId6" Type="http://schemas.openxmlformats.org/officeDocument/2006/relationships/tags" Target="../tags/tag1207.xml"/><Relationship Id="rId5" Type="http://schemas.openxmlformats.org/officeDocument/2006/relationships/tags" Target="../tags/tag1206.xml"/><Relationship Id="rId4" Type="http://schemas.openxmlformats.org/officeDocument/2006/relationships/tags" Target="../tags/tag1205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.bin"/><Relationship Id="rId3" Type="http://schemas.openxmlformats.org/officeDocument/2006/relationships/tags" Target="../tags/tag100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99.xml"/><Relationship Id="rId1" Type="http://schemas.openxmlformats.org/officeDocument/2006/relationships/vmlDrawing" Target="../drawings/vmlDrawing24.vml"/><Relationship Id="rId6" Type="http://schemas.openxmlformats.org/officeDocument/2006/relationships/tags" Target="../tags/tag103.xml"/><Relationship Id="rId5" Type="http://schemas.openxmlformats.org/officeDocument/2006/relationships/tags" Target="../tags/tag102.xml"/><Relationship Id="rId4" Type="http://schemas.openxmlformats.org/officeDocument/2006/relationships/tags" Target="../tags/tag101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9.bin"/><Relationship Id="rId2" Type="http://schemas.openxmlformats.org/officeDocument/2006/relationships/slideMaster" Target="../slideMasters/slideMaster41.xml"/><Relationship Id="rId1" Type="http://schemas.openxmlformats.org/officeDocument/2006/relationships/vmlDrawing" Target="../drawings/vmlDrawing309.v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7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2.xml"/><Relationship Id="rId3" Type="http://schemas.openxmlformats.org/officeDocument/2006/relationships/tags" Target="../tags/tag1217.xml"/><Relationship Id="rId7" Type="http://schemas.openxmlformats.org/officeDocument/2006/relationships/tags" Target="../tags/tag1221.xml"/><Relationship Id="rId12" Type="http://schemas.openxmlformats.org/officeDocument/2006/relationships/image" Target="../media/image5.png"/><Relationship Id="rId2" Type="http://schemas.openxmlformats.org/officeDocument/2006/relationships/tags" Target="../tags/tag1216.xml"/><Relationship Id="rId1" Type="http://schemas.openxmlformats.org/officeDocument/2006/relationships/vmlDrawing" Target="../drawings/vmlDrawing311.vml"/><Relationship Id="rId6" Type="http://schemas.openxmlformats.org/officeDocument/2006/relationships/tags" Target="../tags/tag1220.xml"/><Relationship Id="rId11" Type="http://schemas.openxmlformats.org/officeDocument/2006/relationships/image" Target="../media/image4.emf"/><Relationship Id="rId5" Type="http://schemas.openxmlformats.org/officeDocument/2006/relationships/tags" Target="../tags/tag1219.xml"/><Relationship Id="rId10" Type="http://schemas.openxmlformats.org/officeDocument/2006/relationships/oleObject" Target="../embeddings/oleObject331.bin"/><Relationship Id="rId4" Type="http://schemas.openxmlformats.org/officeDocument/2006/relationships/tags" Target="../tags/tag1218.xml"/><Relationship Id="rId9" Type="http://schemas.openxmlformats.org/officeDocument/2006/relationships/image" Target="../media/image3.jpeg"/></Relationships>
</file>

<file path=ppt/slideLayouts/_rels/slideLayout37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2.xml"/><Relationship Id="rId3" Type="http://schemas.openxmlformats.org/officeDocument/2006/relationships/tags" Target="../tags/tag1223.xml"/><Relationship Id="rId7" Type="http://schemas.openxmlformats.org/officeDocument/2006/relationships/tags" Target="../tags/tag1227.xml"/><Relationship Id="rId12" Type="http://schemas.openxmlformats.org/officeDocument/2006/relationships/image" Target="../media/image4.emf"/><Relationship Id="rId2" Type="http://schemas.openxmlformats.org/officeDocument/2006/relationships/tags" Target="../tags/tag1222.xml"/><Relationship Id="rId1" Type="http://schemas.openxmlformats.org/officeDocument/2006/relationships/vmlDrawing" Target="../drawings/vmlDrawing312.vml"/><Relationship Id="rId6" Type="http://schemas.openxmlformats.org/officeDocument/2006/relationships/tags" Target="../tags/tag1226.xml"/><Relationship Id="rId11" Type="http://schemas.openxmlformats.org/officeDocument/2006/relationships/image" Target="../media/image5.png"/><Relationship Id="rId5" Type="http://schemas.openxmlformats.org/officeDocument/2006/relationships/tags" Target="../tags/tag1225.xml"/><Relationship Id="rId10" Type="http://schemas.openxmlformats.org/officeDocument/2006/relationships/oleObject" Target="../embeddings/oleObject332.bin"/><Relationship Id="rId4" Type="http://schemas.openxmlformats.org/officeDocument/2006/relationships/tags" Target="../tags/tag1224.xml"/><Relationship Id="rId9" Type="http://schemas.openxmlformats.org/officeDocument/2006/relationships/image" Target="../media/image6.jpeg"/></Relationships>
</file>

<file path=ppt/slideLayouts/_rels/slideLayout375.xml.rels><?xml version="1.0" encoding="UTF-8" standalone="yes"?>
<Relationships xmlns="http://schemas.openxmlformats.org/package/2006/relationships"><Relationship Id="rId3" Type="http://schemas.openxmlformats.org/officeDocument/2006/relationships/tags" Target="../tags/tag1229.xml"/><Relationship Id="rId7" Type="http://schemas.openxmlformats.org/officeDocument/2006/relationships/oleObject" Target="../embeddings/oleObject333.bin"/><Relationship Id="rId2" Type="http://schemas.openxmlformats.org/officeDocument/2006/relationships/tags" Target="../tags/tag1228.xml"/><Relationship Id="rId1" Type="http://schemas.openxmlformats.org/officeDocument/2006/relationships/vmlDrawing" Target="../drawings/vmlDrawing313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42.xml"/><Relationship Id="rId4" Type="http://schemas.openxmlformats.org/officeDocument/2006/relationships/tags" Target="../tags/tag1230.xml"/></Relationships>
</file>

<file path=ppt/slideLayouts/_rels/slideLayout3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1231.xml"/><Relationship Id="rId1" Type="http://schemas.openxmlformats.org/officeDocument/2006/relationships/vmlDrawing" Target="../drawings/vmlDrawing314.vml"/><Relationship Id="rId4" Type="http://schemas.openxmlformats.org/officeDocument/2006/relationships/oleObject" Target="../embeddings/oleObject334.bin"/></Relationships>
</file>

<file path=ppt/slideLayouts/_rels/slideLayout377.xml.rels><?xml version="1.0" encoding="UTF-8" standalone="yes"?>
<Relationships xmlns="http://schemas.openxmlformats.org/package/2006/relationships"><Relationship Id="rId3" Type="http://schemas.openxmlformats.org/officeDocument/2006/relationships/tags" Target="../tags/tag1233.xml"/><Relationship Id="rId2" Type="http://schemas.openxmlformats.org/officeDocument/2006/relationships/tags" Target="../tags/tag1232.xml"/><Relationship Id="rId1" Type="http://schemas.openxmlformats.org/officeDocument/2006/relationships/vmlDrawing" Target="../drawings/vmlDrawing315.vml"/><Relationship Id="rId6" Type="http://schemas.openxmlformats.org/officeDocument/2006/relationships/oleObject" Target="../embeddings/oleObject335.bin"/><Relationship Id="rId5" Type="http://schemas.openxmlformats.org/officeDocument/2006/relationships/slideMaster" Target="../slideMasters/slideMaster42.xml"/><Relationship Id="rId4" Type="http://schemas.openxmlformats.org/officeDocument/2006/relationships/tags" Target="../tags/tag1234.xml"/></Relationships>
</file>

<file path=ppt/slideLayouts/_rels/slideLayout378.xml.rels><?xml version="1.0" encoding="UTF-8" standalone="yes"?>
<Relationships xmlns="http://schemas.openxmlformats.org/package/2006/relationships"><Relationship Id="rId3" Type="http://schemas.openxmlformats.org/officeDocument/2006/relationships/tags" Target="../tags/tag1236.xml"/><Relationship Id="rId2" Type="http://schemas.openxmlformats.org/officeDocument/2006/relationships/tags" Target="../tags/tag1235.xml"/><Relationship Id="rId1" Type="http://schemas.openxmlformats.org/officeDocument/2006/relationships/vmlDrawing" Target="../drawings/vmlDrawing316.vml"/><Relationship Id="rId6" Type="http://schemas.openxmlformats.org/officeDocument/2006/relationships/oleObject" Target="../embeddings/oleObject336.bin"/><Relationship Id="rId5" Type="http://schemas.openxmlformats.org/officeDocument/2006/relationships/slideMaster" Target="../slideMasters/slideMaster42.xml"/><Relationship Id="rId4" Type="http://schemas.openxmlformats.org/officeDocument/2006/relationships/tags" Target="../tags/tag1237.xml"/></Relationships>
</file>

<file path=ppt/slideLayouts/_rels/slideLayout37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37.bin"/><Relationship Id="rId3" Type="http://schemas.openxmlformats.org/officeDocument/2006/relationships/tags" Target="../tags/tag1239.xml"/><Relationship Id="rId7" Type="http://schemas.openxmlformats.org/officeDocument/2006/relationships/slideMaster" Target="../slideMasters/slideMaster42.xml"/><Relationship Id="rId2" Type="http://schemas.openxmlformats.org/officeDocument/2006/relationships/tags" Target="../tags/tag1238.xml"/><Relationship Id="rId1" Type="http://schemas.openxmlformats.org/officeDocument/2006/relationships/vmlDrawing" Target="../drawings/vmlDrawing317.vml"/><Relationship Id="rId6" Type="http://schemas.openxmlformats.org/officeDocument/2006/relationships/tags" Target="../tags/tag1242.xml"/><Relationship Id="rId5" Type="http://schemas.openxmlformats.org/officeDocument/2006/relationships/tags" Target="../tags/tag1241.xml"/><Relationship Id="rId4" Type="http://schemas.openxmlformats.org/officeDocument/2006/relationships/tags" Target="../tags/tag1240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tags" Target="../tags/tag106.xml"/><Relationship Id="rId7" Type="http://schemas.openxmlformats.org/officeDocument/2006/relationships/image" Target="../media/image47.jpeg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108.xml"/><Relationship Id="rId4" Type="http://schemas.openxmlformats.org/officeDocument/2006/relationships/tags" Target="../tags/tag107.xml"/><Relationship Id="rId9" Type="http://schemas.openxmlformats.org/officeDocument/2006/relationships/image" Target="../media/image2.png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8.bin"/><Relationship Id="rId2" Type="http://schemas.openxmlformats.org/officeDocument/2006/relationships/slideMaster" Target="../slideMasters/slideMaster42.xml"/><Relationship Id="rId1" Type="http://schemas.openxmlformats.org/officeDocument/2006/relationships/vmlDrawing" Target="../drawings/vmlDrawing318.v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8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3.xml"/><Relationship Id="rId3" Type="http://schemas.openxmlformats.org/officeDocument/2006/relationships/tags" Target="../tags/tag1252.xml"/><Relationship Id="rId7" Type="http://schemas.openxmlformats.org/officeDocument/2006/relationships/tags" Target="../tags/tag1256.xml"/><Relationship Id="rId12" Type="http://schemas.openxmlformats.org/officeDocument/2006/relationships/image" Target="../media/image5.png"/><Relationship Id="rId2" Type="http://schemas.openxmlformats.org/officeDocument/2006/relationships/tags" Target="../tags/tag1251.xml"/><Relationship Id="rId1" Type="http://schemas.openxmlformats.org/officeDocument/2006/relationships/vmlDrawing" Target="../drawings/vmlDrawing320.vml"/><Relationship Id="rId6" Type="http://schemas.openxmlformats.org/officeDocument/2006/relationships/tags" Target="../tags/tag1255.xml"/><Relationship Id="rId11" Type="http://schemas.openxmlformats.org/officeDocument/2006/relationships/image" Target="../media/image4.emf"/><Relationship Id="rId5" Type="http://schemas.openxmlformats.org/officeDocument/2006/relationships/tags" Target="../tags/tag1254.xml"/><Relationship Id="rId10" Type="http://schemas.openxmlformats.org/officeDocument/2006/relationships/oleObject" Target="../embeddings/oleObject340.bin"/><Relationship Id="rId4" Type="http://schemas.openxmlformats.org/officeDocument/2006/relationships/tags" Target="../tags/tag1253.xml"/><Relationship Id="rId9" Type="http://schemas.openxmlformats.org/officeDocument/2006/relationships/image" Target="../media/image3.jpeg"/></Relationships>
</file>

<file path=ppt/slideLayouts/_rels/slideLayout38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3.xml"/><Relationship Id="rId3" Type="http://schemas.openxmlformats.org/officeDocument/2006/relationships/tags" Target="../tags/tag1258.xml"/><Relationship Id="rId7" Type="http://schemas.openxmlformats.org/officeDocument/2006/relationships/tags" Target="../tags/tag1262.xml"/><Relationship Id="rId12" Type="http://schemas.openxmlformats.org/officeDocument/2006/relationships/image" Target="../media/image4.emf"/><Relationship Id="rId2" Type="http://schemas.openxmlformats.org/officeDocument/2006/relationships/tags" Target="../tags/tag1257.xml"/><Relationship Id="rId1" Type="http://schemas.openxmlformats.org/officeDocument/2006/relationships/vmlDrawing" Target="../drawings/vmlDrawing321.vml"/><Relationship Id="rId6" Type="http://schemas.openxmlformats.org/officeDocument/2006/relationships/tags" Target="../tags/tag1261.xml"/><Relationship Id="rId11" Type="http://schemas.openxmlformats.org/officeDocument/2006/relationships/image" Target="../media/image5.png"/><Relationship Id="rId5" Type="http://schemas.openxmlformats.org/officeDocument/2006/relationships/tags" Target="../tags/tag1260.xml"/><Relationship Id="rId10" Type="http://schemas.openxmlformats.org/officeDocument/2006/relationships/oleObject" Target="../embeddings/oleObject341.bin"/><Relationship Id="rId4" Type="http://schemas.openxmlformats.org/officeDocument/2006/relationships/tags" Target="../tags/tag1259.xml"/><Relationship Id="rId9" Type="http://schemas.openxmlformats.org/officeDocument/2006/relationships/image" Target="../media/image6.jpeg"/></Relationships>
</file>

<file path=ppt/slideLayouts/_rels/slideLayout385.xml.rels><?xml version="1.0" encoding="UTF-8" standalone="yes"?>
<Relationships xmlns="http://schemas.openxmlformats.org/package/2006/relationships"><Relationship Id="rId3" Type="http://schemas.openxmlformats.org/officeDocument/2006/relationships/tags" Target="../tags/tag1264.xml"/><Relationship Id="rId7" Type="http://schemas.openxmlformats.org/officeDocument/2006/relationships/oleObject" Target="../embeddings/oleObject342.bin"/><Relationship Id="rId2" Type="http://schemas.openxmlformats.org/officeDocument/2006/relationships/tags" Target="../tags/tag1263.xml"/><Relationship Id="rId1" Type="http://schemas.openxmlformats.org/officeDocument/2006/relationships/vmlDrawing" Target="../drawings/vmlDrawing322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43.xml"/><Relationship Id="rId4" Type="http://schemas.openxmlformats.org/officeDocument/2006/relationships/tags" Target="../tags/tag1265.xml"/></Relationships>
</file>

<file path=ppt/slideLayouts/_rels/slideLayout3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1266.xml"/><Relationship Id="rId1" Type="http://schemas.openxmlformats.org/officeDocument/2006/relationships/vmlDrawing" Target="../drawings/vmlDrawing323.vml"/><Relationship Id="rId4" Type="http://schemas.openxmlformats.org/officeDocument/2006/relationships/oleObject" Target="../embeddings/oleObject343.bin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tags" Target="../tags/tag1268.xml"/><Relationship Id="rId2" Type="http://schemas.openxmlformats.org/officeDocument/2006/relationships/tags" Target="../tags/tag1267.xml"/><Relationship Id="rId1" Type="http://schemas.openxmlformats.org/officeDocument/2006/relationships/vmlDrawing" Target="../drawings/vmlDrawing324.vml"/><Relationship Id="rId6" Type="http://schemas.openxmlformats.org/officeDocument/2006/relationships/oleObject" Target="../embeddings/oleObject344.bin"/><Relationship Id="rId5" Type="http://schemas.openxmlformats.org/officeDocument/2006/relationships/slideMaster" Target="../slideMasters/slideMaster43.xml"/><Relationship Id="rId4" Type="http://schemas.openxmlformats.org/officeDocument/2006/relationships/tags" Target="../tags/tag1269.xml"/></Relationships>
</file>

<file path=ppt/slideLayouts/_rels/slideLayout388.xml.rels><?xml version="1.0" encoding="UTF-8" standalone="yes"?>
<Relationships xmlns="http://schemas.openxmlformats.org/package/2006/relationships"><Relationship Id="rId3" Type="http://schemas.openxmlformats.org/officeDocument/2006/relationships/tags" Target="../tags/tag1271.xml"/><Relationship Id="rId2" Type="http://schemas.openxmlformats.org/officeDocument/2006/relationships/tags" Target="../tags/tag1270.xml"/><Relationship Id="rId1" Type="http://schemas.openxmlformats.org/officeDocument/2006/relationships/vmlDrawing" Target="../drawings/vmlDrawing325.vml"/><Relationship Id="rId6" Type="http://schemas.openxmlformats.org/officeDocument/2006/relationships/oleObject" Target="../embeddings/oleObject345.bin"/><Relationship Id="rId5" Type="http://schemas.openxmlformats.org/officeDocument/2006/relationships/slideMaster" Target="../slideMasters/slideMaster43.xml"/><Relationship Id="rId4" Type="http://schemas.openxmlformats.org/officeDocument/2006/relationships/tags" Target="../tags/tag1272.xml"/></Relationships>
</file>

<file path=ppt/slideLayouts/_rels/slideLayout38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46.bin"/><Relationship Id="rId3" Type="http://schemas.openxmlformats.org/officeDocument/2006/relationships/tags" Target="../tags/tag1274.xml"/><Relationship Id="rId7" Type="http://schemas.openxmlformats.org/officeDocument/2006/relationships/slideMaster" Target="../slideMasters/slideMaster43.xml"/><Relationship Id="rId2" Type="http://schemas.openxmlformats.org/officeDocument/2006/relationships/tags" Target="../tags/tag1273.xml"/><Relationship Id="rId1" Type="http://schemas.openxmlformats.org/officeDocument/2006/relationships/vmlDrawing" Target="../drawings/vmlDrawing326.vml"/><Relationship Id="rId6" Type="http://schemas.openxmlformats.org/officeDocument/2006/relationships/tags" Target="../tags/tag1277.xml"/><Relationship Id="rId5" Type="http://schemas.openxmlformats.org/officeDocument/2006/relationships/tags" Target="../tags/tag1276.xml"/><Relationship Id="rId4" Type="http://schemas.openxmlformats.org/officeDocument/2006/relationships/tags" Target="../tags/tag127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3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7.bin"/><Relationship Id="rId2" Type="http://schemas.openxmlformats.org/officeDocument/2006/relationships/slideMaster" Target="../slideMasters/slideMaster43.xml"/><Relationship Id="rId1" Type="http://schemas.openxmlformats.org/officeDocument/2006/relationships/vmlDrawing" Target="../drawings/vmlDrawing327.v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39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4.xml"/><Relationship Id="rId3" Type="http://schemas.openxmlformats.org/officeDocument/2006/relationships/tags" Target="../tags/tag1287.xml"/><Relationship Id="rId7" Type="http://schemas.openxmlformats.org/officeDocument/2006/relationships/tags" Target="../tags/tag1291.xml"/><Relationship Id="rId12" Type="http://schemas.openxmlformats.org/officeDocument/2006/relationships/image" Target="../media/image5.png"/><Relationship Id="rId2" Type="http://schemas.openxmlformats.org/officeDocument/2006/relationships/tags" Target="../tags/tag1286.xml"/><Relationship Id="rId1" Type="http://schemas.openxmlformats.org/officeDocument/2006/relationships/vmlDrawing" Target="../drawings/vmlDrawing329.vml"/><Relationship Id="rId6" Type="http://schemas.openxmlformats.org/officeDocument/2006/relationships/tags" Target="../tags/tag1290.xml"/><Relationship Id="rId11" Type="http://schemas.openxmlformats.org/officeDocument/2006/relationships/image" Target="../media/image4.emf"/><Relationship Id="rId5" Type="http://schemas.openxmlformats.org/officeDocument/2006/relationships/tags" Target="../tags/tag1289.xml"/><Relationship Id="rId10" Type="http://schemas.openxmlformats.org/officeDocument/2006/relationships/oleObject" Target="../embeddings/oleObject349.bin"/><Relationship Id="rId4" Type="http://schemas.openxmlformats.org/officeDocument/2006/relationships/tags" Target="../tags/tag1288.xml"/><Relationship Id="rId9" Type="http://schemas.openxmlformats.org/officeDocument/2006/relationships/image" Target="../media/image3.jpeg"/></Relationships>
</file>

<file path=ppt/slideLayouts/_rels/slideLayout39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4.xml"/><Relationship Id="rId3" Type="http://schemas.openxmlformats.org/officeDocument/2006/relationships/tags" Target="../tags/tag1293.xml"/><Relationship Id="rId7" Type="http://schemas.openxmlformats.org/officeDocument/2006/relationships/tags" Target="../tags/tag1297.xml"/><Relationship Id="rId12" Type="http://schemas.openxmlformats.org/officeDocument/2006/relationships/image" Target="../media/image4.emf"/><Relationship Id="rId2" Type="http://schemas.openxmlformats.org/officeDocument/2006/relationships/tags" Target="../tags/tag1292.xml"/><Relationship Id="rId1" Type="http://schemas.openxmlformats.org/officeDocument/2006/relationships/vmlDrawing" Target="../drawings/vmlDrawing330.vml"/><Relationship Id="rId6" Type="http://schemas.openxmlformats.org/officeDocument/2006/relationships/tags" Target="../tags/tag1296.xml"/><Relationship Id="rId11" Type="http://schemas.openxmlformats.org/officeDocument/2006/relationships/image" Target="../media/image5.png"/><Relationship Id="rId5" Type="http://schemas.openxmlformats.org/officeDocument/2006/relationships/tags" Target="../tags/tag1295.xml"/><Relationship Id="rId10" Type="http://schemas.openxmlformats.org/officeDocument/2006/relationships/oleObject" Target="../embeddings/oleObject350.bin"/><Relationship Id="rId4" Type="http://schemas.openxmlformats.org/officeDocument/2006/relationships/tags" Target="../tags/tag1294.xml"/><Relationship Id="rId9" Type="http://schemas.openxmlformats.org/officeDocument/2006/relationships/image" Target="../media/image6.jpeg"/></Relationships>
</file>

<file path=ppt/slideLayouts/_rels/slideLayout395.xml.rels><?xml version="1.0" encoding="UTF-8" standalone="yes"?>
<Relationships xmlns="http://schemas.openxmlformats.org/package/2006/relationships"><Relationship Id="rId3" Type="http://schemas.openxmlformats.org/officeDocument/2006/relationships/tags" Target="../tags/tag1299.xml"/><Relationship Id="rId7" Type="http://schemas.openxmlformats.org/officeDocument/2006/relationships/oleObject" Target="../embeddings/oleObject351.bin"/><Relationship Id="rId2" Type="http://schemas.openxmlformats.org/officeDocument/2006/relationships/tags" Target="../tags/tag1298.xml"/><Relationship Id="rId1" Type="http://schemas.openxmlformats.org/officeDocument/2006/relationships/vmlDrawing" Target="../drawings/vmlDrawing331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44.xml"/><Relationship Id="rId4" Type="http://schemas.openxmlformats.org/officeDocument/2006/relationships/tags" Target="../tags/tag1300.xml"/></Relationships>
</file>

<file path=ppt/slideLayouts/_rels/slideLayout3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2" Type="http://schemas.openxmlformats.org/officeDocument/2006/relationships/tags" Target="../tags/tag1301.xml"/><Relationship Id="rId1" Type="http://schemas.openxmlformats.org/officeDocument/2006/relationships/vmlDrawing" Target="../drawings/vmlDrawing332.vml"/><Relationship Id="rId4" Type="http://schemas.openxmlformats.org/officeDocument/2006/relationships/oleObject" Target="../embeddings/oleObject352.bin"/></Relationships>
</file>

<file path=ppt/slideLayouts/_rels/slideLayout397.xml.rels><?xml version="1.0" encoding="UTF-8" standalone="yes"?>
<Relationships xmlns="http://schemas.openxmlformats.org/package/2006/relationships"><Relationship Id="rId3" Type="http://schemas.openxmlformats.org/officeDocument/2006/relationships/tags" Target="../tags/tag1303.xml"/><Relationship Id="rId2" Type="http://schemas.openxmlformats.org/officeDocument/2006/relationships/tags" Target="../tags/tag1302.xml"/><Relationship Id="rId1" Type="http://schemas.openxmlformats.org/officeDocument/2006/relationships/vmlDrawing" Target="../drawings/vmlDrawing333.vml"/><Relationship Id="rId6" Type="http://schemas.openxmlformats.org/officeDocument/2006/relationships/oleObject" Target="../embeddings/oleObject353.bin"/><Relationship Id="rId5" Type="http://schemas.openxmlformats.org/officeDocument/2006/relationships/slideMaster" Target="../slideMasters/slideMaster44.xml"/><Relationship Id="rId4" Type="http://schemas.openxmlformats.org/officeDocument/2006/relationships/tags" Target="../tags/tag1304.xml"/></Relationships>
</file>

<file path=ppt/slideLayouts/_rels/slideLayout398.xml.rels><?xml version="1.0" encoding="UTF-8" standalone="yes"?>
<Relationships xmlns="http://schemas.openxmlformats.org/package/2006/relationships"><Relationship Id="rId3" Type="http://schemas.openxmlformats.org/officeDocument/2006/relationships/tags" Target="../tags/tag1306.xml"/><Relationship Id="rId2" Type="http://schemas.openxmlformats.org/officeDocument/2006/relationships/tags" Target="../tags/tag1305.xml"/><Relationship Id="rId1" Type="http://schemas.openxmlformats.org/officeDocument/2006/relationships/vmlDrawing" Target="../drawings/vmlDrawing334.vml"/><Relationship Id="rId6" Type="http://schemas.openxmlformats.org/officeDocument/2006/relationships/oleObject" Target="../embeddings/oleObject354.bin"/><Relationship Id="rId5" Type="http://schemas.openxmlformats.org/officeDocument/2006/relationships/slideMaster" Target="../slideMasters/slideMaster44.xml"/><Relationship Id="rId4" Type="http://schemas.openxmlformats.org/officeDocument/2006/relationships/tags" Target="../tags/tag1307.xml"/></Relationships>
</file>

<file path=ppt/slideLayouts/_rels/slideLayout39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55.bin"/><Relationship Id="rId3" Type="http://schemas.openxmlformats.org/officeDocument/2006/relationships/tags" Target="../tags/tag1309.xml"/><Relationship Id="rId7" Type="http://schemas.openxmlformats.org/officeDocument/2006/relationships/slideMaster" Target="../slideMasters/slideMaster44.xml"/><Relationship Id="rId2" Type="http://schemas.openxmlformats.org/officeDocument/2006/relationships/tags" Target="../tags/tag1308.xml"/><Relationship Id="rId1" Type="http://schemas.openxmlformats.org/officeDocument/2006/relationships/vmlDrawing" Target="../drawings/vmlDrawing335.vml"/><Relationship Id="rId6" Type="http://schemas.openxmlformats.org/officeDocument/2006/relationships/tags" Target="../tags/tag1312.xml"/><Relationship Id="rId5" Type="http://schemas.openxmlformats.org/officeDocument/2006/relationships/tags" Target="../tags/tag1311.xml"/><Relationship Id="rId4" Type="http://schemas.openxmlformats.org/officeDocument/2006/relationships/tags" Target="../tags/tag1310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9.xml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6.bin"/><Relationship Id="rId2" Type="http://schemas.openxmlformats.org/officeDocument/2006/relationships/slideMaster" Target="../slideMasters/slideMaster44.xml"/><Relationship Id="rId1" Type="http://schemas.openxmlformats.org/officeDocument/2006/relationships/vmlDrawing" Target="../drawings/vmlDrawing336.v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0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5.xml"/><Relationship Id="rId3" Type="http://schemas.openxmlformats.org/officeDocument/2006/relationships/tags" Target="../tags/tag1322.xml"/><Relationship Id="rId7" Type="http://schemas.openxmlformats.org/officeDocument/2006/relationships/tags" Target="../tags/tag1326.xml"/><Relationship Id="rId12" Type="http://schemas.openxmlformats.org/officeDocument/2006/relationships/image" Target="../media/image5.png"/><Relationship Id="rId2" Type="http://schemas.openxmlformats.org/officeDocument/2006/relationships/tags" Target="../tags/tag1321.xml"/><Relationship Id="rId1" Type="http://schemas.openxmlformats.org/officeDocument/2006/relationships/vmlDrawing" Target="../drawings/vmlDrawing338.vml"/><Relationship Id="rId6" Type="http://schemas.openxmlformats.org/officeDocument/2006/relationships/tags" Target="../tags/tag1325.xml"/><Relationship Id="rId11" Type="http://schemas.openxmlformats.org/officeDocument/2006/relationships/image" Target="../media/image4.emf"/><Relationship Id="rId5" Type="http://schemas.openxmlformats.org/officeDocument/2006/relationships/tags" Target="../tags/tag1324.xml"/><Relationship Id="rId10" Type="http://schemas.openxmlformats.org/officeDocument/2006/relationships/oleObject" Target="../embeddings/oleObject358.bin"/><Relationship Id="rId4" Type="http://schemas.openxmlformats.org/officeDocument/2006/relationships/tags" Target="../tags/tag1323.xml"/><Relationship Id="rId9" Type="http://schemas.openxmlformats.org/officeDocument/2006/relationships/image" Target="../media/image3.jpeg"/></Relationships>
</file>

<file path=ppt/slideLayouts/_rels/slideLayout40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5.xml"/><Relationship Id="rId3" Type="http://schemas.openxmlformats.org/officeDocument/2006/relationships/tags" Target="../tags/tag1328.xml"/><Relationship Id="rId7" Type="http://schemas.openxmlformats.org/officeDocument/2006/relationships/tags" Target="../tags/tag1332.xml"/><Relationship Id="rId12" Type="http://schemas.openxmlformats.org/officeDocument/2006/relationships/image" Target="../media/image4.emf"/><Relationship Id="rId2" Type="http://schemas.openxmlformats.org/officeDocument/2006/relationships/tags" Target="../tags/tag1327.xml"/><Relationship Id="rId1" Type="http://schemas.openxmlformats.org/officeDocument/2006/relationships/vmlDrawing" Target="../drawings/vmlDrawing339.vml"/><Relationship Id="rId6" Type="http://schemas.openxmlformats.org/officeDocument/2006/relationships/tags" Target="../tags/tag1331.xml"/><Relationship Id="rId11" Type="http://schemas.openxmlformats.org/officeDocument/2006/relationships/image" Target="../media/image5.png"/><Relationship Id="rId5" Type="http://schemas.openxmlformats.org/officeDocument/2006/relationships/tags" Target="../tags/tag1330.xml"/><Relationship Id="rId10" Type="http://schemas.openxmlformats.org/officeDocument/2006/relationships/oleObject" Target="../embeddings/oleObject359.bin"/><Relationship Id="rId4" Type="http://schemas.openxmlformats.org/officeDocument/2006/relationships/tags" Target="../tags/tag1329.xml"/><Relationship Id="rId9" Type="http://schemas.openxmlformats.org/officeDocument/2006/relationships/image" Target="../media/image6.jpeg"/></Relationships>
</file>

<file path=ppt/slideLayouts/_rels/slideLayout405.xml.rels><?xml version="1.0" encoding="UTF-8" standalone="yes"?>
<Relationships xmlns="http://schemas.openxmlformats.org/package/2006/relationships"><Relationship Id="rId3" Type="http://schemas.openxmlformats.org/officeDocument/2006/relationships/tags" Target="../tags/tag1334.xml"/><Relationship Id="rId7" Type="http://schemas.openxmlformats.org/officeDocument/2006/relationships/oleObject" Target="../embeddings/oleObject360.bin"/><Relationship Id="rId2" Type="http://schemas.openxmlformats.org/officeDocument/2006/relationships/tags" Target="../tags/tag1333.xml"/><Relationship Id="rId1" Type="http://schemas.openxmlformats.org/officeDocument/2006/relationships/vmlDrawing" Target="../drawings/vmlDrawing340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45.xml"/><Relationship Id="rId4" Type="http://schemas.openxmlformats.org/officeDocument/2006/relationships/tags" Target="../tags/tag1335.xml"/></Relationships>
</file>

<file path=ppt/slideLayouts/_rels/slideLayout4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1336.xml"/><Relationship Id="rId1" Type="http://schemas.openxmlformats.org/officeDocument/2006/relationships/vmlDrawing" Target="../drawings/vmlDrawing341.vml"/><Relationship Id="rId4" Type="http://schemas.openxmlformats.org/officeDocument/2006/relationships/oleObject" Target="../embeddings/oleObject361.bin"/></Relationships>
</file>

<file path=ppt/slideLayouts/_rels/slideLayout407.xml.rels><?xml version="1.0" encoding="UTF-8" standalone="yes"?>
<Relationships xmlns="http://schemas.openxmlformats.org/package/2006/relationships"><Relationship Id="rId3" Type="http://schemas.openxmlformats.org/officeDocument/2006/relationships/tags" Target="../tags/tag1338.xml"/><Relationship Id="rId2" Type="http://schemas.openxmlformats.org/officeDocument/2006/relationships/tags" Target="../tags/tag1337.xml"/><Relationship Id="rId1" Type="http://schemas.openxmlformats.org/officeDocument/2006/relationships/vmlDrawing" Target="../drawings/vmlDrawing342.vml"/><Relationship Id="rId6" Type="http://schemas.openxmlformats.org/officeDocument/2006/relationships/oleObject" Target="../embeddings/oleObject362.bin"/><Relationship Id="rId5" Type="http://schemas.openxmlformats.org/officeDocument/2006/relationships/slideMaster" Target="../slideMasters/slideMaster45.xml"/><Relationship Id="rId4" Type="http://schemas.openxmlformats.org/officeDocument/2006/relationships/tags" Target="../tags/tag1339.xml"/></Relationships>
</file>

<file path=ppt/slideLayouts/_rels/slideLayout408.xml.rels><?xml version="1.0" encoding="UTF-8" standalone="yes"?>
<Relationships xmlns="http://schemas.openxmlformats.org/package/2006/relationships"><Relationship Id="rId3" Type="http://schemas.openxmlformats.org/officeDocument/2006/relationships/tags" Target="../tags/tag1341.xml"/><Relationship Id="rId2" Type="http://schemas.openxmlformats.org/officeDocument/2006/relationships/tags" Target="../tags/tag1340.xml"/><Relationship Id="rId1" Type="http://schemas.openxmlformats.org/officeDocument/2006/relationships/vmlDrawing" Target="../drawings/vmlDrawing343.vml"/><Relationship Id="rId6" Type="http://schemas.openxmlformats.org/officeDocument/2006/relationships/oleObject" Target="../embeddings/oleObject363.bin"/><Relationship Id="rId5" Type="http://schemas.openxmlformats.org/officeDocument/2006/relationships/slideMaster" Target="../slideMasters/slideMaster45.xml"/><Relationship Id="rId4" Type="http://schemas.openxmlformats.org/officeDocument/2006/relationships/tags" Target="../tags/tag1342.xml"/></Relationships>
</file>

<file path=ppt/slideLayouts/_rels/slideLayout40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64.bin"/><Relationship Id="rId3" Type="http://schemas.openxmlformats.org/officeDocument/2006/relationships/tags" Target="../tags/tag1344.xml"/><Relationship Id="rId7" Type="http://schemas.openxmlformats.org/officeDocument/2006/relationships/slideMaster" Target="../slideMasters/slideMaster45.xml"/><Relationship Id="rId2" Type="http://schemas.openxmlformats.org/officeDocument/2006/relationships/tags" Target="../tags/tag1343.xml"/><Relationship Id="rId1" Type="http://schemas.openxmlformats.org/officeDocument/2006/relationships/vmlDrawing" Target="../drawings/vmlDrawing344.vml"/><Relationship Id="rId6" Type="http://schemas.openxmlformats.org/officeDocument/2006/relationships/tags" Target="../tags/tag1347.xml"/><Relationship Id="rId5" Type="http://schemas.openxmlformats.org/officeDocument/2006/relationships/tags" Target="../tags/tag1346.xml"/><Relationship Id="rId4" Type="http://schemas.openxmlformats.org/officeDocument/2006/relationships/tags" Target="../tags/tag1345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5.bin"/><Relationship Id="rId2" Type="http://schemas.openxmlformats.org/officeDocument/2006/relationships/slideMaster" Target="../slideMasters/slideMaster45.xml"/><Relationship Id="rId1" Type="http://schemas.openxmlformats.org/officeDocument/2006/relationships/vmlDrawing" Target="../drawings/vmlDrawing345.v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6.xml"/><Relationship Id="rId3" Type="http://schemas.openxmlformats.org/officeDocument/2006/relationships/tags" Target="../tags/tag1357.xml"/><Relationship Id="rId7" Type="http://schemas.openxmlformats.org/officeDocument/2006/relationships/tags" Target="../tags/tag1361.xml"/><Relationship Id="rId12" Type="http://schemas.openxmlformats.org/officeDocument/2006/relationships/image" Target="../media/image5.png"/><Relationship Id="rId2" Type="http://schemas.openxmlformats.org/officeDocument/2006/relationships/tags" Target="../tags/tag1356.xml"/><Relationship Id="rId1" Type="http://schemas.openxmlformats.org/officeDocument/2006/relationships/vmlDrawing" Target="../drawings/vmlDrawing347.vml"/><Relationship Id="rId6" Type="http://schemas.openxmlformats.org/officeDocument/2006/relationships/tags" Target="../tags/tag1360.xml"/><Relationship Id="rId11" Type="http://schemas.openxmlformats.org/officeDocument/2006/relationships/image" Target="../media/image4.emf"/><Relationship Id="rId5" Type="http://schemas.openxmlformats.org/officeDocument/2006/relationships/tags" Target="../tags/tag1359.xml"/><Relationship Id="rId10" Type="http://schemas.openxmlformats.org/officeDocument/2006/relationships/oleObject" Target="../embeddings/oleObject367.bin"/><Relationship Id="rId4" Type="http://schemas.openxmlformats.org/officeDocument/2006/relationships/tags" Target="../tags/tag1358.xml"/><Relationship Id="rId9" Type="http://schemas.openxmlformats.org/officeDocument/2006/relationships/image" Target="../media/image3.jpeg"/></Relationships>
</file>

<file path=ppt/slideLayouts/_rels/slideLayout41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6.xml"/><Relationship Id="rId3" Type="http://schemas.openxmlformats.org/officeDocument/2006/relationships/tags" Target="../tags/tag1363.xml"/><Relationship Id="rId7" Type="http://schemas.openxmlformats.org/officeDocument/2006/relationships/tags" Target="../tags/tag1367.xml"/><Relationship Id="rId12" Type="http://schemas.openxmlformats.org/officeDocument/2006/relationships/image" Target="../media/image4.emf"/><Relationship Id="rId2" Type="http://schemas.openxmlformats.org/officeDocument/2006/relationships/tags" Target="../tags/tag1362.xml"/><Relationship Id="rId1" Type="http://schemas.openxmlformats.org/officeDocument/2006/relationships/vmlDrawing" Target="../drawings/vmlDrawing348.vml"/><Relationship Id="rId6" Type="http://schemas.openxmlformats.org/officeDocument/2006/relationships/tags" Target="../tags/tag1366.xml"/><Relationship Id="rId11" Type="http://schemas.openxmlformats.org/officeDocument/2006/relationships/image" Target="../media/image5.png"/><Relationship Id="rId5" Type="http://schemas.openxmlformats.org/officeDocument/2006/relationships/tags" Target="../tags/tag1365.xml"/><Relationship Id="rId10" Type="http://schemas.openxmlformats.org/officeDocument/2006/relationships/oleObject" Target="../embeddings/oleObject368.bin"/><Relationship Id="rId4" Type="http://schemas.openxmlformats.org/officeDocument/2006/relationships/tags" Target="../tags/tag1364.xml"/><Relationship Id="rId9" Type="http://schemas.openxmlformats.org/officeDocument/2006/relationships/image" Target="../media/image6.jpeg"/></Relationships>
</file>

<file path=ppt/slideLayouts/_rels/slideLayout415.xml.rels><?xml version="1.0" encoding="UTF-8" standalone="yes"?>
<Relationships xmlns="http://schemas.openxmlformats.org/package/2006/relationships"><Relationship Id="rId3" Type="http://schemas.openxmlformats.org/officeDocument/2006/relationships/tags" Target="../tags/tag1369.xml"/><Relationship Id="rId7" Type="http://schemas.openxmlformats.org/officeDocument/2006/relationships/oleObject" Target="../embeddings/oleObject369.bin"/><Relationship Id="rId2" Type="http://schemas.openxmlformats.org/officeDocument/2006/relationships/tags" Target="../tags/tag1368.xml"/><Relationship Id="rId1" Type="http://schemas.openxmlformats.org/officeDocument/2006/relationships/vmlDrawing" Target="../drawings/vmlDrawing349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46.xml"/><Relationship Id="rId4" Type="http://schemas.openxmlformats.org/officeDocument/2006/relationships/tags" Target="../tags/tag1370.xml"/></Relationships>
</file>

<file path=ppt/slideLayouts/_rels/slideLayout4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1371.xml"/><Relationship Id="rId1" Type="http://schemas.openxmlformats.org/officeDocument/2006/relationships/vmlDrawing" Target="../drawings/vmlDrawing350.vml"/><Relationship Id="rId4" Type="http://schemas.openxmlformats.org/officeDocument/2006/relationships/oleObject" Target="../embeddings/oleObject370.bin"/></Relationships>
</file>

<file path=ppt/slideLayouts/_rels/slideLayout417.xml.rels><?xml version="1.0" encoding="UTF-8" standalone="yes"?>
<Relationships xmlns="http://schemas.openxmlformats.org/package/2006/relationships"><Relationship Id="rId3" Type="http://schemas.openxmlformats.org/officeDocument/2006/relationships/tags" Target="../tags/tag1373.xml"/><Relationship Id="rId2" Type="http://schemas.openxmlformats.org/officeDocument/2006/relationships/tags" Target="../tags/tag1372.xml"/><Relationship Id="rId1" Type="http://schemas.openxmlformats.org/officeDocument/2006/relationships/vmlDrawing" Target="../drawings/vmlDrawing351.vml"/><Relationship Id="rId6" Type="http://schemas.openxmlformats.org/officeDocument/2006/relationships/oleObject" Target="../embeddings/oleObject371.bin"/><Relationship Id="rId5" Type="http://schemas.openxmlformats.org/officeDocument/2006/relationships/slideMaster" Target="../slideMasters/slideMaster46.xml"/><Relationship Id="rId4" Type="http://schemas.openxmlformats.org/officeDocument/2006/relationships/tags" Target="../tags/tag1374.xml"/></Relationships>
</file>

<file path=ppt/slideLayouts/_rels/slideLayout418.xml.rels><?xml version="1.0" encoding="UTF-8" standalone="yes"?>
<Relationships xmlns="http://schemas.openxmlformats.org/package/2006/relationships"><Relationship Id="rId3" Type="http://schemas.openxmlformats.org/officeDocument/2006/relationships/tags" Target="../tags/tag1376.xml"/><Relationship Id="rId2" Type="http://schemas.openxmlformats.org/officeDocument/2006/relationships/tags" Target="../tags/tag1375.xml"/><Relationship Id="rId1" Type="http://schemas.openxmlformats.org/officeDocument/2006/relationships/vmlDrawing" Target="../drawings/vmlDrawing352.vml"/><Relationship Id="rId6" Type="http://schemas.openxmlformats.org/officeDocument/2006/relationships/oleObject" Target="../embeddings/oleObject372.bin"/><Relationship Id="rId5" Type="http://schemas.openxmlformats.org/officeDocument/2006/relationships/slideMaster" Target="../slideMasters/slideMaster46.xml"/><Relationship Id="rId4" Type="http://schemas.openxmlformats.org/officeDocument/2006/relationships/tags" Target="../tags/tag1377.xml"/></Relationships>
</file>

<file path=ppt/slideLayouts/_rels/slideLayout4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73.bin"/><Relationship Id="rId3" Type="http://schemas.openxmlformats.org/officeDocument/2006/relationships/tags" Target="../tags/tag1379.xml"/><Relationship Id="rId7" Type="http://schemas.openxmlformats.org/officeDocument/2006/relationships/slideMaster" Target="../slideMasters/slideMaster46.xml"/><Relationship Id="rId2" Type="http://schemas.openxmlformats.org/officeDocument/2006/relationships/tags" Target="../tags/tag1378.xml"/><Relationship Id="rId1" Type="http://schemas.openxmlformats.org/officeDocument/2006/relationships/vmlDrawing" Target="../drawings/vmlDrawing353.vml"/><Relationship Id="rId6" Type="http://schemas.openxmlformats.org/officeDocument/2006/relationships/tags" Target="../tags/tag1382.xml"/><Relationship Id="rId5" Type="http://schemas.openxmlformats.org/officeDocument/2006/relationships/tags" Target="../tags/tag1381.xml"/><Relationship Id="rId4" Type="http://schemas.openxmlformats.org/officeDocument/2006/relationships/tags" Target="../tags/tag1380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10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4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4.bin"/><Relationship Id="rId2" Type="http://schemas.openxmlformats.org/officeDocument/2006/relationships/slideMaster" Target="../slideMasters/slideMaster46.xml"/><Relationship Id="rId1" Type="http://schemas.openxmlformats.org/officeDocument/2006/relationships/vmlDrawing" Target="../drawings/vmlDrawing354.v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42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7.xml"/><Relationship Id="rId3" Type="http://schemas.openxmlformats.org/officeDocument/2006/relationships/tags" Target="../tags/tag1392.xml"/><Relationship Id="rId7" Type="http://schemas.openxmlformats.org/officeDocument/2006/relationships/tags" Target="../tags/tag1396.xml"/><Relationship Id="rId12" Type="http://schemas.openxmlformats.org/officeDocument/2006/relationships/image" Target="../media/image5.png"/><Relationship Id="rId2" Type="http://schemas.openxmlformats.org/officeDocument/2006/relationships/tags" Target="../tags/tag1391.xml"/><Relationship Id="rId1" Type="http://schemas.openxmlformats.org/officeDocument/2006/relationships/vmlDrawing" Target="../drawings/vmlDrawing356.vml"/><Relationship Id="rId6" Type="http://schemas.openxmlformats.org/officeDocument/2006/relationships/tags" Target="../tags/tag1395.xml"/><Relationship Id="rId11" Type="http://schemas.openxmlformats.org/officeDocument/2006/relationships/image" Target="../media/image4.emf"/><Relationship Id="rId5" Type="http://schemas.openxmlformats.org/officeDocument/2006/relationships/tags" Target="../tags/tag1394.xml"/><Relationship Id="rId10" Type="http://schemas.openxmlformats.org/officeDocument/2006/relationships/oleObject" Target="../embeddings/oleObject376.bin"/><Relationship Id="rId4" Type="http://schemas.openxmlformats.org/officeDocument/2006/relationships/tags" Target="../tags/tag1393.xml"/><Relationship Id="rId9" Type="http://schemas.openxmlformats.org/officeDocument/2006/relationships/image" Target="../media/image3.jpeg"/></Relationships>
</file>

<file path=ppt/slideLayouts/_rels/slideLayout42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7.xml"/><Relationship Id="rId3" Type="http://schemas.openxmlformats.org/officeDocument/2006/relationships/tags" Target="../tags/tag1398.xml"/><Relationship Id="rId7" Type="http://schemas.openxmlformats.org/officeDocument/2006/relationships/tags" Target="../tags/tag1402.xml"/><Relationship Id="rId12" Type="http://schemas.openxmlformats.org/officeDocument/2006/relationships/image" Target="../media/image4.emf"/><Relationship Id="rId2" Type="http://schemas.openxmlformats.org/officeDocument/2006/relationships/tags" Target="../tags/tag1397.xml"/><Relationship Id="rId1" Type="http://schemas.openxmlformats.org/officeDocument/2006/relationships/vmlDrawing" Target="../drawings/vmlDrawing357.vml"/><Relationship Id="rId6" Type="http://schemas.openxmlformats.org/officeDocument/2006/relationships/tags" Target="../tags/tag1401.xml"/><Relationship Id="rId11" Type="http://schemas.openxmlformats.org/officeDocument/2006/relationships/image" Target="../media/image5.png"/><Relationship Id="rId5" Type="http://schemas.openxmlformats.org/officeDocument/2006/relationships/tags" Target="../tags/tag1400.xml"/><Relationship Id="rId10" Type="http://schemas.openxmlformats.org/officeDocument/2006/relationships/oleObject" Target="../embeddings/oleObject377.bin"/><Relationship Id="rId4" Type="http://schemas.openxmlformats.org/officeDocument/2006/relationships/tags" Target="../tags/tag1399.xml"/><Relationship Id="rId9" Type="http://schemas.openxmlformats.org/officeDocument/2006/relationships/image" Target="../media/image6.jpeg"/></Relationships>
</file>

<file path=ppt/slideLayouts/_rels/slideLayout425.xml.rels><?xml version="1.0" encoding="UTF-8" standalone="yes"?>
<Relationships xmlns="http://schemas.openxmlformats.org/package/2006/relationships"><Relationship Id="rId3" Type="http://schemas.openxmlformats.org/officeDocument/2006/relationships/tags" Target="../tags/tag1404.xml"/><Relationship Id="rId7" Type="http://schemas.openxmlformats.org/officeDocument/2006/relationships/oleObject" Target="../embeddings/oleObject378.bin"/><Relationship Id="rId2" Type="http://schemas.openxmlformats.org/officeDocument/2006/relationships/tags" Target="../tags/tag1403.xml"/><Relationship Id="rId1" Type="http://schemas.openxmlformats.org/officeDocument/2006/relationships/vmlDrawing" Target="../drawings/vmlDrawing358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47.xml"/><Relationship Id="rId4" Type="http://schemas.openxmlformats.org/officeDocument/2006/relationships/tags" Target="../tags/tag1405.xml"/></Relationships>
</file>

<file path=ppt/slideLayouts/_rels/slideLayout4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1406.xml"/><Relationship Id="rId1" Type="http://schemas.openxmlformats.org/officeDocument/2006/relationships/vmlDrawing" Target="../drawings/vmlDrawing359.vml"/><Relationship Id="rId4" Type="http://schemas.openxmlformats.org/officeDocument/2006/relationships/oleObject" Target="../embeddings/oleObject379.bin"/></Relationships>
</file>

<file path=ppt/slideLayouts/_rels/slideLayout427.xml.rels><?xml version="1.0" encoding="UTF-8" standalone="yes"?>
<Relationships xmlns="http://schemas.openxmlformats.org/package/2006/relationships"><Relationship Id="rId3" Type="http://schemas.openxmlformats.org/officeDocument/2006/relationships/tags" Target="../tags/tag1408.xml"/><Relationship Id="rId2" Type="http://schemas.openxmlformats.org/officeDocument/2006/relationships/tags" Target="../tags/tag1407.xml"/><Relationship Id="rId1" Type="http://schemas.openxmlformats.org/officeDocument/2006/relationships/vmlDrawing" Target="../drawings/vmlDrawing360.vml"/><Relationship Id="rId6" Type="http://schemas.openxmlformats.org/officeDocument/2006/relationships/oleObject" Target="../embeddings/oleObject380.bin"/><Relationship Id="rId5" Type="http://schemas.openxmlformats.org/officeDocument/2006/relationships/slideMaster" Target="../slideMasters/slideMaster47.xml"/><Relationship Id="rId4" Type="http://schemas.openxmlformats.org/officeDocument/2006/relationships/tags" Target="../tags/tag1409.xml"/></Relationships>
</file>

<file path=ppt/slideLayouts/_rels/slideLayout428.xml.rels><?xml version="1.0" encoding="UTF-8" standalone="yes"?>
<Relationships xmlns="http://schemas.openxmlformats.org/package/2006/relationships"><Relationship Id="rId3" Type="http://schemas.openxmlformats.org/officeDocument/2006/relationships/tags" Target="../tags/tag1411.xml"/><Relationship Id="rId2" Type="http://schemas.openxmlformats.org/officeDocument/2006/relationships/tags" Target="../tags/tag1410.xml"/><Relationship Id="rId1" Type="http://schemas.openxmlformats.org/officeDocument/2006/relationships/vmlDrawing" Target="../drawings/vmlDrawing361.vml"/><Relationship Id="rId6" Type="http://schemas.openxmlformats.org/officeDocument/2006/relationships/oleObject" Target="../embeddings/oleObject381.bin"/><Relationship Id="rId5" Type="http://schemas.openxmlformats.org/officeDocument/2006/relationships/slideMaster" Target="../slideMasters/slideMaster47.xml"/><Relationship Id="rId4" Type="http://schemas.openxmlformats.org/officeDocument/2006/relationships/tags" Target="../tags/tag1412.xml"/></Relationships>
</file>

<file path=ppt/slideLayouts/_rels/slideLayout4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82.bin"/><Relationship Id="rId3" Type="http://schemas.openxmlformats.org/officeDocument/2006/relationships/tags" Target="../tags/tag1414.xml"/><Relationship Id="rId7" Type="http://schemas.openxmlformats.org/officeDocument/2006/relationships/slideMaster" Target="../slideMasters/slideMaster47.xml"/><Relationship Id="rId2" Type="http://schemas.openxmlformats.org/officeDocument/2006/relationships/tags" Target="../tags/tag1413.xml"/><Relationship Id="rId1" Type="http://schemas.openxmlformats.org/officeDocument/2006/relationships/vmlDrawing" Target="../drawings/vmlDrawing362.vml"/><Relationship Id="rId6" Type="http://schemas.openxmlformats.org/officeDocument/2006/relationships/tags" Target="../tags/tag1417.xml"/><Relationship Id="rId5" Type="http://schemas.openxmlformats.org/officeDocument/2006/relationships/tags" Target="../tags/tag1416.xml"/><Relationship Id="rId4" Type="http://schemas.openxmlformats.org/officeDocument/2006/relationships/tags" Target="../tags/tag1415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tags" Target="../tags/tag113.xml"/><Relationship Id="rId7" Type="http://schemas.openxmlformats.org/officeDocument/2006/relationships/image" Target="../media/image47.jpeg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115.xml"/><Relationship Id="rId4" Type="http://schemas.openxmlformats.org/officeDocument/2006/relationships/tags" Target="../tags/tag114.xml"/><Relationship Id="rId9" Type="http://schemas.openxmlformats.org/officeDocument/2006/relationships/image" Target="../media/image2.png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4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3.bin"/><Relationship Id="rId2" Type="http://schemas.openxmlformats.org/officeDocument/2006/relationships/slideMaster" Target="../slideMasters/slideMaster47.xml"/><Relationship Id="rId1" Type="http://schemas.openxmlformats.org/officeDocument/2006/relationships/vmlDrawing" Target="../drawings/vmlDrawing363.v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43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8.xml"/><Relationship Id="rId3" Type="http://schemas.openxmlformats.org/officeDocument/2006/relationships/tags" Target="../tags/tag1427.xml"/><Relationship Id="rId7" Type="http://schemas.openxmlformats.org/officeDocument/2006/relationships/tags" Target="../tags/tag1431.xml"/><Relationship Id="rId12" Type="http://schemas.openxmlformats.org/officeDocument/2006/relationships/image" Target="../media/image5.png"/><Relationship Id="rId2" Type="http://schemas.openxmlformats.org/officeDocument/2006/relationships/tags" Target="../tags/tag1426.xml"/><Relationship Id="rId1" Type="http://schemas.openxmlformats.org/officeDocument/2006/relationships/vmlDrawing" Target="../drawings/vmlDrawing365.vml"/><Relationship Id="rId6" Type="http://schemas.openxmlformats.org/officeDocument/2006/relationships/tags" Target="../tags/tag1430.xml"/><Relationship Id="rId11" Type="http://schemas.openxmlformats.org/officeDocument/2006/relationships/image" Target="../media/image4.emf"/><Relationship Id="rId5" Type="http://schemas.openxmlformats.org/officeDocument/2006/relationships/tags" Target="../tags/tag1429.xml"/><Relationship Id="rId10" Type="http://schemas.openxmlformats.org/officeDocument/2006/relationships/oleObject" Target="../embeddings/oleObject385.bin"/><Relationship Id="rId4" Type="http://schemas.openxmlformats.org/officeDocument/2006/relationships/tags" Target="../tags/tag1428.xml"/><Relationship Id="rId9" Type="http://schemas.openxmlformats.org/officeDocument/2006/relationships/image" Target="../media/image3.jpeg"/></Relationships>
</file>

<file path=ppt/slideLayouts/_rels/slideLayout43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8.xml"/><Relationship Id="rId3" Type="http://schemas.openxmlformats.org/officeDocument/2006/relationships/tags" Target="../tags/tag1433.xml"/><Relationship Id="rId7" Type="http://schemas.openxmlformats.org/officeDocument/2006/relationships/tags" Target="../tags/tag1437.xml"/><Relationship Id="rId12" Type="http://schemas.openxmlformats.org/officeDocument/2006/relationships/image" Target="../media/image4.emf"/><Relationship Id="rId2" Type="http://schemas.openxmlformats.org/officeDocument/2006/relationships/tags" Target="../tags/tag1432.xml"/><Relationship Id="rId1" Type="http://schemas.openxmlformats.org/officeDocument/2006/relationships/vmlDrawing" Target="../drawings/vmlDrawing366.vml"/><Relationship Id="rId6" Type="http://schemas.openxmlformats.org/officeDocument/2006/relationships/tags" Target="../tags/tag1436.xml"/><Relationship Id="rId11" Type="http://schemas.openxmlformats.org/officeDocument/2006/relationships/image" Target="../media/image5.png"/><Relationship Id="rId5" Type="http://schemas.openxmlformats.org/officeDocument/2006/relationships/tags" Target="../tags/tag1435.xml"/><Relationship Id="rId10" Type="http://schemas.openxmlformats.org/officeDocument/2006/relationships/oleObject" Target="../embeddings/oleObject386.bin"/><Relationship Id="rId4" Type="http://schemas.openxmlformats.org/officeDocument/2006/relationships/tags" Target="../tags/tag1434.xml"/><Relationship Id="rId9" Type="http://schemas.openxmlformats.org/officeDocument/2006/relationships/image" Target="../media/image6.jpeg"/></Relationships>
</file>

<file path=ppt/slideLayouts/_rels/slideLayout435.xml.rels><?xml version="1.0" encoding="UTF-8" standalone="yes"?>
<Relationships xmlns="http://schemas.openxmlformats.org/package/2006/relationships"><Relationship Id="rId3" Type="http://schemas.openxmlformats.org/officeDocument/2006/relationships/tags" Target="../tags/tag1439.xml"/><Relationship Id="rId7" Type="http://schemas.openxmlformats.org/officeDocument/2006/relationships/oleObject" Target="../embeddings/oleObject387.bin"/><Relationship Id="rId2" Type="http://schemas.openxmlformats.org/officeDocument/2006/relationships/tags" Target="../tags/tag1438.xml"/><Relationship Id="rId1" Type="http://schemas.openxmlformats.org/officeDocument/2006/relationships/vmlDrawing" Target="../drawings/vmlDrawing367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48.xml"/><Relationship Id="rId4" Type="http://schemas.openxmlformats.org/officeDocument/2006/relationships/tags" Target="../tags/tag1440.xml"/></Relationships>
</file>

<file path=ppt/slideLayouts/_rels/slideLayout4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8.xml"/><Relationship Id="rId2" Type="http://schemas.openxmlformats.org/officeDocument/2006/relationships/tags" Target="../tags/tag1441.xml"/><Relationship Id="rId1" Type="http://schemas.openxmlformats.org/officeDocument/2006/relationships/vmlDrawing" Target="../drawings/vmlDrawing368.vml"/><Relationship Id="rId4" Type="http://schemas.openxmlformats.org/officeDocument/2006/relationships/oleObject" Target="../embeddings/oleObject388.bin"/></Relationships>
</file>

<file path=ppt/slideLayouts/_rels/slideLayout437.xml.rels><?xml version="1.0" encoding="UTF-8" standalone="yes"?>
<Relationships xmlns="http://schemas.openxmlformats.org/package/2006/relationships"><Relationship Id="rId3" Type="http://schemas.openxmlformats.org/officeDocument/2006/relationships/tags" Target="../tags/tag1443.xml"/><Relationship Id="rId2" Type="http://schemas.openxmlformats.org/officeDocument/2006/relationships/tags" Target="../tags/tag1442.xml"/><Relationship Id="rId1" Type="http://schemas.openxmlformats.org/officeDocument/2006/relationships/vmlDrawing" Target="../drawings/vmlDrawing369.vml"/><Relationship Id="rId6" Type="http://schemas.openxmlformats.org/officeDocument/2006/relationships/oleObject" Target="../embeddings/oleObject389.bin"/><Relationship Id="rId5" Type="http://schemas.openxmlformats.org/officeDocument/2006/relationships/slideMaster" Target="../slideMasters/slideMaster48.xml"/><Relationship Id="rId4" Type="http://schemas.openxmlformats.org/officeDocument/2006/relationships/tags" Target="../tags/tag1444.xml"/></Relationships>
</file>

<file path=ppt/slideLayouts/_rels/slideLayout438.xml.rels><?xml version="1.0" encoding="UTF-8" standalone="yes"?>
<Relationships xmlns="http://schemas.openxmlformats.org/package/2006/relationships"><Relationship Id="rId3" Type="http://schemas.openxmlformats.org/officeDocument/2006/relationships/tags" Target="../tags/tag1446.xml"/><Relationship Id="rId2" Type="http://schemas.openxmlformats.org/officeDocument/2006/relationships/tags" Target="../tags/tag1445.xml"/><Relationship Id="rId1" Type="http://schemas.openxmlformats.org/officeDocument/2006/relationships/vmlDrawing" Target="../drawings/vmlDrawing370.vml"/><Relationship Id="rId6" Type="http://schemas.openxmlformats.org/officeDocument/2006/relationships/oleObject" Target="../embeddings/oleObject390.bin"/><Relationship Id="rId5" Type="http://schemas.openxmlformats.org/officeDocument/2006/relationships/slideMaster" Target="../slideMasters/slideMaster48.xml"/><Relationship Id="rId4" Type="http://schemas.openxmlformats.org/officeDocument/2006/relationships/tags" Target="../tags/tag1447.xml"/></Relationships>
</file>

<file path=ppt/slideLayouts/_rels/slideLayout43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91.bin"/><Relationship Id="rId3" Type="http://schemas.openxmlformats.org/officeDocument/2006/relationships/tags" Target="../tags/tag1449.xml"/><Relationship Id="rId7" Type="http://schemas.openxmlformats.org/officeDocument/2006/relationships/slideMaster" Target="../slideMasters/slideMaster48.xml"/><Relationship Id="rId2" Type="http://schemas.openxmlformats.org/officeDocument/2006/relationships/tags" Target="../tags/tag1448.xml"/><Relationship Id="rId1" Type="http://schemas.openxmlformats.org/officeDocument/2006/relationships/vmlDrawing" Target="../drawings/vmlDrawing371.vml"/><Relationship Id="rId6" Type="http://schemas.openxmlformats.org/officeDocument/2006/relationships/tags" Target="../tags/tag1452.xml"/><Relationship Id="rId5" Type="http://schemas.openxmlformats.org/officeDocument/2006/relationships/tags" Target="../tags/tag1451.xml"/><Relationship Id="rId4" Type="http://schemas.openxmlformats.org/officeDocument/2006/relationships/tags" Target="../tags/tag1450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125.xml"/><Relationship Id="rId7" Type="http://schemas.openxmlformats.org/officeDocument/2006/relationships/tags" Target="../tags/tag129.xml"/><Relationship Id="rId12" Type="http://schemas.openxmlformats.org/officeDocument/2006/relationships/image" Target="../media/image5.png"/><Relationship Id="rId2" Type="http://schemas.openxmlformats.org/officeDocument/2006/relationships/tags" Target="../tags/tag124.xml"/><Relationship Id="rId1" Type="http://schemas.openxmlformats.org/officeDocument/2006/relationships/vmlDrawing" Target="../drawings/vmlDrawing26.vml"/><Relationship Id="rId6" Type="http://schemas.openxmlformats.org/officeDocument/2006/relationships/tags" Target="../tags/tag128.xml"/><Relationship Id="rId11" Type="http://schemas.openxmlformats.org/officeDocument/2006/relationships/image" Target="../media/image4.emf"/><Relationship Id="rId5" Type="http://schemas.openxmlformats.org/officeDocument/2006/relationships/tags" Target="../tags/tag127.xml"/><Relationship Id="rId10" Type="http://schemas.openxmlformats.org/officeDocument/2006/relationships/oleObject" Target="../embeddings/oleObject26.bin"/><Relationship Id="rId4" Type="http://schemas.openxmlformats.org/officeDocument/2006/relationships/tags" Target="../tags/tag126.xml"/><Relationship Id="rId9" Type="http://schemas.openxmlformats.org/officeDocument/2006/relationships/image" Target="../media/image46.jpeg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4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2.bin"/><Relationship Id="rId2" Type="http://schemas.openxmlformats.org/officeDocument/2006/relationships/slideMaster" Target="../slideMasters/slideMaster48.xml"/><Relationship Id="rId1" Type="http://schemas.openxmlformats.org/officeDocument/2006/relationships/vmlDrawing" Target="../drawings/vmlDrawing372.vml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44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9.xml"/><Relationship Id="rId3" Type="http://schemas.openxmlformats.org/officeDocument/2006/relationships/tags" Target="../tags/tag1462.xml"/><Relationship Id="rId7" Type="http://schemas.openxmlformats.org/officeDocument/2006/relationships/tags" Target="../tags/tag1466.xml"/><Relationship Id="rId12" Type="http://schemas.openxmlformats.org/officeDocument/2006/relationships/image" Target="../media/image5.png"/><Relationship Id="rId2" Type="http://schemas.openxmlformats.org/officeDocument/2006/relationships/tags" Target="../tags/tag1461.xml"/><Relationship Id="rId1" Type="http://schemas.openxmlformats.org/officeDocument/2006/relationships/vmlDrawing" Target="../drawings/vmlDrawing374.vml"/><Relationship Id="rId6" Type="http://schemas.openxmlformats.org/officeDocument/2006/relationships/tags" Target="../tags/tag1465.xml"/><Relationship Id="rId11" Type="http://schemas.openxmlformats.org/officeDocument/2006/relationships/image" Target="../media/image4.emf"/><Relationship Id="rId5" Type="http://schemas.openxmlformats.org/officeDocument/2006/relationships/tags" Target="../tags/tag1464.xml"/><Relationship Id="rId10" Type="http://schemas.openxmlformats.org/officeDocument/2006/relationships/oleObject" Target="../embeddings/oleObject394.bin"/><Relationship Id="rId4" Type="http://schemas.openxmlformats.org/officeDocument/2006/relationships/tags" Target="../tags/tag1463.xml"/><Relationship Id="rId9" Type="http://schemas.openxmlformats.org/officeDocument/2006/relationships/image" Target="../media/image3.jpeg"/></Relationships>
</file>

<file path=ppt/slideLayouts/_rels/slideLayout44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9.xml"/><Relationship Id="rId3" Type="http://schemas.openxmlformats.org/officeDocument/2006/relationships/tags" Target="../tags/tag1468.xml"/><Relationship Id="rId7" Type="http://schemas.openxmlformats.org/officeDocument/2006/relationships/tags" Target="../tags/tag1472.xml"/><Relationship Id="rId12" Type="http://schemas.openxmlformats.org/officeDocument/2006/relationships/image" Target="../media/image4.emf"/><Relationship Id="rId2" Type="http://schemas.openxmlformats.org/officeDocument/2006/relationships/tags" Target="../tags/tag1467.xml"/><Relationship Id="rId1" Type="http://schemas.openxmlformats.org/officeDocument/2006/relationships/vmlDrawing" Target="../drawings/vmlDrawing375.vml"/><Relationship Id="rId6" Type="http://schemas.openxmlformats.org/officeDocument/2006/relationships/tags" Target="../tags/tag1471.xml"/><Relationship Id="rId11" Type="http://schemas.openxmlformats.org/officeDocument/2006/relationships/image" Target="../media/image5.png"/><Relationship Id="rId5" Type="http://schemas.openxmlformats.org/officeDocument/2006/relationships/tags" Target="../tags/tag1470.xml"/><Relationship Id="rId10" Type="http://schemas.openxmlformats.org/officeDocument/2006/relationships/oleObject" Target="../embeddings/oleObject395.bin"/><Relationship Id="rId4" Type="http://schemas.openxmlformats.org/officeDocument/2006/relationships/tags" Target="../tags/tag1469.xml"/><Relationship Id="rId9" Type="http://schemas.openxmlformats.org/officeDocument/2006/relationships/image" Target="../media/image6.jpeg"/></Relationships>
</file>

<file path=ppt/slideLayouts/_rels/slideLayout445.xml.rels><?xml version="1.0" encoding="UTF-8" standalone="yes"?>
<Relationships xmlns="http://schemas.openxmlformats.org/package/2006/relationships"><Relationship Id="rId3" Type="http://schemas.openxmlformats.org/officeDocument/2006/relationships/tags" Target="../tags/tag1474.xml"/><Relationship Id="rId7" Type="http://schemas.openxmlformats.org/officeDocument/2006/relationships/oleObject" Target="../embeddings/oleObject396.bin"/><Relationship Id="rId2" Type="http://schemas.openxmlformats.org/officeDocument/2006/relationships/tags" Target="../tags/tag1473.xml"/><Relationship Id="rId1" Type="http://schemas.openxmlformats.org/officeDocument/2006/relationships/vmlDrawing" Target="../drawings/vmlDrawing376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49.xml"/><Relationship Id="rId4" Type="http://schemas.openxmlformats.org/officeDocument/2006/relationships/tags" Target="../tags/tag1475.xml"/></Relationships>
</file>

<file path=ppt/slideLayouts/_rels/slideLayout4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1476.xml"/><Relationship Id="rId1" Type="http://schemas.openxmlformats.org/officeDocument/2006/relationships/vmlDrawing" Target="../drawings/vmlDrawing377.vml"/><Relationship Id="rId4" Type="http://schemas.openxmlformats.org/officeDocument/2006/relationships/oleObject" Target="../embeddings/oleObject397.bin"/></Relationships>
</file>

<file path=ppt/slideLayouts/_rels/slideLayout447.xml.rels><?xml version="1.0" encoding="UTF-8" standalone="yes"?>
<Relationships xmlns="http://schemas.openxmlformats.org/package/2006/relationships"><Relationship Id="rId3" Type="http://schemas.openxmlformats.org/officeDocument/2006/relationships/tags" Target="../tags/tag1478.xml"/><Relationship Id="rId2" Type="http://schemas.openxmlformats.org/officeDocument/2006/relationships/tags" Target="../tags/tag1477.xml"/><Relationship Id="rId1" Type="http://schemas.openxmlformats.org/officeDocument/2006/relationships/vmlDrawing" Target="../drawings/vmlDrawing378.vml"/><Relationship Id="rId6" Type="http://schemas.openxmlformats.org/officeDocument/2006/relationships/oleObject" Target="../embeddings/oleObject398.bin"/><Relationship Id="rId5" Type="http://schemas.openxmlformats.org/officeDocument/2006/relationships/slideMaster" Target="../slideMasters/slideMaster49.xml"/><Relationship Id="rId4" Type="http://schemas.openxmlformats.org/officeDocument/2006/relationships/tags" Target="../tags/tag1479.xml"/></Relationships>
</file>

<file path=ppt/slideLayouts/_rels/slideLayout448.xml.rels><?xml version="1.0" encoding="UTF-8" standalone="yes"?>
<Relationships xmlns="http://schemas.openxmlformats.org/package/2006/relationships"><Relationship Id="rId3" Type="http://schemas.openxmlformats.org/officeDocument/2006/relationships/tags" Target="../tags/tag1481.xml"/><Relationship Id="rId2" Type="http://schemas.openxmlformats.org/officeDocument/2006/relationships/tags" Target="../tags/tag1480.xml"/><Relationship Id="rId1" Type="http://schemas.openxmlformats.org/officeDocument/2006/relationships/vmlDrawing" Target="../drawings/vmlDrawing379.vml"/><Relationship Id="rId6" Type="http://schemas.openxmlformats.org/officeDocument/2006/relationships/oleObject" Target="../embeddings/oleObject399.bin"/><Relationship Id="rId5" Type="http://schemas.openxmlformats.org/officeDocument/2006/relationships/slideMaster" Target="../slideMasters/slideMaster49.xml"/><Relationship Id="rId4" Type="http://schemas.openxmlformats.org/officeDocument/2006/relationships/tags" Target="../tags/tag1482.xml"/></Relationships>
</file>

<file path=ppt/slideLayouts/_rels/slideLayout44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00.bin"/><Relationship Id="rId3" Type="http://schemas.openxmlformats.org/officeDocument/2006/relationships/tags" Target="../tags/tag1484.xml"/><Relationship Id="rId7" Type="http://schemas.openxmlformats.org/officeDocument/2006/relationships/slideMaster" Target="../slideMasters/slideMaster49.xml"/><Relationship Id="rId2" Type="http://schemas.openxmlformats.org/officeDocument/2006/relationships/tags" Target="../tags/tag1483.xml"/><Relationship Id="rId1" Type="http://schemas.openxmlformats.org/officeDocument/2006/relationships/vmlDrawing" Target="../drawings/vmlDrawing380.vml"/><Relationship Id="rId6" Type="http://schemas.openxmlformats.org/officeDocument/2006/relationships/tags" Target="../tags/tag1487.xml"/><Relationship Id="rId5" Type="http://schemas.openxmlformats.org/officeDocument/2006/relationships/tags" Target="../tags/tag1486.xml"/><Relationship Id="rId4" Type="http://schemas.openxmlformats.org/officeDocument/2006/relationships/tags" Target="../tags/tag1485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131.xml"/><Relationship Id="rId7" Type="http://schemas.openxmlformats.org/officeDocument/2006/relationships/tags" Target="../tags/tag135.xml"/><Relationship Id="rId12" Type="http://schemas.openxmlformats.org/officeDocument/2006/relationships/image" Target="../media/image4.emf"/><Relationship Id="rId2" Type="http://schemas.openxmlformats.org/officeDocument/2006/relationships/tags" Target="../tags/tag130.xml"/><Relationship Id="rId1" Type="http://schemas.openxmlformats.org/officeDocument/2006/relationships/vmlDrawing" Target="../drawings/vmlDrawing27.vml"/><Relationship Id="rId6" Type="http://schemas.openxmlformats.org/officeDocument/2006/relationships/tags" Target="../tags/tag134.xml"/><Relationship Id="rId11" Type="http://schemas.openxmlformats.org/officeDocument/2006/relationships/image" Target="../media/image5.png"/><Relationship Id="rId5" Type="http://schemas.openxmlformats.org/officeDocument/2006/relationships/tags" Target="../tags/tag133.xml"/><Relationship Id="rId10" Type="http://schemas.openxmlformats.org/officeDocument/2006/relationships/oleObject" Target="../embeddings/oleObject27.bin"/><Relationship Id="rId4" Type="http://schemas.openxmlformats.org/officeDocument/2006/relationships/tags" Target="../tags/tag132.xml"/><Relationship Id="rId9" Type="http://schemas.openxmlformats.org/officeDocument/2006/relationships/image" Target="../media/image6.jpeg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4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1.bin"/><Relationship Id="rId2" Type="http://schemas.openxmlformats.org/officeDocument/2006/relationships/slideMaster" Target="../slideMasters/slideMaster49.xml"/><Relationship Id="rId1" Type="http://schemas.openxmlformats.org/officeDocument/2006/relationships/vmlDrawing" Target="../drawings/vmlDrawing381.v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45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0.xml"/><Relationship Id="rId3" Type="http://schemas.openxmlformats.org/officeDocument/2006/relationships/tags" Target="../tags/tag1497.xml"/><Relationship Id="rId7" Type="http://schemas.openxmlformats.org/officeDocument/2006/relationships/tags" Target="../tags/tag1501.xml"/><Relationship Id="rId12" Type="http://schemas.openxmlformats.org/officeDocument/2006/relationships/image" Target="../media/image5.png"/><Relationship Id="rId2" Type="http://schemas.openxmlformats.org/officeDocument/2006/relationships/tags" Target="../tags/tag1496.xml"/><Relationship Id="rId1" Type="http://schemas.openxmlformats.org/officeDocument/2006/relationships/vmlDrawing" Target="../drawings/vmlDrawing383.vml"/><Relationship Id="rId6" Type="http://schemas.openxmlformats.org/officeDocument/2006/relationships/tags" Target="../tags/tag1500.xml"/><Relationship Id="rId11" Type="http://schemas.openxmlformats.org/officeDocument/2006/relationships/image" Target="../media/image4.emf"/><Relationship Id="rId5" Type="http://schemas.openxmlformats.org/officeDocument/2006/relationships/tags" Target="../tags/tag1499.xml"/><Relationship Id="rId10" Type="http://schemas.openxmlformats.org/officeDocument/2006/relationships/oleObject" Target="../embeddings/oleObject403.bin"/><Relationship Id="rId4" Type="http://schemas.openxmlformats.org/officeDocument/2006/relationships/tags" Target="../tags/tag1498.xml"/><Relationship Id="rId9" Type="http://schemas.openxmlformats.org/officeDocument/2006/relationships/image" Target="../media/image3.jpeg"/></Relationships>
</file>

<file path=ppt/slideLayouts/_rels/slideLayout45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0.xml"/><Relationship Id="rId3" Type="http://schemas.openxmlformats.org/officeDocument/2006/relationships/tags" Target="../tags/tag1503.xml"/><Relationship Id="rId7" Type="http://schemas.openxmlformats.org/officeDocument/2006/relationships/tags" Target="../tags/tag1507.xml"/><Relationship Id="rId12" Type="http://schemas.openxmlformats.org/officeDocument/2006/relationships/image" Target="../media/image4.emf"/><Relationship Id="rId2" Type="http://schemas.openxmlformats.org/officeDocument/2006/relationships/tags" Target="../tags/tag1502.xml"/><Relationship Id="rId1" Type="http://schemas.openxmlformats.org/officeDocument/2006/relationships/vmlDrawing" Target="../drawings/vmlDrawing384.vml"/><Relationship Id="rId6" Type="http://schemas.openxmlformats.org/officeDocument/2006/relationships/tags" Target="../tags/tag1506.xml"/><Relationship Id="rId11" Type="http://schemas.openxmlformats.org/officeDocument/2006/relationships/image" Target="../media/image5.png"/><Relationship Id="rId5" Type="http://schemas.openxmlformats.org/officeDocument/2006/relationships/tags" Target="../tags/tag1505.xml"/><Relationship Id="rId10" Type="http://schemas.openxmlformats.org/officeDocument/2006/relationships/oleObject" Target="../embeddings/oleObject404.bin"/><Relationship Id="rId4" Type="http://schemas.openxmlformats.org/officeDocument/2006/relationships/tags" Target="../tags/tag1504.xml"/><Relationship Id="rId9" Type="http://schemas.openxmlformats.org/officeDocument/2006/relationships/image" Target="../media/image6.jpeg"/></Relationships>
</file>

<file path=ppt/slideLayouts/_rels/slideLayout455.xml.rels><?xml version="1.0" encoding="UTF-8" standalone="yes"?>
<Relationships xmlns="http://schemas.openxmlformats.org/package/2006/relationships"><Relationship Id="rId3" Type="http://schemas.openxmlformats.org/officeDocument/2006/relationships/tags" Target="../tags/tag1509.xml"/><Relationship Id="rId7" Type="http://schemas.openxmlformats.org/officeDocument/2006/relationships/oleObject" Target="../embeddings/oleObject405.bin"/><Relationship Id="rId2" Type="http://schemas.openxmlformats.org/officeDocument/2006/relationships/tags" Target="../tags/tag1508.xml"/><Relationship Id="rId1" Type="http://schemas.openxmlformats.org/officeDocument/2006/relationships/vmlDrawing" Target="../drawings/vmlDrawing385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50.xml"/><Relationship Id="rId4" Type="http://schemas.openxmlformats.org/officeDocument/2006/relationships/tags" Target="../tags/tag1510.xml"/></Relationships>
</file>

<file path=ppt/slideLayouts/_rels/slideLayout4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0.xml"/><Relationship Id="rId2" Type="http://schemas.openxmlformats.org/officeDocument/2006/relationships/tags" Target="../tags/tag1511.xml"/><Relationship Id="rId1" Type="http://schemas.openxmlformats.org/officeDocument/2006/relationships/vmlDrawing" Target="../drawings/vmlDrawing386.vml"/><Relationship Id="rId4" Type="http://schemas.openxmlformats.org/officeDocument/2006/relationships/oleObject" Target="../embeddings/oleObject406.bin"/></Relationships>
</file>

<file path=ppt/slideLayouts/_rels/slideLayout457.xml.rels><?xml version="1.0" encoding="UTF-8" standalone="yes"?>
<Relationships xmlns="http://schemas.openxmlformats.org/package/2006/relationships"><Relationship Id="rId3" Type="http://schemas.openxmlformats.org/officeDocument/2006/relationships/tags" Target="../tags/tag1513.xml"/><Relationship Id="rId2" Type="http://schemas.openxmlformats.org/officeDocument/2006/relationships/tags" Target="../tags/tag1512.xml"/><Relationship Id="rId1" Type="http://schemas.openxmlformats.org/officeDocument/2006/relationships/vmlDrawing" Target="../drawings/vmlDrawing387.vml"/><Relationship Id="rId6" Type="http://schemas.openxmlformats.org/officeDocument/2006/relationships/oleObject" Target="../embeddings/oleObject407.bin"/><Relationship Id="rId5" Type="http://schemas.openxmlformats.org/officeDocument/2006/relationships/slideMaster" Target="../slideMasters/slideMaster50.xml"/><Relationship Id="rId4" Type="http://schemas.openxmlformats.org/officeDocument/2006/relationships/tags" Target="../tags/tag1514.xml"/></Relationships>
</file>

<file path=ppt/slideLayouts/_rels/slideLayout458.xml.rels><?xml version="1.0" encoding="UTF-8" standalone="yes"?>
<Relationships xmlns="http://schemas.openxmlformats.org/package/2006/relationships"><Relationship Id="rId3" Type="http://schemas.openxmlformats.org/officeDocument/2006/relationships/tags" Target="../tags/tag1516.xml"/><Relationship Id="rId2" Type="http://schemas.openxmlformats.org/officeDocument/2006/relationships/tags" Target="../tags/tag1515.xml"/><Relationship Id="rId1" Type="http://schemas.openxmlformats.org/officeDocument/2006/relationships/vmlDrawing" Target="../drawings/vmlDrawing388.vml"/><Relationship Id="rId6" Type="http://schemas.openxmlformats.org/officeDocument/2006/relationships/oleObject" Target="../embeddings/oleObject408.bin"/><Relationship Id="rId5" Type="http://schemas.openxmlformats.org/officeDocument/2006/relationships/slideMaster" Target="../slideMasters/slideMaster50.xml"/><Relationship Id="rId4" Type="http://schemas.openxmlformats.org/officeDocument/2006/relationships/tags" Target="../tags/tag1517.xml"/></Relationships>
</file>

<file path=ppt/slideLayouts/_rels/slideLayout45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09.bin"/><Relationship Id="rId3" Type="http://schemas.openxmlformats.org/officeDocument/2006/relationships/tags" Target="../tags/tag1519.xml"/><Relationship Id="rId7" Type="http://schemas.openxmlformats.org/officeDocument/2006/relationships/slideMaster" Target="../slideMasters/slideMaster50.xml"/><Relationship Id="rId2" Type="http://schemas.openxmlformats.org/officeDocument/2006/relationships/tags" Target="../tags/tag1518.xml"/><Relationship Id="rId1" Type="http://schemas.openxmlformats.org/officeDocument/2006/relationships/vmlDrawing" Target="../drawings/vmlDrawing389.vml"/><Relationship Id="rId6" Type="http://schemas.openxmlformats.org/officeDocument/2006/relationships/tags" Target="../tags/tag1522.xml"/><Relationship Id="rId5" Type="http://schemas.openxmlformats.org/officeDocument/2006/relationships/tags" Target="../tags/tag1521.xml"/><Relationship Id="rId4" Type="http://schemas.openxmlformats.org/officeDocument/2006/relationships/tags" Target="../tags/tag1520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28.vml"/><Relationship Id="rId4" Type="http://schemas.openxmlformats.org/officeDocument/2006/relationships/oleObject" Target="../embeddings/oleObject28.bin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4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0.bin"/><Relationship Id="rId2" Type="http://schemas.openxmlformats.org/officeDocument/2006/relationships/slideMaster" Target="../slideMasters/slideMaster50.xml"/><Relationship Id="rId1" Type="http://schemas.openxmlformats.org/officeDocument/2006/relationships/vmlDrawing" Target="../drawings/vmlDrawing390.v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46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1.xml"/><Relationship Id="rId3" Type="http://schemas.openxmlformats.org/officeDocument/2006/relationships/tags" Target="../tags/tag1532.xml"/><Relationship Id="rId7" Type="http://schemas.openxmlformats.org/officeDocument/2006/relationships/tags" Target="../tags/tag1536.xml"/><Relationship Id="rId12" Type="http://schemas.openxmlformats.org/officeDocument/2006/relationships/image" Target="../media/image5.png"/><Relationship Id="rId2" Type="http://schemas.openxmlformats.org/officeDocument/2006/relationships/tags" Target="../tags/tag1531.xml"/><Relationship Id="rId1" Type="http://schemas.openxmlformats.org/officeDocument/2006/relationships/vmlDrawing" Target="../drawings/vmlDrawing392.vml"/><Relationship Id="rId6" Type="http://schemas.openxmlformats.org/officeDocument/2006/relationships/tags" Target="../tags/tag1535.xml"/><Relationship Id="rId11" Type="http://schemas.openxmlformats.org/officeDocument/2006/relationships/image" Target="../media/image4.emf"/><Relationship Id="rId5" Type="http://schemas.openxmlformats.org/officeDocument/2006/relationships/tags" Target="../tags/tag1534.xml"/><Relationship Id="rId10" Type="http://schemas.openxmlformats.org/officeDocument/2006/relationships/oleObject" Target="../embeddings/oleObject412.bin"/><Relationship Id="rId4" Type="http://schemas.openxmlformats.org/officeDocument/2006/relationships/tags" Target="../tags/tag1533.xml"/><Relationship Id="rId9" Type="http://schemas.openxmlformats.org/officeDocument/2006/relationships/image" Target="../media/image3.jpeg"/></Relationships>
</file>

<file path=ppt/slideLayouts/_rels/slideLayout46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1.xml"/><Relationship Id="rId3" Type="http://schemas.openxmlformats.org/officeDocument/2006/relationships/tags" Target="../tags/tag1538.xml"/><Relationship Id="rId7" Type="http://schemas.openxmlformats.org/officeDocument/2006/relationships/tags" Target="../tags/tag1542.xml"/><Relationship Id="rId12" Type="http://schemas.openxmlformats.org/officeDocument/2006/relationships/image" Target="../media/image4.emf"/><Relationship Id="rId2" Type="http://schemas.openxmlformats.org/officeDocument/2006/relationships/tags" Target="../tags/tag1537.xml"/><Relationship Id="rId1" Type="http://schemas.openxmlformats.org/officeDocument/2006/relationships/vmlDrawing" Target="../drawings/vmlDrawing393.vml"/><Relationship Id="rId6" Type="http://schemas.openxmlformats.org/officeDocument/2006/relationships/tags" Target="../tags/tag1541.xml"/><Relationship Id="rId11" Type="http://schemas.openxmlformats.org/officeDocument/2006/relationships/image" Target="../media/image5.png"/><Relationship Id="rId5" Type="http://schemas.openxmlformats.org/officeDocument/2006/relationships/tags" Target="../tags/tag1540.xml"/><Relationship Id="rId10" Type="http://schemas.openxmlformats.org/officeDocument/2006/relationships/oleObject" Target="../embeddings/oleObject413.bin"/><Relationship Id="rId4" Type="http://schemas.openxmlformats.org/officeDocument/2006/relationships/tags" Target="../tags/tag1539.xml"/><Relationship Id="rId9" Type="http://schemas.openxmlformats.org/officeDocument/2006/relationships/image" Target="../media/image6.jpeg"/></Relationships>
</file>

<file path=ppt/slideLayouts/_rels/slideLayout465.xml.rels><?xml version="1.0" encoding="UTF-8" standalone="yes"?>
<Relationships xmlns="http://schemas.openxmlformats.org/package/2006/relationships"><Relationship Id="rId3" Type="http://schemas.openxmlformats.org/officeDocument/2006/relationships/tags" Target="../tags/tag1544.xml"/><Relationship Id="rId7" Type="http://schemas.openxmlformats.org/officeDocument/2006/relationships/oleObject" Target="../embeddings/oleObject414.bin"/><Relationship Id="rId2" Type="http://schemas.openxmlformats.org/officeDocument/2006/relationships/tags" Target="../tags/tag1543.xml"/><Relationship Id="rId1" Type="http://schemas.openxmlformats.org/officeDocument/2006/relationships/vmlDrawing" Target="../drawings/vmlDrawing394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51.xml"/><Relationship Id="rId4" Type="http://schemas.openxmlformats.org/officeDocument/2006/relationships/tags" Target="../tags/tag1545.xml"/></Relationships>
</file>

<file path=ppt/slideLayouts/_rels/slideLayout4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1.xml"/><Relationship Id="rId2" Type="http://schemas.openxmlformats.org/officeDocument/2006/relationships/tags" Target="../tags/tag1546.xml"/><Relationship Id="rId1" Type="http://schemas.openxmlformats.org/officeDocument/2006/relationships/vmlDrawing" Target="../drawings/vmlDrawing395.vml"/><Relationship Id="rId4" Type="http://schemas.openxmlformats.org/officeDocument/2006/relationships/oleObject" Target="../embeddings/oleObject415.bin"/></Relationships>
</file>

<file path=ppt/slideLayouts/_rels/slideLayout467.xml.rels><?xml version="1.0" encoding="UTF-8" standalone="yes"?>
<Relationships xmlns="http://schemas.openxmlformats.org/package/2006/relationships"><Relationship Id="rId3" Type="http://schemas.openxmlformats.org/officeDocument/2006/relationships/tags" Target="../tags/tag1548.xml"/><Relationship Id="rId2" Type="http://schemas.openxmlformats.org/officeDocument/2006/relationships/tags" Target="../tags/tag1547.xml"/><Relationship Id="rId1" Type="http://schemas.openxmlformats.org/officeDocument/2006/relationships/vmlDrawing" Target="../drawings/vmlDrawing396.vml"/><Relationship Id="rId6" Type="http://schemas.openxmlformats.org/officeDocument/2006/relationships/oleObject" Target="../embeddings/oleObject416.bin"/><Relationship Id="rId5" Type="http://schemas.openxmlformats.org/officeDocument/2006/relationships/slideMaster" Target="../slideMasters/slideMaster51.xml"/><Relationship Id="rId4" Type="http://schemas.openxmlformats.org/officeDocument/2006/relationships/tags" Target="../tags/tag1549.xml"/></Relationships>
</file>

<file path=ppt/slideLayouts/_rels/slideLayout468.xml.rels><?xml version="1.0" encoding="UTF-8" standalone="yes"?>
<Relationships xmlns="http://schemas.openxmlformats.org/package/2006/relationships"><Relationship Id="rId3" Type="http://schemas.openxmlformats.org/officeDocument/2006/relationships/tags" Target="../tags/tag1551.xml"/><Relationship Id="rId2" Type="http://schemas.openxmlformats.org/officeDocument/2006/relationships/tags" Target="../tags/tag1550.xml"/><Relationship Id="rId1" Type="http://schemas.openxmlformats.org/officeDocument/2006/relationships/vmlDrawing" Target="../drawings/vmlDrawing397.vml"/><Relationship Id="rId6" Type="http://schemas.openxmlformats.org/officeDocument/2006/relationships/oleObject" Target="../embeddings/oleObject417.bin"/><Relationship Id="rId5" Type="http://schemas.openxmlformats.org/officeDocument/2006/relationships/slideMaster" Target="../slideMasters/slideMaster51.xml"/><Relationship Id="rId4" Type="http://schemas.openxmlformats.org/officeDocument/2006/relationships/tags" Target="../tags/tag1552.xml"/></Relationships>
</file>

<file path=ppt/slideLayouts/_rels/slideLayout46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18.bin"/><Relationship Id="rId3" Type="http://schemas.openxmlformats.org/officeDocument/2006/relationships/tags" Target="../tags/tag1554.xml"/><Relationship Id="rId7" Type="http://schemas.openxmlformats.org/officeDocument/2006/relationships/slideMaster" Target="../slideMasters/slideMaster51.xml"/><Relationship Id="rId2" Type="http://schemas.openxmlformats.org/officeDocument/2006/relationships/tags" Target="../tags/tag1553.xml"/><Relationship Id="rId1" Type="http://schemas.openxmlformats.org/officeDocument/2006/relationships/vmlDrawing" Target="../drawings/vmlDrawing398.vml"/><Relationship Id="rId6" Type="http://schemas.openxmlformats.org/officeDocument/2006/relationships/tags" Target="../tags/tag1557.xml"/><Relationship Id="rId5" Type="http://schemas.openxmlformats.org/officeDocument/2006/relationships/tags" Target="../tags/tag1556.xml"/><Relationship Id="rId4" Type="http://schemas.openxmlformats.org/officeDocument/2006/relationships/tags" Target="../tags/tag155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138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9.bin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139.xml"/></Relationships>
</file>

<file path=ppt/slideLayouts/_rels/slideLayout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4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9.bin"/><Relationship Id="rId2" Type="http://schemas.openxmlformats.org/officeDocument/2006/relationships/slideMaster" Target="../slideMasters/slideMaster51.xml"/><Relationship Id="rId1" Type="http://schemas.openxmlformats.org/officeDocument/2006/relationships/vmlDrawing" Target="../drawings/vmlDrawing399.vml"/></Relationships>
</file>

<file path=ppt/slideLayouts/_rels/slideLayout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4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slideMaster" Target="../slideMasters/slideMaster52.xml"/><Relationship Id="rId7" Type="http://schemas.openxmlformats.org/officeDocument/2006/relationships/image" Target="../media/image19.png"/><Relationship Id="rId2" Type="http://schemas.openxmlformats.org/officeDocument/2006/relationships/tags" Target="../tags/tag1566.xml"/><Relationship Id="rId1" Type="http://schemas.openxmlformats.org/officeDocument/2006/relationships/tags" Target="../tags/tag1565.xml"/><Relationship Id="rId6" Type="http://schemas.openxmlformats.org/officeDocument/2006/relationships/image" Target="../media/image53.png"/><Relationship Id="rId5" Type="http://schemas.openxmlformats.org/officeDocument/2006/relationships/image" Target="../media/image48.png"/><Relationship Id="rId10" Type="http://schemas.openxmlformats.org/officeDocument/2006/relationships/image" Target="../media/image55.png"/><Relationship Id="rId4" Type="http://schemas.openxmlformats.org/officeDocument/2006/relationships/image" Target="../media/image52.png"/><Relationship Id="rId9" Type="http://schemas.openxmlformats.org/officeDocument/2006/relationships/image" Target="../media/image54.png"/></Relationships>
</file>

<file path=ppt/slideLayouts/_rels/slideLayout4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52.xml"/><Relationship Id="rId4" Type="http://schemas.openxmlformats.org/officeDocument/2006/relationships/image" Target="../media/image51.png"/></Relationships>
</file>

<file path=ppt/slideLayouts/_rels/slideLayout4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52.xml"/><Relationship Id="rId4" Type="http://schemas.openxmlformats.org/officeDocument/2006/relationships/image" Target="../media/image51.png"/></Relationships>
</file>

<file path=ppt/slideLayouts/_rels/slideLayout4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2" Type="http://schemas.openxmlformats.org/officeDocument/2006/relationships/tags" Target="../tags/tag1567.xml"/><Relationship Id="rId1" Type="http://schemas.openxmlformats.org/officeDocument/2006/relationships/vmlDrawing" Target="../drawings/vmlDrawing401.vml"/><Relationship Id="rId6" Type="http://schemas.openxmlformats.org/officeDocument/2006/relationships/oleObject" Target="../embeddings/oleObject422.bin"/><Relationship Id="rId5" Type="http://schemas.openxmlformats.org/officeDocument/2006/relationships/image" Target="../media/image59.jpeg"/><Relationship Id="rId4" Type="http://schemas.openxmlformats.org/officeDocument/2006/relationships/oleObject" Target="../embeddings/oleObject421.bin"/></Relationships>
</file>

<file path=ppt/slideLayouts/_rels/slideLayout4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2" Type="http://schemas.openxmlformats.org/officeDocument/2006/relationships/tags" Target="../tags/tag1568.xml"/><Relationship Id="rId1" Type="http://schemas.openxmlformats.org/officeDocument/2006/relationships/vmlDrawing" Target="../drawings/vmlDrawing402.vml"/><Relationship Id="rId6" Type="http://schemas.openxmlformats.org/officeDocument/2006/relationships/oleObject" Target="../embeddings/oleObject424.bin"/><Relationship Id="rId5" Type="http://schemas.openxmlformats.org/officeDocument/2006/relationships/oleObject" Target="../embeddings/oleObject423.bin"/><Relationship Id="rId4" Type="http://schemas.openxmlformats.org/officeDocument/2006/relationships/image" Target="../media/image56.jpeg"/></Relationships>
</file>

<file path=ppt/slideLayouts/_rels/slideLayout4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2" Type="http://schemas.openxmlformats.org/officeDocument/2006/relationships/tags" Target="../tags/tag1569.xml"/><Relationship Id="rId1" Type="http://schemas.openxmlformats.org/officeDocument/2006/relationships/vmlDrawing" Target="../drawings/vmlDrawing403.vml"/><Relationship Id="rId6" Type="http://schemas.openxmlformats.org/officeDocument/2006/relationships/oleObject" Target="../embeddings/oleObject426.bin"/><Relationship Id="rId5" Type="http://schemas.openxmlformats.org/officeDocument/2006/relationships/oleObject" Target="../embeddings/oleObject425.bin"/><Relationship Id="rId4" Type="http://schemas.openxmlformats.org/officeDocument/2006/relationships/image" Target="../media/image57.jpeg"/></Relationships>
</file>

<file path=ppt/slideLayouts/_rels/slideLayout4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2" Type="http://schemas.openxmlformats.org/officeDocument/2006/relationships/tags" Target="../tags/tag1570.xml"/><Relationship Id="rId1" Type="http://schemas.openxmlformats.org/officeDocument/2006/relationships/vmlDrawing" Target="../drawings/vmlDrawing404.vml"/><Relationship Id="rId6" Type="http://schemas.openxmlformats.org/officeDocument/2006/relationships/oleObject" Target="../embeddings/oleObject428.bin"/><Relationship Id="rId5" Type="http://schemas.openxmlformats.org/officeDocument/2006/relationships/oleObject" Target="../embeddings/oleObject427.bin"/><Relationship Id="rId4" Type="http://schemas.openxmlformats.org/officeDocument/2006/relationships/image" Target="../media/image58.jpe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141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142.xml"/></Relationships>
</file>

<file path=ppt/slideLayouts/_rels/slideLayout48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3.xml"/><Relationship Id="rId3" Type="http://schemas.openxmlformats.org/officeDocument/2006/relationships/tags" Target="../tags/tag1580.xml"/><Relationship Id="rId7" Type="http://schemas.openxmlformats.org/officeDocument/2006/relationships/tags" Target="../tags/tag1584.xml"/><Relationship Id="rId12" Type="http://schemas.openxmlformats.org/officeDocument/2006/relationships/image" Target="../media/image5.png"/><Relationship Id="rId2" Type="http://schemas.openxmlformats.org/officeDocument/2006/relationships/tags" Target="../tags/tag1579.xml"/><Relationship Id="rId1" Type="http://schemas.openxmlformats.org/officeDocument/2006/relationships/vmlDrawing" Target="../drawings/vmlDrawing406.vml"/><Relationship Id="rId6" Type="http://schemas.openxmlformats.org/officeDocument/2006/relationships/tags" Target="../tags/tag1583.xml"/><Relationship Id="rId11" Type="http://schemas.openxmlformats.org/officeDocument/2006/relationships/image" Target="../media/image4.emf"/><Relationship Id="rId5" Type="http://schemas.openxmlformats.org/officeDocument/2006/relationships/tags" Target="../tags/tag1582.xml"/><Relationship Id="rId10" Type="http://schemas.openxmlformats.org/officeDocument/2006/relationships/oleObject" Target="../embeddings/oleObject430.bin"/><Relationship Id="rId4" Type="http://schemas.openxmlformats.org/officeDocument/2006/relationships/tags" Target="../tags/tag1581.xml"/><Relationship Id="rId9" Type="http://schemas.openxmlformats.org/officeDocument/2006/relationships/image" Target="../media/image3.jpeg"/></Relationships>
</file>

<file path=ppt/slideLayouts/_rels/slideLayout48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3.xml"/><Relationship Id="rId3" Type="http://schemas.openxmlformats.org/officeDocument/2006/relationships/tags" Target="../tags/tag1586.xml"/><Relationship Id="rId7" Type="http://schemas.openxmlformats.org/officeDocument/2006/relationships/tags" Target="../tags/tag1590.xml"/><Relationship Id="rId12" Type="http://schemas.openxmlformats.org/officeDocument/2006/relationships/image" Target="../media/image4.emf"/><Relationship Id="rId2" Type="http://schemas.openxmlformats.org/officeDocument/2006/relationships/tags" Target="../tags/tag1585.xml"/><Relationship Id="rId1" Type="http://schemas.openxmlformats.org/officeDocument/2006/relationships/vmlDrawing" Target="../drawings/vmlDrawing407.vml"/><Relationship Id="rId6" Type="http://schemas.openxmlformats.org/officeDocument/2006/relationships/tags" Target="../tags/tag1589.xml"/><Relationship Id="rId11" Type="http://schemas.openxmlformats.org/officeDocument/2006/relationships/image" Target="../media/image5.png"/><Relationship Id="rId5" Type="http://schemas.openxmlformats.org/officeDocument/2006/relationships/tags" Target="../tags/tag1588.xml"/><Relationship Id="rId10" Type="http://schemas.openxmlformats.org/officeDocument/2006/relationships/oleObject" Target="../embeddings/oleObject431.bin"/><Relationship Id="rId4" Type="http://schemas.openxmlformats.org/officeDocument/2006/relationships/tags" Target="../tags/tag1587.xml"/><Relationship Id="rId9" Type="http://schemas.openxmlformats.org/officeDocument/2006/relationships/image" Target="../media/image6.jpeg"/></Relationships>
</file>

<file path=ppt/slideLayouts/_rels/slideLayout482.xml.rels><?xml version="1.0" encoding="UTF-8" standalone="yes"?>
<Relationships xmlns="http://schemas.openxmlformats.org/package/2006/relationships"><Relationship Id="rId3" Type="http://schemas.openxmlformats.org/officeDocument/2006/relationships/tags" Target="../tags/tag1592.xml"/><Relationship Id="rId7" Type="http://schemas.openxmlformats.org/officeDocument/2006/relationships/oleObject" Target="../embeddings/oleObject432.bin"/><Relationship Id="rId2" Type="http://schemas.openxmlformats.org/officeDocument/2006/relationships/tags" Target="../tags/tag1591.xml"/><Relationship Id="rId1" Type="http://schemas.openxmlformats.org/officeDocument/2006/relationships/vmlDrawing" Target="../drawings/vmlDrawing408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53.xml"/><Relationship Id="rId4" Type="http://schemas.openxmlformats.org/officeDocument/2006/relationships/tags" Target="../tags/tag1593.xml"/></Relationships>
</file>

<file path=ppt/slideLayouts/_rels/slideLayout4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3.xml"/><Relationship Id="rId2" Type="http://schemas.openxmlformats.org/officeDocument/2006/relationships/tags" Target="../tags/tag1594.xml"/><Relationship Id="rId1" Type="http://schemas.openxmlformats.org/officeDocument/2006/relationships/vmlDrawing" Target="../drawings/vmlDrawing409.vml"/><Relationship Id="rId4" Type="http://schemas.openxmlformats.org/officeDocument/2006/relationships/oleObject" Target="../embeddings/oleObject433.bin"/></Relationships>
</file>

<file path=ppt/slideLayouts/_rels/slideLayout484.xml.rels><?xml version="1.0" encoding="UTF-8" standalone="yes"?>
<Relationships xmlns="http://schemas.openxmlformats.org/package/2006/relationships"><Relationship Id="rId3" Type="http://schemas.openxmlformats.org/officeDocument/2006/relationships/tags" Target="../tags/tag1596.xml"/><Relationship Id="rId2" Type="http://schemas.openxmlformats.org/officeDocument/2006/relationships/tags" Target="../tags/tag1595.xml"/><Relationship Id="rId1" Type="http://schemas.openxmlformats.org/officeDocument/2006/relationships/vmlDrawing" Target="../drawings/vmlDrawing410.vml"/><Relationship Id="rId6" Type="http://schemas.openxmlformats.org/officeDocument/2006/relationships/oleObject" Target="../embeddings/oleObject434.bin"/><Relationship Id="rId5" Type="http://schemas.openxmlformats.org/officeDocument/2006/relationships/slideMaster" Target="../slideMasters/slideMaster53.xml"/><Relationship Id="rId4" Type="http://schemas.openxmlformats.org/officeDocument/2006/relationships/tags" Target="../tags/tag1597.xml"/></Relationships>
</file>

<file path=ppt/slideLayouts/_rels/slideLayout485.xml.rels><?xml version="1.0" encoding="UTF-8" standalone="yes"?>
<Relationships xmlns="http://schemas.openxmlformats.org/package/2006/relationships"><Relationship Id="rId3" Type="http://schemas.openxmlformats.org/officeDocument/2006/relationships/tags" Target="../tags/tag1599.xml"/><Relationship Id="rId2" Type="http://schemas.openxmlformats.org/officeDocument/2006/relationships/tags" Target="../tags/tag1598.xml"/><Relationship Id="rId1" Type="http://schemas.openxmlformats.org/officeDocument/2006/relationships/vmlDrawing" Target="../drawings/vmlDrawing411.vml"/><Relationship Id="rId6" Type="http://schemas.openxmlformats.org/officeDocument/2006/relationships/oleObject" Target="../embeddings/oleObject435.bin"/><Relationship Id="rId5" Type="http://schemas.openxmlformats.org/officeDocument/2006/relationships/slideMaster" Target="../slideMasters/slideMaster53.xml"/><Relationship Id="rId4" Type="http://schemas.openxmlformats.org/officeDocument/2006/relationships/tags" Target="../tags/tag1600.xml"/></Relationships>
</file>

<file path=ppt/slideLayouts/_rels/slideLayout48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36.bin"/><Relationship Id="rId3" Type="http://schemas.openxmlformats.org/officeDocument/2006/relationships/tags" Target="../tags/tag1602.xml"/><Relationship Id="rId7" Type="http://schemas.openxmlformats.org/officeDocument/2006/relationships/slideMaster" Target="../slideMasters/slideMaster53.xml"/><Relationship Id="rId2" Type="http://schemas.openxmlformats.org/officeDocument/2006/relationships/tags" Target="../tags/tag1601.xml"/><Relationship Id="rId1" Type="http://schemas.openxmlformats.org/officeDocument/2006/relationships/vmlDrawing" Target="../drawings/vmlDrawing412.vml"/><Relationship Id="rId6" Type="http://schemas.openxmlformats.org/officeDocument/2006/relationships/tags" Target="../tags/tag1605.xml"/><Relationship Id="rId5" Type="http://schemas.openxmlformats.org/officeDocument/2006/relationships/tags" Target="../tags/tag1604.xml"/><Relationship Id="rId4" Type="http://schemas.openxmlformats.org/officeDocument/2006/relationships/tags" Target="../tags/tag1603.xml"/></Relationships>
</file>

<file path=ppt/slideLayouts/_rels/slideLayout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4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7.bin"/><Relationship Id="rId2" Type="http://schemas.openxmlformats.org/officeDocument/2006/relationships/slideMaster" Target="../slideMasters/slideMaster53.xml"/><Relationship Id="rId1" Type="http://schemas.openxmlformats.org/officeDocument/2006/relationships/vmlDrawing" Target="../drawings/vmlDrawing413.vml"/></Relationships>
</file>

<file path=ppt/slideLayouts/_rels/slideLayout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1.bin"/><Relationship Id="rId3" Type="http://schemas.openxmlformats.org/officeDocument/2006/relationships/tags" Target="../tags/tag144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31.vml"/><Relationship Id="rId6" Type="http://schemas.openxmlformats.org/officeDocument/2006/relationships/tags" Target="../tags/tag147.xml"/><Relationship Id="rId5" Type="http://schemas.openxmlformats.org/officeDocument/2006/relationships/tags" Target="../tags/tag146.xml"/><Relationship Id="rId4" Type="http://schemas.openxmlformats.org/officeDocument/2006/relationships/tags" Target="../tags/tag145.xml"/></Relationships>
</file>

<file path=ppt/slideLayouts/_rels/slideLayout49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4.xml"/><Relationship Id="rId3" Type="http://schemas.openxmlformats.org/officeDocument/2006/relationships/tags" Target="../tags/tag1615.xml"/><Relationship Id="rId7" Type="http://schemas.openxmlformats.org/officeDocument/2006/relationships/tags" Target="../tags/tag1619.xml"/><Relationship Id="rId12" Type="http://schemas.openxmlformats.org/officeDocument/2006/relationships/image" Target="../media/image5.png"/><Relationship Id="rId2" Type="http://schemas.openxmlformats.org/officeDocument/2006/relationships/tags" Target="../tags/tag1614.xml"/><Relationship Id="rId1" Type="http://schemas.openxmlformats.org/officeDocument/2006/relationships/vmlDrawing" Target="../drawings/vmlDrawing415.vml"/><Relationship Id="rId6" Type="http://schemas.openxmlformats.org/officeDocument/2006/relationships/tags" Target="../tags/tag1618.xml"/><Relationship Id="rId11" Type="http://schemas.openxmlformats.org/officeDocument/2006/relationships/image" Target="../media/image4.emf"/><Relationship Id="rId5" Type="http://schemas.openxmlformats.org/officeDocument/2006/relationships/tags" Target="../tags/tag1617.xml"/><Relationship Id="rId10" Type="http://schemas.openxmlformats.org/officeDocument/2006/relationships/oleObject" Target="../embeddings/oleObject439.bin"/><Relationship Id="rId4" Type="http://schemas.openxmlformats.org/officeDocument/2006/relationships/tags" Target="../tags/tag1616.xml"/><Relationship Id="rId9" Type="http://schemas.openxmlformats.org/officeDocument/2006/relationships/image" Target="../media/image3.jpeg"/></Relationships>
</file>

<file path=ppt/slideLayouts/_rels/slideLayout49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4.xml"/><Relationship Id="rId3" Type="http://schemas.openxmlformats.org/officeDocument/2006/relationships/tags" Target="../tags/tag1621.xml"/><Relationship Id="rId7" Type="http://schemas.openxmlformats.org/officeDocument/2006/relationships/tags" Target="../tags/tag1625.xml"/><Relationship Id="rId12" Type="http://schemas.openxmlformats.org/officeDocument/2006/relationships/image" Target="../media/image4.emf"/><Relationship Id="rId2" Type="http://schemas.openxmlformats.org/officeDocument/2006/relationships/tags" Target="../tags/tag1620.xml"/><Relationship Id="rId1" Type="http://schemas.openxmlformats.org/officeDocument/2006/relationships/vmlDrawing" Target="../drawings/vmlDrawing416.vml"/><Relationship Id="rId6" Type="http://schemas.openxmlformats.org/officeDocument/2006/relationships/tags" Target="../tags/tag1624.xml"/><Relationship Id="rId11" Type="http://schemas.openxmlformats.org/officeDocument/2006/relationships/image" Target="../media/image5.png"/><Relationship Id="rId5" Type="http://schemas.openxmlformats.org/officeDocument/2006/relationships/tags" Target="../tags/tag1623.xml"/><Relationship Id="rId10" Type="http://schemas.openxmlformats.org/officeDocument/2006/relationships/oleObject" Target="../embeddings/oleObject440.bin"/><Relationship Id="rId4" Type="http://schemas.openxmlformats.org/officeDocument/2006/relationships/tags" Target="../tags/tag1622.xml"/><Relationship Id="rId9" Type="http://schemas.openxmlformats.org/officeDocument/2006/relationships/image" Target="../media/image6.jpeg"/></Relationships>
</file>

<file path=ppt/slideLayouts/_rels/slideLayout492.xml.rels><?xml version="1.0" encoding="UTF-8" standalone="yes"?>
<Relationships xmlns="http://schemas.openxmlformats.org/package/2006/relationships"><Relationship Id="rId3" Type="http://schemas.openxmlformats.org/officeDocument/2006/relationships/tags" Target="../tags/tag1627.xml"/><Relationship Id="rId7" Type="http://schemas.openxmlformats.org/officeDocument/2006/relationships/oleObject" Target="../embeddings/oleObject441.bin"/><Relationship Id="rId2" Type="http://schemas.openxmlformats.org/officeDocument/2006/relationships/tags" Target="../tags/tag1626.xml"/><Relationship Id="rId1" Type="http://schemas.openxmlformats.org/officeDocument/2006/relationships/vmlDrawing" Target="../drawings/vmlDrawing417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54.xml"/><Relationship Id="rId4" Type="http://schemas.openxmlformats.org/officeDocument/2006/relationships/tags" Target="../tags/tag1628.xml"/></Relationships>
</file>

<file path=ppt/slideLayouts/_rels/slideLayout4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4.xml"/><Relationship Id="rId2" Type="http://schemas.openxmlformats.org/officeDocument/2006/relationships/tags" Target="../tags/tag1629.xml"/><Relationship Id="rId1" Type="http://schemas.openxmlformats.org/officeDocument/2006/relationships/vmlDrawing" Target="../drawings/vmlDrawing418.vml"/><Relationship Id="rId4" Type="http://schemas.openxmlformats.org/officeDocument/2006/relationships/oleObject" Target="../embeddings/oleObject442.bin"/></Relationships>
</file>

<file path=ppt/slideLayouts/_rels/slideLayout494.xml.rels><?xml version="1.0" encoding="UTF-8" standalone="yes"?>
<Relationships xmlns="http://schemas.openxmlformats.org/package/2006/relationships"><Relationship Id="rId3" Type="http://schemas.openxmlformats.org/officeDocument/2006/relationships/tags" Target="../tags/tag1631.xml"/><Relationship Id="rId2" Type="http://schemas.openxmlformats.org/officeDocument/2006/relationships/tags" Target="../tags/tag1630.xml"/><Relationship Id="rId1" Type="http://schemas.openxmlformats.org/officeDocument/2006/relationships/vmlDrawing" Target="../drawings/vmlDrawing419.vml"/><Relationship Id="rId6" Type="http://schemas.openxmlformats.org/officeDocument/2006/relationships/oleObject" Target="../embeddings/oleObject443.bin"/><Relationship Id="rId5" Type="http://schemas.openxmlformats.org/officeDocument/2006/relationships/slideMaster" Target="../slideMasters/slideMaster54.xml"/><Relationship Id="rId4" Type="http://schemas.openxmlformats.org/officeDocument/2006/relationships/tags" Target="../tags/tag1632.xml"/></Relationships>
</file>

<file path=ppt/slideLayouts/_rels/slideLayout495.xml.rels><?xml version="1.0" encoding="UTF-8" standalone="yes"?>
<Relationships xmlns="http://schemas.openxmlformats.org/package/2006/relationships"><Relationship Id="rId3" Type="http://schemas.openxmlformats.org/officeDocument/2006/relationships/tags" Target="../tags/tag1634.xml"/><Relationship Id="rId2" Type="http://schemas.openxmlformats.org/officeDocument/2006/relationships/tags" Target="../tags/tag1633.xml"/><Relationship Id="rId1" Type="http://schemas.openxmlformats.org/officeDocument/2006/relationships/vmlDrawing" Target="../drawings/vmlDrawing420.vml"/><Relationship Id="rId6" Type="http://schemas.openxmlformats.org/officeDocument/2006/relationships/oleObject" Target="../embeddings/oleObject444.bin"/><Relationship Id="rId5" Type="http://schemas.openxmlformats.org/officeDocument/2006/relationships/slideMaster" Target="../slideMasters/slideMaster54.xml"/><Relationship Id="rId4" Type="http://schemas.openxmlformats.org/officeDocument/2006/relationships/tags" Target="../tags/tag1635.xml"/></Relationships>
</file>

<file path=ppt/slideLayouts/_rels/slideLayout49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45.bin"/><Relationship Id="rId3" Type="http://schemas.openxmlformats.org/officeDocument/2006/relationships/tags" Target="../tags/tag1637.xml"/><Relationship Id="rId7" Type="http://schemas.openxmlformats.org/officeDocument/2006/relationships/slideMaster" Target="../slideMasters/slideMaster54.xml"/><Relationship Id="rId2" Type="http://schemas.openxmlformats.org/officeDocument/2006/relationships/tags" Target="../tags/tag1636.xml"/><Relationship Id="rId1" Type="http://schemas.openxmlformats.org/officeDocument/2006/relationships/vmlDrawing" Target="../drawings/vmlDrawing421.vml"/><Relationship Id="rId6" Type="http://schemas.openxmlformats.org/officeDocument/2006/relationships/tags" Target="../tags/tag1640.xml"/><Relationship Id="rId5" Type="http://schemas.openxmlformats.org/officeDocument/2006/relationships/tags" Target="../tags/tag1639.xml"/><Relationship Id="rId4" Type="http://schemas.openxmlformats.org/officeDocument/2006/relationships/tags" Target="../tags/tag1638.xml"/></Relationships>
</file>

<file path=ppt/slideLayouts/_rels/slideLayout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4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6.bin"/><Relationship Id="rId2" Type="http://schemas.openxmlformats.org/officeDocument/2006/relationships/slideMaster" Target="../slideMasters/slideMaster54.xml"/><Relationship Id="rId1" Type="http://schemas.openxmlformats.org/officeDocument/2006/relationships/vmlDrawing" Target="../drawings/vmlDrawing422.vml"/></Relationships>
</file>

<file path=ppt/slideLayouts/_rels/slideLayout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8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tags" Target="../tags/tag150.xml"/><Relationship Id="rId7" Type="http://schemas.openxmlformats.org/officeDocument/2006/relationships/image" Target="../media/image47.jpeg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152.xml"/><Relationship Id="rId4" Type="http://schemas.openxmlformats.org/officeDocument/2006/relationships/tags" Target="../tags/tag151.xml"/><Relationship Id="rId9" Type="http://schemas.openxmlformats.org/officeDocument/2006/relationships/image" Target="../media/image2.png"/></Relationships>
</file>

<file path=ppt/slideLayouts/_rels/slideLayout50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5.xml"/><Relationship Id="rId3" Type="http://schemas.openxmlformats.org/officeDocument/2006/relationships/tags" Target="../tags/tag1650.xml"/><Relationship Id="rId7" Type="http://schemas.openxmlformats.org/officeDocument/2006/relationships/tags" Target="../tags/tag1654.xml"/><Relationship Id="rId12" Type="http://schemas.openxmlformats.org/officeDocument/2006/relationships/image" Target="../media/image5.png"/><Relationship Id="rId2" Type="http://schemas.openxmlformats.org/officeDocument/2006/relationships/tags" Target="../tags/tag1649.xml"/><Relationship Id="rId1" Type="http://schemas.openxmlformats.org/officeDocument/2006/relationships/vmlDrawing" Target="../drawings/vmlDrawing424.vml"/><Relationship Id="rId6" Type="http://schemas.openxmlformats.org/officeDocument/2006/relationships/tags" Target="../tags/tag1653.xml"/><Relationship Id="rId11" Type="http://schemas.openxmlformats.org/officeDocument/2006/relationships/image" Target="../media/image4.emf"/><Relationship Id="rId5" Type="http://schemas.openxmlformats.org/officeDocument/2006/relationships/tags" Target="../tags/tag1652.xml"/><Relationship Id="rId10" Type="http://schemas.openxmlformats.org/officeDocument/2006/relationships/oleObject" Target="../embeddings/oleObject448.bin"/><Relationship Id="rId4" Type="http://schemas.openxmlformats.org/officeDocument/2006/relationships/tags" Target="../tags/tag1651.xml"/><Relationship Id="rId9" Type="http://schemas.openxmlformats.org/officeDocument/2006/relationships/image" Target="../media/image3.jpeg"/></Relationships>
</file>

<file path=ppt/slideLayouts/_rels/slideLayout50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5.xml"/><Relationship Id="rId3" Type="http://schemas.openxmlformats.org/officeDocument/2006/relationships/tags" Target="../tags/tag1656.xml"/><Relationship Id="rId7" Type="http://schemas.openxmlformats.org/officeDocument/2006/relationships/tags" Target="../tags/tag1660.xml"/><Relationship Id="rId12" Type="http://schemas.openxmlformats.org/officeDocument/2006/relationships/image" Target="../media/image4.emf"/><Relationship Id="rId2" Type="http://schemas.openxmlformats.org/officeDocument/2006/relationships/tags" Target="../tags/tag1655.xml"/><Relationship Id="rId1" Type="http://schemas.openxmlformats.org/officeDocument/2006/relationships/vmlDrawing" Target="../drawings/vmlDrawing425.vml"/><Relationship Id="rId6" Type="http://schemas.openxmlformats.org/officeDocument/2006/relationships/tags" Target="../tags/tag1659.xml"/><Relationship Id="rId11" Type="http://schemas.openxmlformats.org/officeDocument/2006/relationships/image" Target="../media/image5.png"/><Relationship Id="rId5" Type="http://schemas.openxmlformats.org/officeDocument/2006/relationships/tags" Target="../tags/tag1658.xml"/><Relationship Id="rId10" Type="http://schemas.openxmlformats.org/officeDocument/2006/relationships/oleObject" Target="../embeddings/oleObject449.bin"/><Relationship Id="rId4" Type="http://schemas.openxmlformats.org/officeDocument/2006/relationships/tags" Target="../tags/tag1657.xml"/><Relationship Id="rId9" Type="http://schemas.openxmlformats.org/officeDocument/2006/relationships/image" Target="../media/image6.jpeg"/></Relationships>
</file>

<file path=ppt/slideLayouts/_rels/slideLayout502.xml.rels><?xml version="1.0" encoding="UTF-8" standalone="yes"?>
<Relationships xmlns="http://schemas.openxmlformats.org/package/2006/relationships"><Relationship Id="rId3" Type="http://schemas.openxmlformats.org/officeDocument/2006/relationships/tags" Target="../tags/tag1662.xml"/><Relationship Id="rId7" Type="http://schemas.openxmlformats.org/officeDocument/2006/relationships/oleObject" Target="../embeddings/oleObject450.bin"/><Relationship Id="rId2" Type="http://schemas.openxmlformats.org/officeDocument/2006/relationships/tags" Target="../tags/tag1661.xml"/><Relationship Id="rId1" Type="http://schemas.openxmlformats.org/officeDocument/2006/relationships/vmlDrawing" Target="../drawings/vmlDrawing426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55.xml"/><Relationship Id="rId4" Type="http://schemas.openxmlformats.org/officeDocument/2006/relationships/tags" Target="../tags/tag1663.xml"/></Relationships>
</file>

<file path=ppt/slideLayouts/_rels/slideLayout5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5.xml"/><Relationship Id="rId2" Type="http://schemas.openxmlformats.org/officeDocument/2006/relationships/tags" Target="../tags/tag1664.xml"/><Relationship Id="rId1" Type="http://schemas.openxmlformats.org/officeDocument/2006/relationships/vmlDrawing" Target="../drawings/vmlDrawing427.vml"/><Relationship Id="rId4" Type="http://schemas.openxmlformats.org/officeDocument/2006/relationships/oleObject" Target="../embeddings/oleObject451.bin"/></Relationships>
</file>

<file path=ppt/slideLayouts/_rels/slideLayout504.xml.rels><?xml version="1.0" encoding="UTF-8" standalone="yes"?>
<Relationships xmlns="http://schemas.openxmlformats.org/package/2006/relationships"><Relationship Id="rId3" Type="http://schemas.openxmlformats.org/officeDocument/2006/relationships/tags" Target="../tags/tag1666.xml"/><Relationship Id="rId2" Type="http://schemas.openxmlformats.org/officeDocument/2006/relationships/tags" Target="../tags/tag1665.xml"/><Relationship Id="rId1" Type="http://schemas.openxmlformats.org/officeDocument/2006/relationships/vmlDrawing" Target="../drawings/vmlDrawing428.vml"/><Relationship Id="rId6" Type="http://schemas.openxmlformats.org/officeDocument/2006/relationships/oleObject" Target="../embeddings/oleObject452.bin"/><Relationship Id="rId5" Type="http://schemas.openxmlformats.org/officeDocument/2006/relationships/slideMaster" Target="../slideMasters/slideMaster55.xml"/><Relationship Id="rId4" Type="http://schemas.openxmlformats.org/officeDocument/2006/relationships/tags" Target="../tags/tag1667.xml"/></Relationships>
</file>

<file path=ppt/slideLayouts/_rels/slideLayout505.xml.rels><?xml version="1.0" encoding="UTF-8" standalone="yes"?>
<Relationships xmlns="http://schemas.openxmlformats.org/package/2006/relationships"><Relationship Id="rId3" Type="http://schemas.openxmlformats.org/officeDocument/2006/relationships/tags" Target="../tags/tag1669.xml"/><Relationship Id="rId2" Type="http://schemas.openxmlformats.org/officeDocument/2006/relationships/tags" Target="../tags/tag1668.xml"/><Relationship Id="rId1" Type="http://schemas.openxmlformats.org/officeDocument/2006/relationships/vmlDrawing" Target="../drawings/vmlDrawing429.vml"/><Relationship Id="rId6" Type="http://schemas.openxmlformats.org/officeDocument/2006/relationships/oleObject" Target="../embeddings/oleObject453.bin"/><Relationship Id="rId5" Type="http://schemas.openxmlformats.org/officeDocument/2006/relationships/slideMaster" Target="../slideMasters/slideMaster55.xml"/><Relationship Id="rId4" Type="http://schemas.openxmlformats.org/officeDocument/2006/relationships/tags" Target="../tags/tag1670.xml"/></Relationships>
</file>

<file path=ppt/slideLayouts/_rels/slideLayout50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54.bin"/><Relationship Id="rId3" Type="http://schemas.openxmlformats.org/officeDocument/2006/relationships/tags" Target="../tags/tag1672.xml"/><Relationship Id="rId7" Type="http://schemas.openxmlformats.org/officeDocument/2006/relationships/slideMaster" Target="../slideMasters/slideMaster55.xml"/><Relationship Id="rId2" Type="http://schemas.openxmlformats.org/officeDocument/2006/relationships/tags" Target="../tags/tag1671.xml"/><Relationship Id="rId1" Type="http://schemas.openxmlformats.org/officeDocument/2006/relationships/vmlDrawing" Target="../drawings/vmlDrawing430.vml"/><Relationship Id="rId6" Type="http://schemas.openxmlformats.org/officeDocument/2006/relationships/tags" Target="../tags/tag1675.xml"/><Relationship Id="rId5" Type="http://schemas.openxmlformats.org/officeDocument/2006/relationships/tags" Target="../tags/tag1674.xml"/><Relationship Id="rId4" Type="http://schemas.openxmlformats.org/officeDocument/2006/relationships/tags" Target="../tags/tag1673.xml"/></Relationships>
</file>

<file path=ppt/slideLayouts/_rels/slideLayout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5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5.bin"/><Relationship Id="rId2" Type="http://schemas.openxmlformats.org/officeDocument/2006/relationships/slideMaster" Target="../slideMasters/slideMaster55.xml"/><Relationship Id="rId1" Type="http://schemas.openxmlformats.org/officeDocument/2006/relationships/vmlDrawing" Target="../drawings/vmlDrawing431.vml"/></Relationships>
</file>

<file path=ppt/slideLayouts/_rels/slideLayout5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6.xml"/><Relationship Id="rId3" Type="http://schemas.openxmlformats.org/officeDocument/2006/relationships/tags" Target="../tags/tag1685.xml"/><Relationship Id="rId7" Type="http://schemas.openxmlformats.org/officeDocument/2006/relationships/tags" Target="../tags/tag1689.xml"/><Relationship Id="rId12" Type="http://schemas.openxmlformats.org/officeDocument/2006/relationships/image" Target="../media/image5.png"/><Relationship Id="rId2" Type="http://schemas.openxmlformats.org/officeDocument/2006/relationships/tags" Target="../tags/tag1684.xml"/><Relationship Id="rId1" Type="http://schemas.openxmlformats.org/officeDocument/2006/relationships/vmlDrawing" Target="../drawings/vmlDrawing433.vml"/><Relationship Id="rId6" Type="http://schemas.openxmlformats.org/officeDocument/2006/relationships/tags" Target="../tags/tag1688.xml"/><Relationship Id="rId11" Type="http://schemas.openxmlformats.org/officeDocument/2006/relationships/image" Target="../media/image4.emf"/><Relationship Id="rId5" Type="http://schemas.openxmlformats.org/officeDocument/2006/relationships/tags" Target="../tags/tag1687.xml"/><Relationship Id="rId10" Type="http://schemas.openxmlformats.org/officeDocument/2006/relationships/oleObject" Target="../embeddings/oleObject457.bin"/><Relationship Id="rId4" Type="http://schemas.openxmlformats.org/officeDocument/2006/relationships/tags" Target="../tags/tag1686.xml"/><Relationship Id="rId9" Type="http://schemas.openxmlformats.org/officeDocument/2006/relationships/image" Target="../media/image3.jpeg"/></Relationships>
</file>

<file path=ppt/slideLayouts/_rels/slideLayout5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6.xml"/><Relationship Id="rId3" Type="http://schemas.openxmlformats.org/officeDocument/2006/relationships/tags" Target="../tags/tag1691.xml"/><Relationship Id="rId7" Type="http://schemas.openxmlformats.org/officeDocument/2006/relationships/tags" Target="../tags/tag1695.xml"/><Relationship Id="rId12" Type="http://schemas.openxmlformats.org/officeDocument/2006/relationships/image" Target="../media/image4.emf"/><Relationship Id="rId2" Type="http://schemas.openxmlformats.org/officeDocument/2006/relationships/tags" Target="../tags/tag1690.xml"/><Relationship Id="rId1" Type="http://schemas.openxmlformats.org/officeDocument/2006/relationships/vmlDrawing" Target="../drawings/vmlDrawing434.vml"/><Relationship Id="rId6" Type="http://schemas.openxmlformats.org/officeDocument/2006/relationships/tags" Target="../tags/tag1694.xml"/><Relationship Id="rId11" Type="http://schemas.openxmlformats.org/officeDocument/2006/relationships/image" Target="../media/image5.png"/><Relationship Id="rId5" Type="http://schemas.openxmlformats.org/officeDocument/2006/relationships/tags" Target="../tags/tag1693.xml"/><Relationship Id="rId10" Type="http://schemas.openxmlformats.org/officeDocument/2006/relationships/oleObject" Target="../embeddings/oleObject458.bin"/><Relationship Id="rId4" Type="http://schemas.openxmlformats.org/officeDocument/2006/relationships/tags" Target="../tags/tag1692.xml"/><Relationship Id="rId9" Type="http://schemas.openxmlformats.org/officeDocument/2006/relationships/image" Target="../media/image6.jpeg"/></Relationships>
</file>

<file path=ppt/slideLayouts/_rels/slideLayout512.xml.rels><?xml version="1.0" encoding="UTF-8" standalone="yes"?>
<Relationships xmlns="http://schemas.openxmlformats.org/package/2006/relationships"><Relationship Id="rId3" Type="http://schemas.openxmlformats.org/officeDocument/2006/relationships/tags" Target="../tags/tag1697.xml"/><Relationship Id="rId7" Type="http://schemas.openxmlformats.org/officeDocument/2006/relationships/oleObject" Target="../embeddings/oleObject459.bin"/><Relationship Id="rId2" Type="http://schemas.openxmlformats.org/officeDocument/2006/relationships/tags" Target="../tags/tag1696.xml"/><Relationship Id="rId1" Type="http://schemas.openxmlformats.org/officeDocument/2006/relationships/vmlDrawing" Target="../drawings/vmlDrawing435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56.xml"/><Relationship Id="rId4" Type="http://schemas.openxmlformats.org/officeDocument/2006/relationships/tags" Target="../tags/tag1698.xml"/></Relationships>
</file>

<file path=ppt/slideLayouts/_rels/slideLayout5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6.xml"/><Relationship Id="rId2" Type="http://schemas.openxmlformats.org/officeDocument/2006/relationships/tags" Target="../tags/tag1699.xml"/><Relationship Id="rId1" Type="http://schemas.openxmlformats.org/officeDocument/2006/relationships/vmlDrawing" Target="../drawings/vmlDrawing436.vml"/><Relationship Id="rId4" Type="http://schemas.openxmlformats.org/officeDocument/2006/relationships/oleObject" Target="../embeddings/oleObject460.bin"/></Relationships>
</file>

<file path=ppt/slideLayouts/_rels/slideLayout514.xml.rels><?xml version="1.0" encoding="UTF-8" standalone="yes"?>
<Relationships xmlns="http://schemas.openxmlformats.org/package/2006/relationships"><Relationship Id="rId3" Type="http://schemas.openxmlformats.org/officeDocument/2006/relationships/tags" Target="../tags/tag1701.xml"/><Relationship Id="rId2" Type="http://schemas.openxmlformats.org/officeDocument/2006/relationships/tags" Target="../tags/tag1700.xml"/><Relationship Id="rId1" Type="http://schemas.openxmlformats.org/officeDocument/2006/relationships/vmlDrawing" Target="../drawings/vmlDrawing437.vml"/><Relationship Id="rId6" Type="http://schemas.openxmlformats.org/officeDocument/2006/relationships/oleObject" Target="../embeddings/oleObject461.bin"/><Relationship Id="rId5" Type="http://schemas.openxmlformats.org/officeDocument/2006/relationships/slideMaster" Target="../slideMasters/slideMaster56.xml"/><Relationship Id="rId4" Type="http://schemas.openxmlformats.org/officeDocument/2006/relationships/tags" Target="../tags/tag1702.xml"/></Relationships>
</file>

<file path=ppt/slideLayouts/_rels/slideLayout515.xml.rels><?xml version="1.0" encoding="UTF-8" standalone="yes"?>
<Relationships xmlns="http://schemas.openxmlformats.org/package/2006/relationships"><Relationship Id="rId3" Type="http://schemas.openxmlformats.org/officeDocument/2006/relationships/tags" Target="../tags/tag1704.xml"/><Relationship Id="rId2" Type="http://schemas.openxmlformats.org/officeDocument/2006/relationships/tags" Target="../tags/tag1703.xml"/><Relationship Id="rId1" Type="http://schemas.openxmlformats.org/officeDocument/2006/relationships/vmlDrawing" Target="../drawings/vmlDrawing438.vml"/><Relationship Id="rId6" Type="http://schemas.openxmlformats.org/officeDocument/2006/relationships/oleObject" Target="../embeddings/oleObject462.bin"/><Relationship Id="rId5" Type="http://schemas.openxmlformats.org/officeDocument/2006/relationships/slideMaster" Target="../slideMasters/slideMaster56.xml"/><Relationship Id="rId4" Type="http://schemas.openxmlformats.org/officeDocument/2006/relationships/tags" Target="../tags/tag1705.xml"/></Relationships>
</file>

<file path=ppt/slideLayouts/_rels/slideLayout5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63.bin"/><Relationship Id="rId3" Type="http://schemas.openxmlformats.org/officeDocument/2006/relationships/tags" Target="../tags/tag1707.xml"/><Relationship Id="rId7" Type="http://schemas.openxmlformats.org/officeDocument/2006/relationships/slideMaster" Target="../slideMasters/slideMaster56.xml"/><Relationship Id="rId2" Type="http://schemas.openxmlformats.org/officeDocument/2006/relationships/tags" Target="../tags/tag1706.xml"/><Relationship Id="rId1" Type="http://schemas.openxmlformats.org/officeDocument/2006/relationships/vmlDrawing" Target="../drawings/vmlDrawing439.vml"/><Relationship Id="rId6" Type="http://schemas.openxmlformats.org/officeDocument/2006/relationships/tags" Target="../tags/tag1710.xml"/><Relationship Id="rId5" Type="http://schemas.openxmlformats.org/officeDocument/2006/relationships/tags" Target="../tags/tag1709.xml"/><Relationship Id="rId4" Type="http://schemas.openxmlformats.org/officeDocument/2006/relationships/tags" Target="../tags/tag1708.xml"/></Relationships>
</file>

<file path=ppt/slideLayouts/_rels/slideLayout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5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4.bin"/><Relationship Id="rId2" Type="http://schemas.openxmlformats.org/officeDocument/2006/relationships/slideMaster" Target="../slideMasters/slideMaster56.xml"/><Relationship Id="rId1" Type="http://schemas.openxmlformats.org/officeDocument/2006/relationships/vmlDrawing" Target="../drawings/vmlDrawing440.vml"/></Relationships>
</file>

<file path=ppt/slideLayouts/_rels/slideLayout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53.xml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Layouts/_rels/slideLayout5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7.xml"/><Relationship Id="rId3" Type="http://schemas.openxmlformats.org/officeDocument/2006/relationships/tags" Target="../tags/tag1720.xml"/><Relationship Id="rId7" Type="http://schemas.openxmlformats.org/officeDocument/2006/relationships/tags" Target="../tags/tag1724.xml"/><Relationship Id="rId12" Type="http://schemas.openxmlformats.org/officeDocument/2006/relationships/image" Target="../media/image5.png"/><Relationship Id="rId2" Type="http://schemas.openxmlformats.org/officeDocument/2006/relationships/tags" Target="../tags/tag1719.xml"/><Relationship Id="rId1" Type="http://schemas.openxmlformats.org/officeDocument/2006/relationships/vmlDrawing" Target="../drawings/vmlDrawing442.vml"/><Relationship Id="rId6" Type="http://schemas.openxmlformats.org/officeDocument/2006/relationships/tags" Target="../tags/tag1723.xml"/><Relationship Id="rId11" Type="http://schemas.openxmlformats.org/officeDocument/2006/relationships/image" Target="../media/image4.emf"/><Relationship Id="rId5" Type="http://schemas.openxmlformats.org/officeDocument/2006/relationships/tags" Target="../tags/tag1722.xml"/><Relationship Id="rId10" Type="http://schemas.openxmlformats.org/officeDocument/2006/relationships/oleObject" Target="../embeddings/oleObject466.bin"/><Relationship Id="rId4" Type="http://schemas.openxmlformats.org/officeDocument/2006/relationships/tags" Target="../tags/tag1721.xml"/><Relationship Id="rId9" Type="http://schemas.openxmlformats.org/officeDocument/2006/relationships/image" Target="../media/image3.jpeg"/></Relationships>
</file>

<file path=ppt/slideLayouts/_rels/slideLayout52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7.xml"/><Relationship Id="rId3" Type="http://schemas.openxmlformats.org/officeDocument/2006/relationships/tags" Target="../tags/tag1726.xml"/><Relationship Id="rId7" Type="http://schemas.openxmlformats.org/officeDocument/2006/relationships/tags" Target="../tags/tag1730.xml"/><Relationship Id="rId12" Type="http://schemas.openxmlformats.org/officeDocument/2006/relationships/image" Target="../media/image4.emf"/><Relationship Id="rId2" Type="http://schemas.openxmlformats.org/officeDocument/2006/relationships/tags" Target="../tags/tag1725.xml"/><Relationship Id="rId1" Type="http://schemas.openxmlformats.org/officeDocument/2006/relationships/vmlDrawing" Target="../drawings/vmlDrawing443.vml"/><Relationship Id="rId6" Type="http://schemas.openxmlformats.org/officeDocument/2006/relationships/tags" Target="../tags/tag1729.xml"/><Relationship Id="rId11" Type="http://schemas.openxmlformats.org/officeDocument/2006/relationships/image" Target="../media/image5.png"/><Relationship Id="rId5" Type="http://schemas.openxmlformats.org/officeDocument/2006/relationships/tags" Target="../tags/tag1728.xml"/><Relationship Id="rId10" Type="http://schemas.openxmlformats.org/officeDocument/2006/relationships/oleObject" Target="../embeddings/oleObject467.bin"/><Relationship Id="rId4" Type="http://schemas.openxmlformats.org/officeDocument/2006/relationships/tags" Target="../tags/tag1727.xml"/><Relationship Id="rId9" Type="http://schemas.openxmlformats.org/officeDocument/2006/relationships/image" Target="../media/image6.jpeg"/></Relationships>
</file>

<file path=ppt/slideLayouts/_rels/slideLayout522.xml.rels><?xml version="1.0" encoding="UTF-8" standalone="yes"?>
<Relationships xmlns="http://schemas.openxmlformats.org/package/2006/relationships"><Relationship Id="rId3" Type="http://schemas.openxmlformats.org/officeDocument/2006/relationships/tags" Target="../tags/tag1732.xml"/><Relationship Id="rId7" Type="http://schemas.openxmlformats.org/officeDocument/2006/relationships/oleObject" Target="../embeddings/oleObject468.bin"/><Relationship Id="rId2" Type="http://schemas.openxmlformats.org/officeDocument/2006/relationships/tags" Target="../tags/tag1731.xml"/><Relationship Id="rId1" Type="http://schemas.openxmlformats.org/officeDocument/2006/relationships/vmlDrawing" Target="../drawings/vmlDrawing444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57.xml"/><Relationship Id="rId4" Type="http://schemas.openxmlformats.org/officeDocument/2006/relationships/tags" Target="../tags/tag1733.xml"/></Relationships>
</file>

<file path=ppt/slideLayouts/_rels/slideLayout5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7.xml"/><Relationship Id="rId2" Type="http://schemas.openxmlformats.org/officeDocument/2006/relationships/tags" Target="../tags/tag1734.xml"/><Relationship Id="rId1" Type="http://schemas.openxmlformats.org/officeDocument/2006/relationships/vmlDrawing" Target="../drawings/vmlDrawing445.vml"/><Relationship Id="rId4" Type="http://schemas.openxmlformats.org/officeDocument/2006/relationships/oleObject" Target="../embeddings/oleObject469.bin"/></Relationships>
</file>

<file path=ppt/slideLayouts/_rels/slideLayout524.xml.rels><?xml version="1.0" encoding="UTF-8" standalone="yes"?>
<Relationships xmlns="http://schemas.openxmlformats.org/package/2006/relationships"><Relationship Id="rId3" Type="http://schemas.openxmlformats.org/officeDocument/2006/relationships/tags" Target="../tags/tag1736.xml"/><Relationship Id="rId2" Type="http://schemas.openxmlformats.org/officeDocument/2006/relationships/tags" Target="../tags/tag1735.xml"/><Relationship Id="rId1" Type="http://schemas.openxmlformats.org/officeDocument/2006/relationships/vmlDrawing" Target="../drawings/vmlDrawing446.vml"/><Relationship Id="rId6" Type="http://schemas.openxmlformats.org/officeDocument/2006/relationships/oleObject" Target="../embeddings/oleObject470.bin"/><Relationship Id="rId5" Type="http://schemas.openxmlformats.org/officeDocument/2006/relationships/slideMaster" Target="../slideMasters/slideMaster57.xml"/><Relationship Id="rId4" Type="http://schemas.openxmlformats.org/officeDocument/2006/relationships/tags" Target="../tags/tag1737.xml"/></Relationships>
</file>

<file path=ppt/slideLayouts/_rels/slideLayout525.xml.rels><?xml version="1.0" encoding="UTF-8" standalone="yes"?>
<Relationships xmlns="http://schemas.openxmlformats.org/package/2006/relationships"><Relationship Id="rId3" Type="http://schemas.openxmlformats.org/officeDocument/2006/relationships/tags" Target="../tags/tag1739.xml"/><Relationship Id="rId2" Type="http://schemas.openxmlformats.org/officeDocument/2006/relationships/tags" Target="../tags/tag1738.xml"/><Relationship Id="rId1" Type="http://schemas.openxmlformats.org/officeDocument/2006/relationships/vmlDrawing" Target="../drawings/vmlDrawing447.vml"/><Relationship Id="rId6" Type="http://schemas.openxmlformats.org/officeDocument/2006/relationships/oleObject" Target="../embeddings/oleObject471.bin"/><Relationship Id="rId5" Type="http://schemas.openxmlformats.org/officeDocument/2006/relationships/slideMaster" Target="../slideMasters/slideMaster57.xml"/><Relationship Id="rId4" Type="http://schemas.openxmlformats.org/officeDocument/2006/relationships/tags" Target="../tags/tag1740.xml"/></Relationships>
</file>

<file path=ppt/slideLayouts/_rels/slideLayout5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72.bin"/><Relationship Id="rId3" Type="http://schemas.openxmlformats.org/officeDocument/2006/relationships/tags" Target="../tags/tag1742.xml"/><Relationship Id="rId7" Type="http://schemas.openxmlformats.org/officeDocument/2006/relationships/slideMaster" Target="../slideMasters/slideMaster57.xml"/><Relationship Id="rId2" Type="http://schemas.openxmlformats.org/officeDocument/2006/relationships/tags" Target="../tags/tag1741.xml"/><Relationship Id="rId1" Type="http://schemas.openxmlformats.org/officeDocument/2006/relationships/vmlDrawing" Target="../drawings/vmlDrawing448.vml"/><Relationship Id="rId6" Type="http://schemas.openxmlformats.org/officeDocument/2006/relationships/tags" Target="../tags/tag1745.xml"/><Relationship Id="rId5" Type="http://schemas.openxmlformats.org/officeDocument/2006/relationships/tags" Target="../tags/tag1744.xml"/><Relationship Id="rId4" Type="http://schemas.openxmlformats.org/officeDocument/2006/relationships/tags" Target="../tags/tag1743.xml"/></Relationships>
</file>

<file path=ppt/slideLayouts/_rels/slideLayout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5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3.bin"/><Relationship Id="rId2" Type="http://schemas.openxmlformats.org/officeDocument/2006/relationships/slideMaster" Target="../slideMasters/slideMaster57.xml"/><Relationship Id="rId1" Type="http://schemas.openxmlformats.org/officeDocument/2006/relationships/vmlDrawing" Target="../drawings/vmlDrawing449.vml"/></Relationships>
</file>

<file path=ppt/slideLayouts/_rels/slideLayout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8.xml"/><Relationship Id="rId3" Type="http://schemas.openxmlformats.org/officeDocument/2006/relationships/tags" Target="../tags/tag1755.xml"/><Relationship Id="rId7" Type="http://schemas.openxmlformats.org/officeDocument/2006/relationships/tags" Target="../tags/tag1759.xml"/><Relationship Id="rId12" Type="http://schemas.openxmlformats.org/officeDocument/2006/relationships/image" Target="../media/image5.png"/><Relationship Id="rId2" Type="http://schemas.openxmlformats.org/officeDocument/2006/relationships/tags" Target="../tags/tag1754.xml"/><Relationship Id="rId1" Type="http://schemas.openxmlformats.org/officeDocument/2006/relationships/vmlDrawing" Target="../drawings/vmlDrawing451.vml"/><Relationship Id="rId6" Type="http://schemas.openxmlformats.org/officeDocument/2006/relationships/tags" Target="../tags/tag1758.xml"/><Relationship Id="rId11" Type="http://schemas.openxmlformats.org/officeDocument/2006/relationships/image" Target="../media/image4.emf"/><Relationship Id="rId5" Type="http://schemas.openxmlformats.org/officeDocument/2006/relationships/tags" Target="../tags/tag1757.xml"/><Relationship Id="rId10" Type="http://schemas.openxmlformats.org/officeDocument/2006/relationships/oleObject" Target="../embeddings/oleObject475.bin"/><Relationship Id="rId4" Type="http://schemas.openxmlformats.org/officeDocument/2006/relationships/tags" Target="../tags/tag1756.xml"/><Relationship Id="rId9" Type="http://schemas.openxmlformats.org/officeDocument/2006/relationships/image" Target="../media/image3.jpeg"/></Relationships>
</file>

<file path=ppt/slideLayouts/_rels/slideLayout53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8.xml"/><Relationship Id="rId3" Type="http://schemas.openxmlformats.org/officeDocument/2006/relationships/tags" Target="../tags/tag1761.xml"/><Relationship Id="rId7" Type="http://schemas.openxmlformats.org/officeDocument/2006/relationships/tags" Target="../tags/tag1765.xml"/><Relationship Id="rId12" Type="http://schemas.openxmlformats.org/officeDocument/2006/relationships/image" Target="../media/image4.emf"/><Relationship Id="rId2" Type="http://schemas.openxmlformats.org/officeDocument/2006/relationships/tags" Target="../tags/tag1760.xml"/><Relationship Id="rId1" Type="http://schemas.openxmlformats.org/officeDocument/2006/relationships/vmlDrawing" Target="../drawings/vmlDrawing452.vml"/><Relationship Id="rId6" Type="http://schemas.openxmlformats.org/officeDocument/2006/relationships/tags" Target="../tags/tag1764.xml"/><Relationship Id="rId11" Type="http://schemas.openxmlformats.org/officeDocument/2006/relationships/image" Target="../media/image5.png"/><Relationship Id="rId5" Type="http://schemas.openxmlformats.org/officeDocument/2006/relationships/tags" Target="../tags/tag1763.xml"/><Relationship Id="rId10" Type="http://schemas.openxmlformats.org/officeDocument/2006/relationships/oleObject" Target="../embeddings/oleObject476.bin"/><Relationship Id="rId4" Type="http://schemas.openxmlformats.org/officeDocument/2006/relationships/tags" Target="../tags/tag1762.xml"/><Relationship Id="rId9" Type="http://schemas.openxmlformats.org/officeDocument/2006/relationships/image" Target="../media/image6.jpeg"/></Relationships>
</file>

<file path=ppt/slideLayouts/_rels/slideLayout532.xml.rels><?xml version="1.0" encoding="UTF-8" standalone="yes"?>
<Relationships xmlns="http://schemas.openxmlformats.org/package/2006/relationships"><Relationship Id="rId3" Type="http://schemas.openxmlformats.org/officeDocument/2006/relationships/tags" Target="../tags/tag1767.xml"/><Relationship Id="rId7" Type="http://schemas.openxmlformats.org/officeDocument/2006/relationships/oleObject" Target="../embeddings/oleObject477.bin"/><Relationship Id="rId2" Type="http://schemas.openxmlformats.org/officeDocument/2006/relationships/tags" Target="../tags/tag1766.xml"/><Relationship Id="rId1" Type="http://schemas.openxmlformats.org/officeDocument/2006/relationships/vmlDrawing" Target="../drawings/vmlDrawing453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58.xml"/><Relationship Id="rId4" Type="http://schemas.openxmlformats.org/officeDocument/2006/relationships/tags" Target="../tags/tag1768.xml"/></Relationships>
</file>

<file path=ppt/slideLayouts/_rels/slideLayout5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8.xml"/><Relationship Id="rId2" Type="http://schemas.openxmlformats.org/officeDocument/2006/relationships/tags" Target="../tags/tag1769.xml"/><Relationship Id="rId1" Type="http://schemas.openxmlformats.org/officeDocument/2006/relationships/vmlDrawing" Target="../drawings/vmlDrawing454.vml"/><Relationship Id="rId4" Type="http://schemas.openxmlformats.org/officeDocument/2006/relationships/oleObject" Target="../embeddings/oleObject478.bin"/></Relationships>
</file>

<file path=ppt/slideLayouts/_rels/slideLayout534.xml.rels><?xml version="1.0" encoding="UTF-8" standalone="yes"?>
<Relationships xmlns="http://schemas.openxmlformats.org/package/2006/relationships"><Relationship Id="rId3" Type="http://schemas.openxmlformats.org/officeDocument/2006/relationships/tags" Target="../tags/tag1771.xml"/><Relationship Id="rId2" Type="http://schemas.openxmlformats.org/officeDocument/2006/relationships/tags" Target="../tags/tag1770.xml"/><Relationship Id="rId1" Type="http://schemas.openxmlformats.org/officeDocument/2006/relationships/vmlDrawing" Target="../drawings/vmlDrawing455.vml"/><Relationship Id="rId6" Type="http://schemas.openxmlformats.org/officeDocument/2006/relationships/oleObject" Target="../embeddings/oleObject479.bin"/><Relationship Id="rId5" Type="http://schemas.openxmlformats.org/officeDocument/2006/relationships/slideMaster" Target="../slideMasters/slideMaster58.xml"/><Relationship Id="rId4" Type="http://schemas.openxmlformats.org/officeDocument/2006/relationships/tags" Target="../tags/tag1772.xml"/></Relationships>
</file>

<file path=ppt/slideLayouts/_rels/slideLayout535.xml.rels><?xml version="1.0" encoding="UTF-8" standalone="yes"?>
<Relationships xmlns="http://schemas.openxmlformats.org/package/2006/relationships"><Relationship Id="rId3" Type="http://schemas.openxmlformats.org/officeDocument/2006/relationships/tags" Target="../tags/tag1774.xml"/><Relationship Id="rId2" Type="http://schemas.openxmlformats.org/officeDocument/2006/relationships/tags" Target="../tags/tag1773.xml"/><Relationship Id="rId1" Type="http://schemas.openxmlformats.org/officeDocument/2006/relationships/vmlDrawing" Target="../drawings/vmlDrawing456.vml"/><Relationship Id="rId6" Type="http://schemas.openxmlformats.org/officeDocument/2006/relationships/oleObject" Target="../embeddings/oleObject480.bin"/><Relationship Id="rId5" Type="http://schemas.openxmlformats.org/officeDocument/2006/relationships/slideMaster" Target="../slideMasters/slideMaster58.xml"/><Relationship Id="rId4" Type="http://schemas.openxmlformats.org/officeDocument/2006/relationships/tags" Target="../tags/tag1775.xml"/></Relationships>
</file>

<file path=ppt/slideLayouts/_rels/slideLayout53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81.bin"/><Relationship Id="rId3" Type="http://schemas.openxmlformats.org/officeDocument/2006/relationships/tags" Target="../tags/tag1777.xml"/><Relationship Id="rId7" Type="http://schemas.openxmlformats.org/officeDocument/2006/relationships/slideMaster" Target="../slideMasters/slideMaster58.xml"/><Relationship Id="rId2" Type="http://schemas.openxmlformats.org/officeDocument/2006/relationships/tags" Target="../tags/tag1776.xml"/><Relationship Id="rId1" Type="http://schemas.openxmlformats.org/officeDocument/2006/relationships/vmlDrawing" Target="../drawings/vmlDrawing457.vml"/><Relationship Id="rId6" Type="http://schemas.openxmlformats.org/officeDocument/2006/relationships/tags" Target="../tags/tag1780.xml"/><Relationship Id="rId5" Type="http://schemas.openxmlformats.org/officeDocument/2006/relationships/tags" Target="../tags/tag1779.xml"/><Relationship Id="rId4" Type="http://schemas.openxmlformats.org/officeDocument/2006/relationships/tags" Target="../tags/tag1778.xml"/></Relationships>
</file>

<file path=ppt/slideLayouts/_rels/slideLayout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5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2.bin"/><Relationship Id="rId2" Type="http://schemas.openxmlformats.org/officeDocument/2006/relationships/slideMaster" Target="../slideMasters/slideMaster58.xml"/><Relationship Id="rId1" Type="http://schemas.openxmlformats.org/officeDocument/2006/relationships/vmlDrawing" Target="../drawings/vmlDrawing458.vml"/></Relationships>
</file>

<file path=ppt/slideLayouts/_rels/slideLayout5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9.xml"/><Relationship Id="rId3" Type="http://schemas.openxmlformats.org/officeDocument/2006/relationships/tags" Target="../tags/tag1790.xml"/><Relationship Id="rId7" Type="http://schemas.openxmlformats.org/officeDocument/2006/relationships/tags" Target="../tags/tag1794.xml"/><Relationship Id="rId12" Type="http://schemas.openxmlformats.org/officeDocument/2006/relationships/image" Target="../media/image5.png"/><Relationship Id="rId2" Type="http://schemas.openxmlformats.org/officeDocument/2006/relationships/tags" Target="../tags/tag1789.xml"/><Relationship Id="rId1" Type="http://schemas.openxmlformats.org/officeDocument/2006/relationships/vmlDrawing" Target="../drawings/vmlDrawing460.vml"/><Relationship Id="rId6" Type="http://schemas.openxmlformats.org/officeDocument/2006/relationships/tags" Target="../tags/tag1793.xml"/><Relationship Id="rId11" Type="http://schemas.openxmlformats.org/officeDocument/2006/relationships/image" Target="../media/image4.emf"/><Relationship Id="rId5" Type="http://schemas.openxmlformats.org/officeDocument/2006/relationships/tags" Target="../tags/tag1792.xml"/><Relationship Id="rId10" Type="http://schemas.openxmlformats.org/officeDocument/2006/relationships/oleObject" Target="../embeddings/oleObject484.bin"/><Relationship Id="rId4" Type="http://schemas.openxmlformats.org/officeDocument/2006/relationships/tags" Target="../tags/tag1791.xml"/><Relationship Id="rId9" Type="http://schemas.openxmlformats.org/officeDocument/2006/relationships/image" Target="../media/image3.jpeg"/></Relationships>
</file>

<file path=ppt/slideLayouts/_rels/slideLayout54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9.xml"/><Relationship Id="rId3" Type="http://schemas.openxmlformats.org/officeDocument/2006/relationships/tags" Target="../tags/tag1796.xml"/><Relationship Id="rId7" Type="http://schemas.openxmlformats.org/officeDocument/2006/relationships/tags" Target="../tags/tag1800.xml"/><Relationship Id="rId12" Type="http://schemas.openxmlformats.org/officeDocument/2006/relationships/image" Target="../media/image4.emf"/><Relationship Id="rId2" Type="http://schemas.openxmlformats.org/officeDocument/2006/relationships/tags" Target="../tags/tag1795.xml"/><Relationship Id="rId1" Type="http://schemas.openxmlformats.org/officeDocument/2006/relationships/vmlDrawing" Target="../drawings/vmlDrawing461.vml"/><Relationship Id="rId6" Type="http://schemas.openxmlformats.org/officeDocument/2006/relationships/tags" Target="../tags/tag1799.xml"/><Relationship Id="rId11" Type="http://schemas.openxmlformats.org/officeDocument/2006/relationships/image" Target="../media/image5.png"/><Relationship Id="rId5" Type="http://schemas.openxmlformats.org/officeDocument/2006/relationships/tags" Target="../tags/tag1798.xml"/><Relationship Id="rId10" Type="http://schemas.openxmlformats.org/officeDocument/2006/relationships/oleObject" Target="../embeddings/oleObject485.bin"/><Relationship Id="rId4" Type="http://schemas.openxmlformats.org/officeDocument/2006/relationships/tags" Target="../tags/tag1797.xml"/><Relationship Id="rId9" Type="http://schemas.openxmlformats.org/officeDocument/2006/relationships/image" Target="../media/image6.jpeg"/></Relationships>
</file>

<file path=ppt/slideLayouts/_rels/slideLayout542.xml.rels><?xml version="1.0" encoding="UTF-8" standalone="yes"?>
<Relationships xmlns="http://schemas.openxmlformats.org/package/2006/relationships"><Relationship Id="rId3" Type="http://schemas.openxmlformats.org/officeDocument/2006/relationships/tags" Target="../tags/tag1802.xml"/><Relationship Id="rId7" Type="http://schemas.openxmlformats.org/officeDocument/2006/relationships/oleObject" Target="../embeddings/oleObject486.bin"/><Relationship Id="rId2" Type="http://schemas.openxmlformats.org/officeDocument/2006/relationships/tags" Target="../tags/tag1801.xml"/><Relationship Id="rId1" Type="http://schemas.openxmlformats.org/officeDocument/2006/relationships/vmlDrawing" Target="../drawings/vmlDrawing462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59.xml"/><Relationship Id="rId4" Type="http://schemas.openxmlformats.org/officeDocument/2006/relationships/tags" Target="../tags/tag1803.xml"/></Relationships>
</file>

<file path=ppt/slideLayouts/_rels/slideLayout5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9.xml"/><Relationship Id="rId2" Type="http://schemas.openxmlformats.org/officeDocument/2006/relationships/tags" Target="../tags/tag1804.xml"/><Relationship Id="rId1" Type="http://schemas.openxmlformats.org/officeDocument/2006/relationships/vmlDrawing" Target="../drawings/vmlDrawing463.vml"/><Relationship Id="rId4" Type="http://schemas.openxmlformats.org/officeDocument/2006/relationships/oleObject" Target="../embeddings/oleObject487.bin"/></Relationships>
</file>

<file path=ppt/slideLayouts/_rels/slideLayout544.xml.rels><?xml version="1.0" encoding="UTF-8" standalone="yes"?>
<Relationships xmlns="http://schemas.openxmlformats.org/package/2006/relationships"><Relationship Id="rId3" Type="http://schemas.openxmlformats.org/officeDocument/2006/relationships/tags" Target="../tags/tag1806.xml"/><Relationship Id="rId2" Type="http://schemas.openxmlformats.org/officeDocument/2006/relationships/tags" Target="../tags/tag1805.xml"/><Relationship Id="rId1" Type="http://schemas.openxmlformats.org/officeDocument/2006/relationships/vmlDrawing" Target="../drawings/vmlDrawing464.vml"/><Relationship Id="rId6" Type="http://schemas.openxmlformats.org/officeDocument/2006/relationships/oleObject" Target="../embeddings/oleObject488.bin"/><Relationship Id="rId5" Type="http://schemas.openxmlformats.org/officeDocument/2006/relationships/slideMaster" Target="../slideMasters/slideMaster59.xml"/><Relationship Id="rId4" Type="http://schemas.openxmlformats.org/officeDocument/2006/relationships/tags" Target="../tags/tag1807.xml"/></Relationships>
</file>

<file path=ppt/slideLayouts/_rels/slideLayout545.xml.rels><?xml version="1.0" encoding="UTF-8" standalone="yes"?>
<Relationships xmlns="http://schemas.openxmlformats.org/package/2006/relationships"><Relationship Id="rId3" Type="http://schemas.openxmlformats.org/officeDocument/2006/relationships/tags" Target="../tags/tag1809.xml"/><Relationship Id="rId2" Type="http://schemas.openxmlformats.org/officeDocument/2006/relationships/tags" Target="../tags/tag1808.xml"/><Relationship Id="rId1" Type="http://schemas.openxmlformats.org/officeDocument/2006/relationships/vmlDrawing" Target="../drawings/vmlDrawing465.vml"/><Relationship Id="rId6" Type="http://schemas.openxmlformats.org/officeDocument/2006/relationships/oleObject" Target="../embeddings/oleObject489.bin"/><Relationship Id="rId5" Type="http://schemas.openxmlformats.org/officeDocument/2006/relationships/slideMaster" Target="../slideMasters/slideMaster59.xml"/><Relationship Id="rId4" Type="http://schemas.openxmlformats.org/officeDocument/2006/relationships/tags" Target="../tags/tag1810.xml"/></Relationships>
</file>

<file path=ppt/slideLayouts/_rels/slideLayout54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90.bin"/><Relationship Id="rId3" Type="http://schemas.openxmlformats.org/officeDocument/2006/relationships/tags" Target="../tags/tag1812.xml"/><Relationship Id="rId7" Type="http://schemas.openxmlformats.org/officeDocument/2006/relationships/slideMaster" Target="../slideMasters/slideMaster59.xml"/><Relationship Id="rId2" Type="http://schemas.openxmlformats.org/officeDocument/2006/relationships/tags" Target="../tags/tag1811.xml"/><Relationship Id="rId1" Type="http://schemas.openxmlformats.org/officeDocument/2006/relationships/vmlDrawing" Target="../drawings/vmlDrawing466.vml"/><Relationship Id="rId6" Type="http://schemas.openxmlformats.org/officeDocument/2006/relationships/tags" Target="../tags/tag1815.xml"/><Relationship Id="rId5" Type="http://schemas.openxmlformats.org/officeDocument/2006/relationships/tags" Target="../tags/tag1814.xml"/><Relationship Id="rId4" Type="http://schemas.openxmlformats.org/officeDocument/2006/relationships/tags" Target="../tags/tag1813.xml"/></Relationships>
</file>

<file path=ppt/slideLayouts/_rels/slideLayout5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5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1.bin"/><Relationship Id="rId2" Type="http://schemas.openxmlformats.org/officeDocument/2006/relationships/slideMaster" Target="../slideMasters/slideMaster59.xml"/><Relationship Id="rId1" Type="http://schemas.openxmlformats.org/officeDocument/2006/relationships/vmlDrawing" Target="../drawings/vmlDrawing467.vml"/></Relationships>
</file>

<file path=ppt/slideLayouts/_rels/slideLayout5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19.png"/><Relationship Id="rId2" Type="http://schemas.openxmlformats.org/officeDocument/2006/relationships/tags" Target="../tags/tag162.xml"/><Relationship Id="rId1" Type="http://schemas.openxmlformats.org/officeDocument/2006/relationships/tags" Target="../tags/tag161.xml"/><Relationship Id="rId6" Type="http://schemas.openxmlformats.org/officeDocument/2006/relationships/image" Target="../media/image53.png"/><Relationship Id="rId5" Type="http://schemas.openxmlformats.org/officeDocument/2006/relationships/image" Target="../media/image48.png"/><Relationship Id="rId10" Type="http://schemas.openxmlformats.org/officeDocument/2006/relationships/image" Target="../media/image55.png"/><Relationship Id="rId4" Type="http://schemas.openxmlformats.org/officeDocument/2006/relationships/image" Target="../media/image52.png"/><Relationship Id="rId9" Type="http://schemas.openxmlformats.org/officeDocument/2006/relationships/image" Target="../media/image54.png"/></Relationships>
</file>

<file path=ppt/slideLayouts/_rels/slideLayout55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0.xml"/><Relationship Id="rId3" Type="http://schemas.openxmlformats.org/officeDocument/2006/relationships/tags" Target="../tags/tag1825.xml"/><Relationship Id="rId7" Type="http://schemas.openxmlformats.org/officeDocument/2006/relationships/tags" Target="../tags/tag1829.xml"/><Relationship Id="rId12" Type="http://schemas.openxmlformats.org/officeDocument/2006/relationships/image" Target="../media/image5.png"/><Relationship Id="rId2" Type="http://schemas.openxmlformats.org/officeDocument/2006/relationships/tags" Target="../tags/tag1824.xml"/><Relationship Id="rId1" Type="http://schemas.openxmlformats.org/officeDocument/2006/relationships/vmlDrawing" Target="../drawings/vmlDrawing469.vml"/><Relationship Id="rId6" Type="http://schemas.openxmlformats.org/officeDocument/2006/relationships/tags" Target="../tags/tag1828.xml"/><Relationship Id="rId11" Type="http://schemas.openxmlformats.org/officeDocument/2006/relationships/image" Target="../media/image4.emf"/><Relationship Id="rId5" Type="http://schemas.openxmlformats.org/officeDocument/2006/relationships/tags" Target="../tags/tag1827.xml"/><Relationship Id="rId10" Type="http://schemas.openxmlformats.org/officeDocument/2006/relationships/oleObject" Target="../embeddings/oleObject493.bin"/><Relationship Id="rId4" Type="http://schemas.openxmlformats.org/officeDocument/2006/relationships/tags" Target="../tags/tag1826.xml"/><Relationship Id="rId9" Type="http://schemas.openxmlformats.org/officeDocument/2006/relationships/image" Target="../media/image3.jpeg"/></Relationships>
</file>

<file path=ppt/slideLayouts/_rels/slideLayout55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0.xml"/><Relationship Id="rId3" Type="http://schemas.openxmlformats.org/officeDocument/2006/relationships/tags" Target="../tags/tag1831.xml"/><Relationship Id="rId7" Type="http://schemas.openxmlformats.org/officeDocument/2006/relationships/tags" Target="../tags/tag1835.xml"/><Relationship Id="rId12" Type="http://schemas.openxmlformats.org/officeDocument/2006/relationships/image" Target="../media/image4.emf"/><Relationship Id="rId2" Type="http://schemas.openxmlformats.org/officeDocument/2006/relationships/tags" Target="../tags/tag1830.xml"/><Relationship Id="rId1" Type="http://schemas.openxmlformats.org/officeDocument/2006/relationships/vmlDrawing" Target="../drawings/vmlDrawing470.vml"/><Relationship Id="rId6" Type="http://schemas.openxmlformats.org/officeDocument/2006/relationships/tags" Target="../tags/tag1834.xml"/><Relationship Id="rId11" Type="http://schemas.openxmlformats.org/officeDocument/2006/relationships/image" Target="../media/image5.png"/><Relationship Id="rId5" Type="http://schemas.openxmlformats.org/officeDocument/2006/relationships/tags" Target="../tags/tag1833.xml"/><Relationship Id="rId10" Type="http://schemas.openxmlformats.org/officeDocument/2006/relationships/oleObject" Target="../embeddings/oleObject494.bin"/><Relationship Id="rId4" Type="http://schemas.openxmlformats.org/officeDocument/2006/relationships/tags" Target="../tags/tag1832.xml"/><Relationship Id="rId9" Type="http://schemas.openxmlformats.org/officeDocument/2006/relationships/image" Target="../media/image6.jpeg"/></Relationships>
</file>

<file path=ppt/slideLayouts/_rels/slideLayout552.xml.rels><?xml version="1.0" encoding="UTF-8" standalone="yes"?>
<Relationships xmlns="http://schemas.openxmlformats.org/package/2006/relationships"><Relationship Id="rId3" Type="http://schemas.openxmlformats.org/officeDocument/2006/relationships/tags" Target="../tags/tag1837.xml"/><Relationship Id="rId7" Type="http://schemas.openxmlformats.org/officeDocument/2006/relationships/oleObject" Target="../embeddings/oleObject495.bin"/><Relationship Id="rId2" Type="http://schemas.openxmlformats.org/officeDocument/2006/relationships/tags" Target="../tags/tag1836.xml"/><Relationship Id="rId1" Type="http://schemas.openxmlformats.org/officeDocument/2006/relationships/vmlDrawing" Target="../drawings/vmlDrawing471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60.xml"/><Relationship Id="rId4" Type="http://schemas.openxmlformats.org/officeDocument/2006/relationships/tags" Target="../tags/tag1838.xml"/></Relationships>
</file>

<file path=ppt/slideLayouts/_rels/slideLayout5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0.xml"/><Relationship Id="rId2" Type="http://schemas.openxmlformats.org/officeDocument/2006/relationships/tags" Target="../tags/tag1839.xml"/><Relationship Id="rId1" Type="http://schemas.openxmlformats.org/officeDocument/2006/relationships/vmlDrawing" Target="../drawings/vmlDrawing472.vml"/><Relationship Id="rId4" Type="http://schemas.openxmlformats.org/officeDocument/2006/relationships/oleObject" Target="../embeddings/oleObject496.bin"/></Relationships>
</file>

<file path=ppt/slideLayouts/_rels/slideLayout554.xml.rels><?xml version="1.0" encoding="UTF-8" standalone="yes"?>
<Relationships xmlns="http://schemas.openxmlformats.org/package/2006/relationships"><Relationship Id="rId3" Type="http://schemas.openxmlformats.org/officeDocument/2006/relationships/tags" Target="../tags/tag1841.xml"/><Relationship Id="rId2" Type="http://schemas.openxmlformats.org/officeDocument/2006/relationships/tags" Target="../tags/tag1840.xml"/><Relationship Id="rId1" Type="http://schemas.openxmlformats.org/officeDocument/2006/relationships/vmlDrawing" Target="../drawings/vmlDrawing473.vml"/><Relationship Id="rId6" Type="http://schemas.openxmlformats.org/officeDocument/2006/relationships/oleObject" Target="../embeddings/oleObject497.bin"/><Relationship Id="rId5" Type="http://schemas.openxmlformats.org/officeDocument/2006/relationships/slideMaster" Target="../slideMasters/slideMaster60.xml"/><Relationship Id="rId4" Type="http://schemas.openxmlformats.org/officeDocument/2006/relationships/tags" Target="../tags/tag1842.xml"/></Relationships>
</file>

<file path=ppt/slideLayouts/_rels/slideLayout555.xml.rels><?xml version="1.0" encoding="UTF-8" standalone="yes"?>
<Relationships xmlns="http://schemas.openxmlformats.org/package/2006/relationships"><Relationship Id="rId3" Type="http://schemas.openxmlformats.org/officeDocument/2006/relationships/tags" Target="../tags/tag1844.xml"/><Relationship Id="rId2" Type="http://schemas.openxmlformats.org/officeDocument/2006/relationships/tags" Target="../tags/tag1843.xml"/><Relationship Id="rId1" Type="http://schemas.openxmlformats.org/officeDocument/2006/relationships/vmlDrawing" Target="../drawings/vmlDrawing474.vml"/><Relationship Id="rId6" Type="http://schemas.openxmlformats.org/officeDocument/2006/relationships/oleObject" Target="../embeddings/oleObject498.bin"/><Relationship Id="rId5" Type="http://schemas.openxmlformats.org/officeDocument/2006/relationships/slideMaster" Target="../slideMasters/slideMaster60.xml"/><Relationship Id="rId4" Type="http://schemas.openxmlformats.org/officeDocument/2006/relationships/tags" Target="../tags/tag1845.xml"/></Relationships>
</file>

<file path=ppt/slideLayouts/_rels/slideLayout55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99.bin"/><Relationship Id="rId3" Type="http://schemas.openxmlformats.org/officeDocument/2006/relationships/tags" Target="../tags/tag1847.xml"/><Relationship Id="rId7" Type="http://schemas.openxmlformats.org/officeDocument/2006/relationships/slideMaster" Target="../slideMasters/slideMaster60.xml"/><Relationship Id="rId2" Type="http://schemas.openxmlformats.org/officeDocument/2006/relationships/tags" Target="../tags/tag1846.xml"/><Relationship Id="rId1" Type="http://schemas.openxmlformats.org/officeDocument/2006/relationships/vmlDrawing" Target="../drawings/vmlDrawing475.vml"/><Relationship Id="rId6" Type="http://schemas.openxmlformats.org/officeDocument/2006/relationships/tags" Target="../tags/tag1850.xml"/><Relationship Id="rId5" Type="http://schemas.openxmlformats.org/officeDocument/2006/relationships/tags" Target="../tags/tag1849.xml"/><Relationship Id="rId4" Type="http://schemas.openxmlformats.org/officeDocument/2006/relationships/tags" Target="../tags/tag1848.xml"/></Relationships>
</file>

<file path=ppt/slideLayouts/_rels/slideLayout5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5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0.bin"/><Relationship Id="rId2" Type="http://schemas.openxmlformats.org/officeDocument/2006/relationships/slideMaster" Target="../slideMasters/slideMaster60.xml"/><Relationship Id="rId1" Type="http://schemas.openxmlformats.org/officeDocument/2006/relationships/vmlDrawing" Target="../drawings/vmlDrawing476.vml"/></Relationships>
</file>

<file path=ppt/slideLayouts/_rels/slideLayout5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1.png"/></Relationships>
</file>

<file path=ppt/slideLayouts/_rels/slideLayout56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1.xml"/><Relationship Id="rId3" Type="http://schemas.openxmlformats.org/officeDocument/2006/relationships/tags" Target="../tags/tag1860.xml"/><Relationship Id="rId7" Type="http://schemas.openxmlformats.org/officeDocument/2006/relationships/tags" Target="../tags/tag1864.xml"/><Relationship Id="rId12" Type="http://schemas.openxmlformats.org/officeDocument/2006/relationships/image" Target="../media/image5.png"/><Relationship Id="rId2" Type="http://schemas.openxmlformats.org/officeDocument/2006/relationships/tags" Target="../tags/tag1859.xml"/><Relationship Id="rId1" Type="http://schemas.openxmlformats.org/officeDocument/2006/relationships/vmlDrawing" Target="../drawings/vmlDrawing478.vml"/><Relationship Id="rId6" Type="http://schemas.openxmlformats.org/officeDocument/2006/relationships/tags" Target="../tags/tag1863.xml"/><Relationship Id="rId11" Type="http://schemas.openxmlformats.org/officeDocument/2006/relationships/image" Target="../media/image4.emf"/><Relationship Id="rId5" Type="http://schemas.openxmlformats.org/officeDocument/2006/relationships/tags" Target="../tags/tag1862.xml"/><Relationship Id="rId10" Type="http://schemas.openxmlformats.org/officeDocument/2006/relationships/oleObject" Target="../embeddings/oleObject502.bin"/><Relationship Id="rId4" Type="http://schemas.openxmlformats.org/officeDocument/2006/relationships/tags" Target="../tags/tag1861.xml"/><Relationship Id="rId9" Type="http://schemas.openxmlformats.org/officeDocument/2006/relationships/image" Target="../media/image3.jpeg"/></Relationships>
</file>

<file path=ppt/slideLayouts/_rels/slideLayout56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1.xml"/><Relationship Id="rId3" Type="http://schemas.openxmlformats.org/officeDocument/2006/relationships/tags" Target="../tags/tag1866.xml"/><Relationship Id="rId7" Type="http://schemas.openxmlformats.org/officeDocument/2006/relationships/tags" Target="../tags/tag1870.xml"/><Relationship Id="rId12" Type="http://schemas.openxmlformats.org/officeDocument/2006/relationships/image" Target="../media/image4.emf"/><Relationship Id="rId2" Type="http://schemas.openxmlformats.org/officeDocument/2006/relationships/tags" Target="../tags/tag1865.xml"/><Relationship Id="rId1" Type="http://schemas.openxmlformats.org/officeDocument/2006/relationships/vmlDrawing" Target="../drawings/vmlDrawing479.vml"/><Relationship Id="rId6" Type="http://schemas.openxmlformats.org/officeDocument/2006/relationships/tags" Target="../tags/tag1869.xml"/><Relationship Id="rId11" Type="http://schemas.openxmlformats.org/officeDocument/2006/relationships/image" Target="../media/image5.png"/><Relationship Id="rId5" Type="http://schemas.openxmlformats.org/officeDocument/2006/relationships/tags" Target="../tags/tag1868.xml"/><Relationship Id="rId10" Type="http://schemas.openxmlformats.org/officeDocument/2006/relationships/oleObject" Target="../embeddings/oleObject503.bin"/><Relationship Id="rId4" Type="http://schemas.openxmlformats.org/officeDocument/2006/relationships/tags" Target="../tags/tag1867.xml"/><Relationship Id="rId9" Type="http://schemas.openxmlformats.org/officeDocument/2006/relationships/image" Target="../media/image6.jpeg"/></Relationships>
</file>

<file path=ppt/slideLayouts/_rels/slideLayout562.xml.rels><?xml version="1.0" encoding="UTF-8" standalone="yes"?>
<Relationships xmlns="http://schemas.openxmlformats.org/package/2006/relationships"><Relationship Id="rId3" Type="http://schemas.openxmlformats.org/officeDocument/2006/relationships/tags" Target="../tags/tag1872.xml"/><Relationship Id="rId7" Type="http://schemas.openxmlformats.org/officeDocument/2006/relationships/oleObject" Target="../embeddings/oleObject504.bin"/><Relationship Id="rId2" Type="http://schemas.openxmlformats.org/officeDocument/2006/relationships/tags" Target="../tags/tag1871.xml"/><Relationship Id="rId1" Type="http://schemas.openxmlformats.org/officeDocument/2006/relationships/vmlDrawing" Target="../drawings/vmlDrawing480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61.xml"/><Relationship Id="rId4" Type="http://schemas.openxmlformats.org/officeDocument/2006/relationships/tags" Target="../tags/tag1873.xml"/></Relationships>
</file>

<file path=ppt/slideLayouts/_rels/slideLayout5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1.xml"/><Relationship Id="rId2" Type="http://schemas.openxmlformats.org/officeDocument/2006/relationships/tags" Target="../tags/tag1874.xml"/><Relationship Id="rId1" Type="http://schemas.openxmlformats.org/officeDocument/2006/relationships/vmlDrawing" Target="../drawings/vmlDrawing481.vml"/><Relationship Id="rId4" Type="http://schemas.openxmlformats.org/officeDocument/2006/relationships/oleObject" Target="../embeddings/oleObject505.bin"/></Relationships>
</file>

<file path=ppt/slideLayouts/_rels/slideLayout564.xml.rels><?xml version="1.0" encoding="UTF-8" standalone="yes"?>
<Relationships xmlns="http://schemas.openxmlformats.org/package/2006/relationships"><Relationship Id="rId3" Type="http://schemas.openxmlformats.org/officeDocument/2006/relationships/tags" Target="../tags/tag1876.xml"/><Relationship Id="rId2" Type="http://schemas.openxmlformats.org/officeDocument/2006/relationships/tags" Target="../tags/tag1875.xml"/><Relationship Id="rId1" Type="http://schemas.openxmlformats.org/officeDocument/2006/relationships/vmlDrawing" Target="../drawings/vmlDrawing482.vml"/><Relationship Id="rId6" Type="http://schemas.openxmlformats.org/officeDocument/2006/relationships/oleObject" Target="../embeddings/oleObject506.bin"/><Relationship Id="rId5" Type="http://schemas.openxmlformats.org/officeDocument/2006/relationships/slideMaster" Target="../slideMasters/slideMaster61.xml"/><Relationship Id="rId4" Type="http://schemas.openxmlformats.org/officeDocument/2006/relationships/tags" Target="../tags/tag1877.xml"/></Relationships>
</file>

<file path=ppt/slideLayouts/_rels/slideLayout565.xml.rels><?xml version="1.0" encoding="UTF-8" standalone="yes"?>
<Relationships xmlns="http://schemas.openxmlformats.org/package/2006/relationships"><Relationship Id="rId3" Type="http://schemas.openxmlformats.org/officeDocument/2006/relationships/tags" Target="../tags/tag1879.xml"/><Relationship Id="rId2" Type="http://schemas.openxmlformats.org/officeDocument/2006/relationships/tags" Target="../tags/tag1878.xml"/><Relationship Id="rId1" Type="http://schemas.openxmlformats.org/officeDocument/2006/relationships/vmlDrawing" Target="../drawings/vmlDrawing483.vml"/><Relationship Id="rId6" Type="http://schemas.openxmlformats.org/officeDocument/2006/relationships/oleObject" Target="../embeddings/oleObject507.bin"/><Relationship Id="rId5" Type="http://schemas.openxmlformats.org/officeDocument/2006/relationships/slideMaster" Target="../slideMasters/slideMaster61.xml"/><Relationship Id="rId4" Type="http://schemas.openxmlformats.org/officeDocument/2006/relationships/tags" Target="../tags/tag1880.xml"/></Relationships>
</file>

<file path=ppt/slideLayouts/_rels/slideLayout56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08.bin"/><Relationship Id="rId3" Type="http://schemas.openxmlformats.org/officeDocument/2006/relationships/tags" Target="../tags/tag1882.xml"/><Relationship Id="rId7" Type="http://schemas.openxmlformats.org/officeDocument/2006/relationships/slideMaster" Target="../slideMasters/slideMaster61.xml"/><Relationship Id="rId2" Type="http://schemas.openxmlformats.org/officeDocument/2006/relationships/tags" Target="../tags/tag1881.xml"/><Relationship Id="rId1" Type="http://schemas.openxmlformats.org/officeDocument/2006/relationships/vmlDrawing" Target="../drawings/vmlDrawing484.vml"/><Relationship Id="rId6" Type="http://schemas.openxmlformats.org/officeDocument/2006/relationships/tags" Target="../tags/tag1885.xml"/><Relationship Id="rId5" Type="http://schemas.openxmlformats.org/officeDocument/2006/relationships/tags" Target="../tags/tag1884.xml"/><Relationship Id="rId4" Type="http://schemas.openxmlformats.org/officeDocument/2006/relationships/tags" Target="../tags/tag1883.xml"/></Relationships>
</file>

<file path=ppt/slideLayouts/_rels/slideLayout5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5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9.bin"/><Relationship Id="rId2" Type="http://schemas.openxmlformats.org/officeDocument/2006/relationships/slideMaster" Target="../slideMasters/slideMaster61.xml"/><Relationship Id="rId1" Type="http://schemas.openxmlformats.org/officeDocument/2006/relationships/vmlDrawing" Target="../drawings/vmlDrawing485.vml"/></Relationships>
</file>

<file path=ppt/slideLayouts/_rels/slideLayout5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1.png"/></Relationships>
</file>

<file path=ppt/slideLayouts/_rels/slideLayout57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2.xml"/><Relationship Id="rId3" Type="http://schemas.openxmlformats.org/officeDocument/2006/relationships/tags" Target="../tags/tag1895.xml"/><Relationship Id="rId7" Type="http://schemas.openxmlformats.org/officeDocument/2006/relationships/tags" Target="../tags/tag1899.xml"/><Relationship Id="rId12" Type="http://schemas.openxmlformats.org/officeDocument/2006/relationships/image" Target="../media/image5.png"/><Relationship Id="rId2" Type="http://schemas.openxmlformats.org/officeDocument/2006/relationships/tags" Target="../tags/tag1894.xml"/><Relationship Id="rId1" Type="http://schemas.openxmlformats.org/officeDocument/2006/relationships/vmlDrawing" Target="../drawings/vmlDrawing487.vml"/><Relationship Id="rId6" Type="http://schemas.openxmlformats.org/officeDocument/2006/relationships/tags" Target="../tags/tag1898.xml"/><Relationship Id="rId11" Type="http://schemas.openxmlformats.org/officeDocument/2006/relationships/image" Target="../media/image4.emf"/><Relationship Id="rId5" Type="http://schemas.openxmlformats.org/officeDocument/2006/relationships/tags" Target="../tags/tag1897.xml"/><Relationship Id="rId10" Type="http://schemas.openxmlformats.org/officeDocument/2006/relationships/oleObject" Target="../embeddings/oleObject511.bin"/><Relationship Id="rId4" Type="http://schemas.openxmlformats.org/officeDocument/2006/relationships/tags" Target="../tags/tag1896.xml"/><Relationship Id="rId9" Type="http://schemas.openxmlformats.org/officeDocument/2006/relationships/image" Target="../media/image3.jpeg"/></Relationships>
</file>

<file path=ppt/slideLayouts/_rels/slideLayout57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2.xml"/><Relationship Id="rId3" Type="http://schemas.openxmlformats.org/officeDocument/2006/relationships/tags" Target="../tags/tag1901.xml"/><Relationship Id="rId7" Type="http://schemas.openxmlformats.org/officeDocument/2006/relationships/tags" Target="../tags/tag1905.xml"/><Relationship Id="rId12" Type="http://schemas.openxmlformats.org/officeDocument/2006/relationships/image" Target="../media/image4.emf"/><Relationship Id="rId2" Type="http://schemas.openxmlformats.org/officeDocument/2006/relationships/tags" Target="../tags/tag1900.xml"/><Relationship Id="rId1" Type="http://schemas.openxmlformats.org/officeDocument/2006/relationships/vmlDrawing" Target="../drawings/vmlDrawing488.vml"/><Relationship Id="rId6" Type="http://schemas.openxmlformats.org/officeDocument/2006/relationships/tags" Target="../tags/tag1904.xml"/><Relationship Id="rId11" Type="http://schemas.openxmlformats.org/officeDocument/2006/relationships/image" Target="../media/image5.png"/><Relationship Id="rId5" Type="http://schemas.openxmlformats.org/officeDocument/2006/relationships/tags" Target="../tags/tag1903.xml"/><Relationship Id="rId10" Type="http://schemas.openxmlformats.org/officeDocument/2006/relationships/oleObject" Target="../embeddings/oleObject512.bin"/><Relationship Id="rId4" Type="http://schemas.openxmlformats.org/officeDocument/2006/relationships/tags" Target="../tags/tag1902.xml"/><Relationship Id="rId9" Type="http://schemas.openxmlformats.org/officeDocument/2006/relationships/image" Target="../media/image6.jpeg"/></Relationships>
</file>

<file path=ppt/slideLayouts/_rels/slideLayout572.xml.rels><?xml version="1.0" encoding="UTF-8" standalone="yes"?>
<Relationships xmlns="http://schemas.openxmlformats.org/package/2006/relationships"><Relationship Id="rId3" Type="http://schemas.openxmlformats.org/officeDocument/2006/relationships/tags" Target="../tags/tag1907.xml"/><Relationship Id="rId7" Type="http://schemas.openxmlformats.org/officeDocument/2006/relationships/oleObject" Target="../embeddings/oleObject513.bin"/><Relationship Id="rId2" Type="http://schemas.openxmlformats.org/officeDocument/2006/relationships/tags" Target="../tags/tag1906.xml"/><Relationship Id="rId1" Type="http://schemas.openxmlformats.org/officeDocument/2006/relationships/vmlDrawing" Target="../drawings/vmlDrawing489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62.xml"/><Relationship Id="rId4" Type="http://schemas.openxmlformats.org/officeDocument/2006/relationships/tags" Target="../tags/tag1908.xml"/></Relationships>
</file>

<file path=ppt/slideLayouts/_rels/slideLayout5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2.xml"/><Relationship Id="rId2" Type="http://schemas.openxmlformats.org/officeDocument/2006/relationships/tags" Target="../tags/tag1909.xml"/><Relationship Id="rId1" Type="http://schemas.openxmlformats.org/officeDocument/2006/relationships/vmlDrawing" Target="../drawings/vmlDrawing490.vml"/><Relationship Id="rId4" Type="http://schemas.openxmlformats.org/officeDocument/2006/relationships/oleObject" Target="../embeddings/oleObject514.bin"/></Relationships>
</file>

<file path=ppt/slideLayouts/_rels/slideLayout574.xml.rels><?xml version="1.0" encoding="UTF-8" standalone="yes"?>
<Relationships xmlns="http://schemas.openxmlformats.org/package/2006/relationships"><Relationship Id="rId3" Type="http://schemas.openxmlformats.org/officeDocument/2006/relationships/tags" Target="../tags/tag1911.xml"/><Relationship Id="rId2" Type="http://schemas.openxmlformats.org/officeDocument/2006/relationships/tags" Target="../tags/tag1910.xml"/><Relationship Id="rId1" Type="http://schemas.openxmlformats.org/officeDocument/2006/relationships/vmlDrawing" Target="../drawings/vmlDrawing491.vml"/><Relationship Id="rId6" Type="http://schemas.openxmlformats.org/officeDocument/2006/relationships/oleObject" Target="../embeddings/oleObject515.bin"/><Relationship Id="rId5" Type="http://schemas.openxmlformats.org/officeDocument/2006/relationships/slideMaster" Target="../slideMasters/slideMaster62.xml"/><Relationship Id="rId4" Type="http://schemas.openxmlformats.org/officeDocument/2006/relationships/tags" Target="../tags/tag1912.xml"/></Relationships>
</file>

<file path=ppt/slideLayouts/_rels/slideLayout575.xml.rels><?xml version="1.0" encoding="UTF-8" standalone="yes"?>
<Relationships xmlns="http://schemas.openxmlformats.org/package/2006/relationships"><Relationship Id="rId3" Type="http://schemas.openxmlformats.org/officeDocument/2006/relationships/tags" Target="../tags/tag1914.xml"/><Relationship Id="rId2" Type="http://schemas.openxmlformats.org/officeDocument/2006/relationships/tags" Target="../tags/tag1913.xml"/><Relationship Id="rId1" Type="http://schemas.openxmlformats.org/officeDocument/2006/relationships/vmlDrawing" Target="../drawings/vmlDrawing492.vml"/><Relationship Id="rId6" Type="http://schemas.openxmlformats.org/officeDocument/2006/relationships/oleObject" Target="../embeddings/oleObject516.bin"/><Relationship Id="rId5" Type="http://schemas.openxmlformats.org/officeDocument/2006/relationships/slideMaster" Target="../slideMasters/slideMaster62.xml"/><Relationship Id="rId4" Type="http://schemas.openxmlformats.org/officeDocument/2006/relationships/tags" Target="../tags/tag1915.xml"/></Relationships>
</file>

<file path=ppt/slideLayouts/_rels/slideLayout57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17.bin"/><Relationship Id="rId3" Type="http://schemas.openxmlformats.org/officeDocument/2006/relationships/tags" Target="../tags/tag1917.xml"/><Relationship Id="rId7" Type="http://schemas.openxmlformats.org/officeDocument/2006/relationships/slideMaster" Target="../slideMasters/slideMaster62.xml"/><Relationship Id="rId2" Type="http://schemas.openxmlformats.org/officeDocument/2006/relationships/tags" Target="../tags/tag1916.xml"/><Relationship Id="rId1" Type="http://schemas.openxmlformats.org/officeDocument/2006/relationships/vmlDrawing" Target="../drawings/vmlDrawing493.vml"/><Relationship Id="rId6" Type="http://schemas.openxmlformats.org/officeDocument/2006/relationships/tags" Target="../tags/tag1920.xml"/><Relationship Id="rId5" Type="http://schemas.openxmlformats.org/officeDocument/2006/relationships/tags" Target="../tags/tag1919.xml"/><Relationship Id="rId4" Type="http://schemas.openxmlformats.org/officeDocument/2006/relationships/tags" Target="../tags/tag1918.xml"/></Relationships>
</file>

<file path=ppt/slideLayouts/_rels/slideLayout5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5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8.bin"/><Relationship Id="rId2" Type="http://schemas.openxmlformats.org/officeDocument/2006/relationships/slideMaster" Target="../slideMasters/slideMaster62.xml"/><Relationship Id="rId1" Type="http://schemas.openxmlformats.org/officeDocument/2006/relationships/vmlDrawing" Target="../drawings/vmlDrawing494.vml"/></Relationships>
</file>

<file path=ppt/slideLayouts/_rels/slideLayout5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63.xml"/><Relationship Id="rId1" Type="http://schemas.openxmlformats.org/officeDocument/2006/relationships/vmlDrawing" Target="../drawings/vmlDrawing33.vml"/><Relationship Id="rId6" Type="http://schemas.openxmlformats.org/officeDocument/2006/relationships/oleObject" Target="../embeddings/oleObject34.bin"/><Relationship Id="rId5" Type="http://schemas.openxmlformats.org/officeDocument/2006/relationships/oleObject" Target="../embeddings/oleObject33.bin"/><Relationship Id="rId4" Type="http://schemas.openxmlformats.org/officeDocument/2006/relationships/image" Target="../media/image56.jpeg"/></Relationships>
</file>

<file path=ppt/slideLayouts/_rels/slideLayout58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3.xml"/><Relationship Id="rId3" Type="http://schemas.openxmlformats.org/officeDocument/2006/relationships/tags" Target="../tags/tag1930.xml"/><Relationship Id="rId7" Type="http://schemas.openxmlformats.org/officeDocument/2006/relationships/tags" Target="../tags/tag1934.xml"/><Relationship Id="rId12" Type="http://schemas.openxmlformats.org/officeDocument/2006/relationships/image" Target="../media/image5.png"/><Relationship Id="rId2" Type="http://schemas.openxmlformats.org/officeDocument/2006/relationships/tags" Target="../tags/tag1929.xml"/><Relationship Id="rId1" Type="http://schemas.openxmlformats.org/officeDocument/2006/relationships/vmlDrawing" Target="../drawings/vmlDrawing496.vml"/><Relationship Id="rId6" Type="http://schemas.openxmlformats.org/officeDocument/2006/relationships/tags" Target="../tags/tag1933.xml"/><Relationship Id="rId11" Type="http://schemas.openxmlformats.org/officeDocument/2006/relationships/image" Target="../media/image4.emf"/><Relationship Id="rId5" Type="http://schemas.openxmlformats.org/officeDocument/2006/relationships/tags" Target="../tags/tag1932.xml"/><Relationship Id="rId10" Type="http://schemas.openxmlformats.org/officeDocument/2006/relationships/oleObject" Target="../embeddings/oleObject520.bin"/><Relationship Id="rId4" Type="http://schemas.openxmlformats.org/officeDocument/2006/relationships/tags" Target="../tags/tag1931.xml"/><Relationship Id="rId9" Type="http://schemas.openxmlformats.org/officeDocument/2006/relationships/image" Target="../media/image3.jpeg"/></Relationships>
</file>

<file path=ppt/slideLayouts/_rels/slideLayout58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3.xml"/><Relationship Id="rId3" Type="http://schemas.openxmlformats.org/officeDocument/2006/relationships/tags" Target="../tags/tag1936.xml"/><Relationship Id="rId7" Type="http://schemas.openxmlformats.org/officeDocument/2006/relationships/tags" Target="../tags/tag1940.xml"/><Relationship Id="rId12" Type="http://schemas.openxmlformats.org/officeDocument/2006/relationships/image" Target="../media/image4.emf"/><Relationship Id="rId2" Type="http://schemas.openxmlformats.org/officeDocument/2006/relationships/tags" Target="../tags/tag1935.xml"/><Relationship Id="rId1" Type="http://schemas.openxmlformats.org/officeDocument/2006/relationships/vmlDrawing" Target="../drawings/vmlDrawing497.vml"/><Relationship Id="rId6" Type="http://schemas.openxmlformats.org/officeDocument/2006/relationships/tags" Target="../tags/tag1939.xml"/><Relationship Id="rId11" Type="http://schemas.openxmlformats.org/officeDocument/2006/relationships/image" Target="../media/image5.png"/><Relationship Id="rId5" Type="http://schemas.openxmlformats.org/officeDocument/2006/relationships/tags" Target="../tags/tag1938.xml"/><Relationship Id="rId10" Type="http://schemas.openxmlformats.org/officeDocument/2006/relationships/oleObject" Target="../embeddings/oleObject521.bin"/><Relationship Id="rId4" Type="http://schemas.openxmlformats.org/officeDocument/2006/relationships/tags" Target="../tags/tag1937.xml"/><Relationship Id="rId9" Type="http://schemas.openxmlformats.org/officeDocument/2006/relationships/image" Target="../media/image6.jpeg"/></Relationships>
</file>

<file path=ppt/slideLayouts/_rels/slideLayout582.xml.rels><?xml version="1.0" encoding="UTF-8" standalone="yes"?>
<Relationships xmlns="http://schemas.openxmlformats.org/package/2006/relationships"><Relationship Id="rId3" Type="http://schemas.openxmlformats.org/officeDocument/2006/relationships/tags" Target="../tags/tag1942.xml"/><Relationship Id="rId7" Type="http://schemas.openxmlformats.org/officeDocument/2006/relationships/oleObject" Target="../embeddings/oleObject522.bin"/><Relationship Id="rId2" Type="http://schemas.openxmlformats.org/officeDocument/2006/relationships/tags" Target="../tags/tag1941.xml"/><Relationship Id="rId1" Type="http://schemas.openxmlformats.org/officeDocument/2006/relationships/vmlDrawing" Target="../drawings/vmlDrawing498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63.xml"/><Relationship Id="rId4" Type="http://schemas.openxmlformats.org/officeDocument/2006/relationships/tags" Target="../tags/tag1943.xml"/></Relationships>
</file>

<file path=ppt/slideLayouts/_rels/slideLayout5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3.xml"/><Relationship Id="rId2" Type="http://schemas.openxmlformats.org/officeDocument/2006/relationships/tags" Target="../tags/tag1944.xml"/><Relationship Id="rId1" Type="http://schemas.openxmlformats.org/officeDocument/2006/relationships/vmlDrawing" Target="../drawings/vmlDrawing499.vml"/><Relationship Id="rId4" Type="http://schemas.openxmlformats.org/officeDocument/2006/relationships/oleObject" Target="../embeddings/oleObject523.bin"/></Relationships>
</file>

<file path=ppt/slideLayouts/_rels/slideLayout584.xml.rels><?xml version="1.0" encoding="UTF-8" standalone="yes"?>
<Relationships xmlns="http://schemas.openxmlformats.org/package/2006/relationships"><Relationship Id="rId3" Type="http://schemas.openxmlformats.org/officeDocument/2006/relationships/tags" Target="../tags/tag1946.xml"/><Relationship Id="rId2" Type="http://schemas.openxmlformats.org/officeDocument/2006/relationships/tags" Target="../tags/tag1945.xml"/><Relationship Id="rId1" Type="http://schemas.openxmlformats.org/officeDocument/2006/relationships/vmlDrawing" Target="../drawings/vmlDrawing500.vml"/><Relationship Id="rId6" Type="http://schemas.openxmlformats.org/officeDocument/2006/relationships/oleObject" Target="../embeddings/oleObject524.bin"/><Relationship Id="rId5" Type="http://schemas.openxmlformats.org/officeDocument/2006/relationships/slideMaster" Target="../slideMasters/slideMaster63.xml"/><Relationship Id="rId4" Type="http://schemas.openxmlformats.org/officeDocument/2006/relationships/tags" Target="../tags/tag1947.xml"/></Relationships>
</file>

<file path=ppt/slideLayouts/_rels/slideLayout585.xml.rels><?xml version="1.0" encoding="UTF-8" standalone="yes"?>
<Relationships xmlns="http://schemas.openxmlformats.org/package/2006/relationships"><Relationship Id="rId3" Type="http://schemas.openxmlformats.org/officeDocument/2006/relationships/tags" Target="../tags/tag1949.xml"/><Relationship Id="rId2" Type="http://schemas.openxmlformats.org/officeDocument/2006/relationships/tags" Target="../tags/tag1948.xml"/><Relationship Id="rId1" Type="http://schemas.openxmlformats.org/officeDocument/2006/relationships/vmlDrawing" Target="../drawings/vmlDrawing501.vml"/><Relationship Id="rId6" Type="http://schemas.openxmlformats.org/officeDocument/2006/relationships/oleObject" Target="../embeddings/oleObject525.bin"/><Relationship Id="rId5" Type="http://schemas.openxmlformats.org/officeDocument/2006/relationships/slideMaster" Target="../slideMasters/slideMaster63.xml"/><Relationship Id="rId4" Type="http://schemas.openxmlformats.org/officeDocument/2006/relationships/tags" Target="../tags/tag1950.xml"/></Relationships>
</file>

<file path=ppt/slideLayouts/_rels/slideLayout58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26.bin"/><Relationship Id="rId3" Type="http://schemas.openxmlformats.org/officeDocument/2006/relationships/tags" Target="../tags/tag1952.xml"/><Relationship Id="rId7" Type="http://schemas.openxmlformats.org/officeDocument/2006/relationships/slideMaster" Target="../slideMasters/slideMaster63.xml"/><Relationship Id="rId2" Type="http://schemas.openxmlformats.org/officeDocument/2006/relationships/tags" Target="../tags/tag1951.xml"/><Relationship Id="rId1" Type="http://schemas.openxmlformats.org/officeDocument/2006/relationships/vmlDrawing" Target="../drawings/vmlDrawing502.vml"/><Relationship Id="rId6" Type="http://schemas.openxmlformats.org/officeDocument/2006/relationships/tags" Target="../tags/tag1955.xml"/><Relationship Id="rId5" Type="http://schemas.openxmlformats.org/officeDocument/2006/relationships/tags" Target="../tags/tag1954.xml"/><Relationship Id="rId4" Type="http://schemas.openxmlformats.org/officeDocument/2006/relationships/tags" Target="../tags/tag1953.xml"/></Relationships>
</file>

<file path=ppt/slideLayouts/_rels/slideLayout5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5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7.bin"/><Relationship Id="rId2" Type="http://schemas.openxmlformats.org/officeDocument/2006/relationships/slideMaster" Target="../slideMasters/slideMaster63.xml"/><Relationship Id="rId1" Type="http://schemas.openxmlformats.org/officeDocument/2006/relationships/vmlDrawing" Target="../drawings/vmlDrawing503.vml"/></Relationships>
</file>

<file path=ppt/slideLayouts/_rels/slideLayout5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34.vml"/><Relationship Id="rId6" Type="http://schemas.openxmlformats.org/officeDocument/2006/relationships/oleObject" Target="../embeddings/oleObject36.bin"/><Relationship Id="rId5" Type="http://schemas.openxmlformats.org/officeDocument/2006/relationships/oleObject" Target="../embeddings/oleObject35.bin"/><Relationship Id="rId4" Type="http://schemas.openxmlformats.org/officeDocument/2006/relationships/image" Target="../media/image57.jpeg"/></Relationships>
</file>

<file path=ppt/slideLayouts/_rels/slideLayout59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4.xml"/><Relationship Id="rId3" Type="http://schemas.openxmlformats.org/officeDocument/2006/relationships/tags" Target="../tags/tag1965.xml"/><Relationship Id="rId7" Type="http://schemas.openxmlformats.org/officeDocument/2006/relationships/tags" Target="../tags/tag1969.xml"/><Relationship Id="rId12" Type="http://schemas.openxmlformats.org/officeDocument/2006/relationships/image" Target="../media/image5.png"/><Relationship Id="rId2" Type="http://schemas.openxmlformats.org/officeDocument/2006/relationships/tags" Target="../tags/tag1964.xml"/><Relationship Id="rId1" Type="http://schemas.openxmlformats.org/officeDocument/2006/relationships/vmlDrawing" Target="../drawings/vmlDrawing505.vml"/><Relationship Id="rId6" Type="http://schemas.openxmlformats.org/officeDocument/2006/relationships/tags" Target="../tags/tag1968.xml"/><Relationship Id="rId11" Type="http://schemas.openxmlformats.org/officeDocument/2006/relationships/image" Target="../media/image4.emf"/><Relationship Id="rId5" Type="http://schemas.openxmlformats.org/officeDocument/2006/relationships/tags" Target="../tags/tag1967.xml"/><Relationship Id="rId10" Type="http://schemas.openxmlformats.org/officeDocument/2006/relationships/oleObject" Target="../embeddings/oleObject529.bin"/><Relationship Id="rId4" Type="http://schemas.openxmlformats.org/officeDocument/2006/relationships/tags" Target="../tags/tag1966.xml"/><Relationship Id="rId9" Type="http://schemas.openxmlformats.org/officeDocument/2006/relationships/image" Target="../media/image3.jpeg"/></Relationships>
</file>

<file path=ppt/slideLayouts/_rels/slideLayout59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4.xml"/><Relationship Id="rId3" Type="http://schemas.openxmlformats.org/officeDocument/2006/relationships/tags" Target="../tags/tag1971.xml"/><Relationship Id="rId7" Type="http://schemas.openxmlformats.org/officeDocument/2006/relationships/tags" Target="../tags/tag1975.xml"/><Relationship Id="rId12" Type="http://schemas.openxmlformats.org/officeDocument/2006/relationships/image" Target="../media/image4.emf"/><Relationship Id="rId2" Type="http://schemas.openxmlformats.org/officeDocument/2006/relationships/tags" Target="../tags/tag1970.xml"/><Relationship Id="rId1" Type="http://schemas.openxmlformats.org/officeDocument/2006/relationships/vmlDrawing" Target="../drawings/vmlDrawing506.vml"/><Relationship Id="rId6" Type="http://schemas.openxmlformats.org/officeDocument/2006/relationships/tags" Target="../tags/tag1974.xml"/><Relationship Id="rId11" Type="http://schemas.openxmlformats.org/officeDocument/2006/relationships/image" Target="../media/image5.png"/><Relationship Id="rId5" Type="http://schemas.openxmlformats.org/officeDocument/2006/relationships/tags" Target="../tags/tag1973.xml"/><Relationship Id="rId10" Type="http://schemas.openxmlformats.org/officeDocument/2006/relationships/oleObject" Target="../embeddings/oleObject530.bin"/><Relationship Id="rId4" Type="http://schemas.openxmlformats.org/officeDocument/2006/relationships/tags" Target="../tags/tag1972.xml"/><Relationship Id="rId9" Type="http://schemas.openxmlformats.org/officeDocument/2006/relationships/image" Target="../media/image6.jpeg"/></Relationships>
</file>

<file path=ppt/slideLayouts/_rels/slideLayout592.xml.rels><?xml version="1.0" encoding="UTF-8" standalone="yes"?>
<Relationships xmlns="http://schemas.openxmlformats.org/package/2006/relationships"><Relationship Id="rId3" Type="http://schemas.openxmlformats.org/officeDocument/2006/relationships/tags" Target="../tags/tag1977.xml"/><Relationship Id="rId7" Type="http://schemas.openxmlformats.org/officeDocument/2006/relationships/oleObject" Target="../embeddings/oleObject531.bin"/><Relationship Id="rId2" Type="http://schemas.openxmlformats.org/officeDocument/2006/relationships/tags" Target="../tags/tag1976.xml"/><Relationship Id="rId1" Type="http://schemas.openxmlformats.org/officeDocument/2006/relationships/vmlDrawing" Target="../drawings/vmlDrawing507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64.xml"/><Relationship Id="rId4" Type="http://schemas.openxmlformats.org/officeDocument/2006/relationships/tags" Target="../tags/tag1978.xml"/></Relationships>
</file>

<file path=ppt/slideLayouts/_rels/slideLayout5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4.xml"/><Relationship Id="rId2" Type="http://schemas.openxmlformats.org/officeDocument/2006/relationships/tags" Target="../tags/tag1979.xml"/><Relationship Id="rId1" Type="http://schemas.openxmlformats.org/officeDocument/2006/relationships/vmlDrawing" Target="../drawings/vmlDrawing508.vml"/><Relationship Id="rId4" Type="http://schemas.openxmlformats.org/officeDocument/2006/relationships/oleObject" Target="../embeddings/oleObject532.bin"/></Relationships>
</file>

<file path=ppt/slideLayouts/_rels/slideLayout594.xml.rels><?xml version="1.0" encoding="UTF-8" standalone="yes"?>
<Relationships xmlns="http://schemas.openxmlformats.org/package/2006/relationships"><Relationship Id="rId3" Type="http://schemas.openxmlformats.org/officeDocument/2006/relationships/tags" Target="../tags/tag1981.xml"/><Relationship Id="rId2" Type="http://schemas.openxmlformats.org/officeDocument/2006/relationships/tags" Target="../tags/tag1980.xml"/><Relationship Id="rId1" Type="http://schemas.openxmlformats.org/officeDocument/2006/relationships/vmlDrawing" Target="../drawings/vmlDrawing509.vml"/><Relationship Id="rId6" Type="http://schemas.openxmlformats.org/officeDocument/2006/relationships/oleObject" Target="../embeddings/oleObject533.bin"/><Relationship Id="rId5" Type="http://schemas.openxmlformats.org/officeDocument/2006/relationships/slideMaster" Target="../slideMasters/slideMaster64.xml"/><Relationship Id="rId4" Type="http://schemas.openxmlformats.org/officeDocument/2006/relationships/tags" Target="../tags/tag1982.xml"/></Relationships>
</file>

<file path=ppt/slideLayouts/_rels/slideLayout595.xml.rels><?xml version="1.0" encoding="UTF-8" standalone="yes"?>
<Relationships xmlns="http://schemas.openxmlformats.org/package/2006/relationships"><Relationship Id="rId3" Type="http://schemas.openxmlformats.org/officeDocument/2006/relationships/tags" Target="../tags/tag1984.xml"/><Relationship Id="rId2" Type="http://schemas.openxmlformats.org/officeDocument/2006/relationships/tags" Target="../tags/tag1983.xml"/><Relationship Id="rId1" Type="http://schemas.openxmlformats.org/officeDocument/2006/relationships/vmlDrawing" Target="../drawings/vmlDrawing510.vml"/><Relationship Id="rId6" Type="http://schemas.openxmlformats.org/officeDocument/2006/relationships/oleObject" Target="../embeddings/oleObject534.bin"/><Relationship Id="rId5" Type="http://schemas.openxmlformats.org/officeDocument/2006/relationships/slideMaster" Target="../slideMasters/slideMaster64.xml"/><Relationship Id="rId4" Type="http://schemas.openxmlformats.org/officeDocument/2006/relationships/tags" Target="../tags/tag1985.xml"/></Relationships>
</file>

<file path=ppt/slideLayouts/_rels/slideLayout59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35.bin"/><Relationship Id="rId3" Type="http://schemas.openxmlformats.org/officeDocument/2006/relationships/tags" Target="../tags/tag1987.xml"/><Relationship Id="rId7" Type="http://schemas.openxmlformats.org/officeDocument/2006/relationships/slideMaster" Target="../slideMasters/slideMaster64.xml"/><Relationship Id="rId2" Type="http://schemas.openxmlformats.org/officeDocument/2006/relationships/tags" Target="../tags/tag1986.xml"/><Relationship Id="rId1" Type="http://schemas.openxmlformats.org/officeDocument/2006/relationships/vmlDrawing" Target="../drawings/vmlDrawing511.vml"/><Relationship Id="rId6" Type="http://schemas.openxmlformats.org/officeDocument/2006/relationships/tags" Target="../tags/tag1990.xml"/><Relationship Id="rId5" Type="http://schemas.openxmlformats.org/officeDocument/2006/relationships/tags" Target="../tags/tag1989.xml"/><Relationship Id="rId4" Type="http://schemas.openxmlformats.org/officeDocument/2006/relationships/tags" Target="../tags/tag1988.xml"/></Relationships>
</file>

<file path=ppt/slideLayouts/_rels/slideLayout5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5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6.bin"/><Relationship Id="rId2" Type="http://schemas.openxmlformats.org/officeDocument/2006/relationships/slideMaster" Target="../slideMasters/slideMaster64.xml"/><Relationship Id="rId1" Type="http://schemas.openxmlformats.org/officeDocument/2006/relationships/vmlDrawing" Target="../drawings/vmlDrawing512.vml"/></Relationships>
</file>

<file path=ppt/slideLayouts/_rels/slideLayout5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65.xml"/><Relationship Id="rId1" Type="http://schemas.openxmlformats.org/officeDocument/2006/relationships/vmlDrawing" Target="../drawings/vmlDrawing35.vml"/><Relationship Id="rId6" Type="http://schemas.openxmlformats.org/officeDocument/2006/relationships/oleObject" Target="../embeddings/oleObject38.bin"/><Relationship Id="rId5" Type="http://schemas.openxmlformats.org/officeDocument/2006/relationships/oleObject" Target="../embeddings/oleObject37.bin"/><Relationship Id="rId4" Type="http://schemas.openxmlformats.org/officeDocument/2006/relationships/image" Target="../media/image58.jpeg"/></Relationships>
</file>

<file path=ppt/slideLayouts/_rels/slideLayout60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5.xml"/><Relationship Id="rId3" Type="http://schemas.openxmlformats.org/officeDocument/2006/relationships/tags" Target="../tags/tag2000.xml"/><Relationship Id="rId7" Type="http://schemas.openxmlformats.org/officeDocument/2006/relationships/tags" Target="../tags/tag2004.xml"/><Relationship Id="rId12" Type="http://schemas.openxmlformats.org/officeDocument/2006/relationships/image" Target="../media/image5.png"/><Relationship Id="rId2" Type="http://schemas.openxmlformats.org/officeDocument/2006/relationships/tags" Target="../tags/tag1999.xml"/><Relationship Id="rId1" Type="http://schemas.openxmlformats.org/officeDocument/2006/relationships/vmlDrawing" Target="../drawings/vmlDrawing514.vml"/><Relationship Id="rId6" Type="http://schemas.openxmlformats.org/officeDocument/2006/relationships/tags" Target="../tags/tag2003.xml"/><Relationship Id="rId11" Type="http://schemas.openxmlformats.org/officeDocument/2006/relationships/image" Target="../media/image4.emf"/><Relationship Id="rId5" Type="http://schemas.openxmlformats.org/officeDocument/2006/relationships/tags" Target="../tags/tag2002.xml"/><Relationship Id="rId10" Type="http://schemas.openxmlformats.org/officeDocument/2006/relationships/oleObject" Target="../embeddings/oleObject538.bin"/><Relationship Id="rId4" Type="http://schemas.openxmlformats.org/officeDocument/2006/relationships/tags" Target="../tags/tag2001.xml"/><Relationship Id="rId9" Type="http://schemas.openxmlformats.org/officeDocument/2006/relationships/image" Target="../media/image3.jpeg"/></Relationships>
</file>

<file path=ppt/slideLayouts/_rels/slideLayout60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5.xml"/><Relationship Id="rId3" Type="http://schemas.openxmlformats.org/officeDocument/2006/relationships/tags" Target="../tags/tag2006.xml"/><Relationship Id="rId7" Type="http://schemas.openxmlformats.org/officeDocument/2006/relationships/tags" Target="../tags/tag2010.xml"/><Relationship Id="rId12" Type="http://schemas.openxmlformats.org/officeDocument/2006/relationships/image" Target="../media/image4.emf"/><Relationship Id="rId2" Type="http://schemas.openxmlformats.org/officeDocument/2006/relationships/tags" Target="../tags/tag2005.xml"/><Relationship Id="rId1" Type="http://schemas.openxmlformats.org/officeDocument/2006/relationships/vmlDrawing" Target="../drawings/vmlDrawing515.vml"/><Relationship Id="rId6" Type="http://schemas.openxmlformats.org/officeDocument/2006/relationships/tags" Target="../tags/tag2009.xml"/><Relationship Id="rId11" Type="http://schemas.openxmlformats.org/officeDocument/2006/relationships/image" Target="../media/image5.png"/><Relationship Id="rId5" Type="http://schemas.openxmlformats.org/officeDocument/2006/relationships/tags" Target="../tags/tag2008.xml"/><Relationship Id="rId10" Type="http://schemas.openxmlformats.org/officeDocument/2006/relationships/oleObject" Target="../embeddings/oleObject539.bin"/><Relationship Id="rId4" Type="http://schemas.openxmlformats.org/officeDocument/2006/relationships/tags" Target="../tags/tag2007.xml"/><Relationship Id="rId9" Type="http://schemas.openxmlformats.org/officeDocument/2006/relationships/image" Target="../media/image6.jpeg"/></Relationships>
</file>

<file path=ppt/slideLayouts/_rels/slideLayout602.xml.rels><?xml version="1.0" encoding="UTF-8" standalone="yes"?>
<Relationships xmlns="http://schemas.openxmlformats.org/package/2006/relationships"><Relationship Id="rId3" Type="http://schemas.openxmlformats.org/officeDocument/2006/relationships/tags" Target="../tags/tag2012.xml"/><Relationship Id="rId7" Type="http://schemas.openxmlformats.org/officeDocument/2006/relationships/oleObject" Target="../embeddings/oleObject540.bin"/><Relationship Id="rId2" Type="http://schemas.openxmlformats.org/officeDocument/2006/relationships/tags" Target="../tags/tag2011.xml"/><Relationship Id="rId1" Type="http://schemas.openxmlformats.org/officeDocument/2006/relationships/vmlDrawing" Target="../drawings/vmlDrawing516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65.xml"/><Relationship Id="rId4" Type="http://schemas.openxmlformats.org/officeDocument/2006/relationships/tags" Target="../tags/tag2013.xml"/></Relationships>
</file>

<file path=ppt/slideLayouts/_rels/slideLayout6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5.xml"/><Relationship Id="rId2" Type="http://schemas.openxmlformats.org/officeDocument/2006/relationships/tags" Target="../tags/tag2014.xml"/><Relationship Id="rId1" Type="http://schemas.openxmlformats.org/officeDocument/2006/relationships/vmlDrawing" Target="../drawings/vmlDrawing517.vml"/><Relationship Id="rId4" Type="http://schemas.openxmlformats.org/officeDocument/2006/relationships/oleObject" Target="../embeddings/oleObject541.bin"/></Relationships>
</file>

<file path=ppt/slideLayouts/_rels/slideLayout604.xml.rels><?xml version="1.0" encoding="UTF-8" standalone="yes"?>
<Relationships xmlns="http://schemas.openxmlformats.org/package/2006/relationships"><Relationship Id="rId3" Type="http://schemas.openxmlformats.org/officeDocument/2006/relationships/tags" Target="../tags/tag2016.xml"/><Relationship Id="rId2" Type="http://schemas.openxmlformats.org/officeDocument/2006/relationships/tags" Target="../tags/tag2015.xml"/><Relationship Id="rId1" Type="http://schemas.openxmlformats.org/officeDocument/2006/relationships/vmlDrawing" Target="../drawings/vmlDrawing518.vml"/><Relationship Id="rId6" Type="http://schemas.openxmlformats.org/officeDocument/2006/relationships/oleObject" Target="../embeddings/oleObject542.bin"/><Relationship Id="rId5" Type="http://schemas.openxmlformats.org/officeDocument/2006/relationships/slideMaster" Target="../slideMasters/slideMaster65.xml"/><Relationship Id="rId4" Type="http://schemas.openxmlformats.org/officeDocument/2006/relationships/tags" Target="../tags/tag2017.xml"/></Relationships>
</file>

<file path=ppt/slideLayouts/_rels/slideLayout605.xml.rels><?xml version="1.0" encoding="UTF-8" standalone="yes"?>
<Relationships xmlns="http://schemas.openxmlformats.org/package/2006/relationships"><Relationship Id="rId3" Type="http://schemas.openxmlformats.org/officeDocument/2006/relationships/tags" Target="../tags/tag2019.xml"/><Relationship Id="rId2" Type="http://schemas.openxmlformats.org/officeDocument/2006/relationships/tags" Target="../tags/tag2018.xml"/><Relationship Id="rId1" Type="http://schemas.openxmlformats.org/officeDocument/2006/relationships/vmlDrawing" Target="../drawings/vmlDrawing519.vml"/><Relationship Id="rId6" Type="http://schemas.openxmlformats.org/officeDocument/2006/relationships/oleObject" Target="../embeddings/oleObject543.bin"/><Relationship Id="rId5" Type="http://schemas.openxmlformats.org/officeDocument/2006/relationships/slideMaster" Target="../slideMasters/slideMaster65.xml"/><Relationship Id="rId4" Type="http://schemas.openxmlformats.org/officeDocument/2006/relationships/tags" Target="../tags/tag2020.xml"/></Relationships>
</file>

<file path=ppt/slideLayouts/_rels/slideLayout60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44.bin"/><Relationship Id="rId3" Type="http://schemas.openxmlformats.org/officeDocument/2006/relationships/tags" Target="../tags/tag2022.xml"/><Relationship Id="rId7" Type="http://schemas.openxmlformats.org/officeDocument/2006/relationships/slideMaster" Target="../slideMasters/slideMaster65.xml"/><Relationship Id="rId2" Type="http://schemas.openxmlformats.org/officeDocument/2006/relationships/tags" Target="../tags/tag2021.xml"/><Relationship Id="rId1" Type="http://schemas.openxmlformats.org/officeDocument/2006/relationships/vmlDrawing" Target="../drawings/vmlDrawing520.vml"/><Relationship Id="rId6" Type="http://schemas.openxmlformats.org/officeDocument/2006/relationships/tags" Target="../tags/tag2025.xml"/><Relationship Id="rId5" Type="http://schemas.openxmlformats.org/officeDocument/2006/relationships/tags" Target="../tags/tag2024.xml"/><Relationship Id="rId4" Type="http://schemas.openxmlformats.org/officeDocument/2006/relationships/tags" Target="../tags/tag2023.xml"/></Relationships>
</file>

<file path=ppt/slideLayouts/_rels/slideLayout6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6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5.bin"/><Relationship Id="rId2" Type="http://schemas.openxmlformats.org/officeDocument/2006/relationships/slideMaster" Target="../slideMasters/slideMaster65.xml"/><Relationship Id="rId1" Type="http://schemas.openxmlformats.org/officeDocument/2006/relationships/vmlDrawing" Target="../drawings/vmlDrawing521.vml"/></Relationships>
</file>

<file path=ppt/slideLayouts/_rels/slideLayout6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9.xml"/><Relationship Id="rId3" Type="http://schemas.openxmlformats.org/officeDocument/2006/relationships/tags" Target="../tags/tag175.xml"/><Relationship Id="rId7" Type="http://schemas.openxmlformats.org/officeDocument/2006/relationships/tags" Target="../tags/tag179.xml"/><Relationship Id="rId12" Type="http://schemas.openxmlformats.org/officeDocument/2006/relationships/image" Target="../media/image5.png"/><Relationship Id="rId2" Type="http://schemas.openxmlformats.org/officeDocument/2006/relationships/tags" Target="../tags/tag174.xml"/><Relationship Id="rId1" Type="http://schemas.openxmlformats.org/officeDocument/2006/relationships/vmlDrawing" Target="../drawings/vmlDrawing37.vml"/><Relationship Id="rId6" Type="http://schemas.openxmlformats.org/officeDocument/2006/relationships/tags" Target="../tags/tag178.xml"/><Relationship Id="rId11" Type="http://schemas.openxmlformats.org/officeDocument/2006/relationships/image" Target="../media/image4.emf"/><Relationship Id="rId5" Type="http://schemas.openxmlformats.org/officeDocument/2006/relationships/tags" Target="../tags/tag177.xml"/><Relationship Id="rId10" Type="http://schemas.openxmlformats.org/officeDocument/2006/relationships/oleObject" Target="../embeddings/oleObject40.bin"/><Relationship Id="rId4" Type="http://schemas.openxmlformats.org/officeDocument/2006/relationships/tags" Target="../tags/tag176.xml"/><Relationship Id="rId9" Type="http://schemas.openxmlformats.org/officeDocument/2006/relationships/image" Target="../media/image3.jpeg"/></Relationships>
</file>

<file path=ppt/slideLayouts/_rels/slideLayout6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6.xml"/><Relationship Id="rId3" Type="http://schemas.openxmlformats.org/officeDocument/2006/relationships/tags" Target="../tags/tag2035.xml"/><Relationship Id="rId7" Type="http://schemas.openxmlformats.org/officeDocument/2006/relationships/tags" Target="../tags/tag2039.xml"/><Relationship Id="rId12" Type="http://schemas.openxmlformats.org/officeDocument/2006/relationships/image" Target="../media/image5.png"/><Relationship Id="rId2" Type="http://schemas.openxmlformats.org/officeDocument/2006/relationships/tags" Target="../tags/tag2034.xml"/><Relationship Id="rId1" Type="http://schemas.openxmlformats.org/officeDocument/2006/relationships/vmlDrawing" Target="../drawings/vmlDrawing523.vml"/><Relationship Id="rId6" Type="http://schemas.openxmlformats.org/officeDocument/2006/relationships/tags" Target="../tags/tag2038.xml"/><Relationship Id="rId11" Type="http://schemas.openxmlformats.org/officeDocument/2006/relationships/image" Target="../media/image4.emf"/><Relationship Id="rId5" Type="http://schemas.openxmlformats.org/officeDocument/2006/relationships/tags" Target="../tags/tag2037.xml"/><Relationship Id="rId10" Type="http://schemas.openxmlformats.org/officeDocument/2006/relationships/oleObject" Target="../embeddings/oleObject547.bin"/><Relationship Id="rId4" Type="http://schemas.openxmlformats.org/officeDocument/2006/relationships/tags" Target="../tags/tag2036.xml"/><Relationship Id="rId9" Type="http://schemas.openxmlformats.org/officeDocument/2006/relationships/image" Target="../media/image3.jpeg"/></Relationships>
</file>

<file path=ppt/slideLayouts/_rels/slideLayout6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6.xml"/><Relationship Id="rId3" Type="http://schemas.openxmlformats.org/officeDocument/2006/relationships/tags" Target="../tags/tag2041.xml"/><Relationship Id="rId7" Type="http://schemas.openxmlformats.org/officeDocument/2006/relationships/tags" Target="../tags/tag2045.xml"/><Relationship Id="rId12" Type="http://schemas.openxmlformats.org/officeDocument/2006/relationships/image" Target="../media/image4.emf"/><Relationship Id="rId2" Type="http://schemas.openxmlformats.org/officeDocument/2006/relationships/tags" Target="../tags/tag2040.xml"/><Relationship Id="rId1" Type="http://schemas.openxmlformats.org/officeDocument/2006/relationships/vmlDrawing" Target="../drawings/vmlDrawing524.vml"/><Relationship Id="rId6" Type="http://schemas.openxmlformats.org/officeDocument/2006/relationships/tags" Target="../tags/tag2044.xml"/><Relationship Id="rId11" Type="http://schemas.openxmlformats.org/officeDocument/2006/relationships/image" Target="../media/image5.png"/><Relationship Id="rId5" Type="http://schemas.openxmlformats.org/officeDocument/2006/relationships/tags" Target="../tags/tag2043.xml"/><Relationship Id="rId10" Type="http://schemas.openxmlformats.org/officeDocument/2006/relationships/oleObject" Target="../embeddings/oleObject548.bin"/><Relationship Id="rId4" Type="http://schemas.openxmlformats.org/officeDocument/2006/relationships/tags" Target="../tags/tag2042.xml"/><Relationship Id="rId9" Type="http://schemas.openxmlformats.org/officeDocument/2006/relationships/image" Target="../media/image6.jpeg"/></Relationships>
</file>

<file path=ppt/slideLayouts/_rels/slideLayout612.xml.rels><?xml version="1.0" encoding="UTF-8" standalone="yes"?>
<Relationships xmlns="http://schemas.openxmlformats.org/package/2006/relationships"><Relationship Id="rId3" Type="http://schemas.openxmlformats.org/officeDocument/2006/relationships/tags" Target="../tags/tag2047.xml"/><Relationship Id="rId7" Type="http://schemas.openxmlformats.org/officeDocument/2006/relationships/oleObject" Target="../embeddings/oleObject549.bin"/><Relationship Id="rId2" Type="http://schemas.openxmlformats.org/officeDocument/2006/relationships/tags" Target="../tags/tag2046.xml"/><Relationship Id="rId1" Type="http://schemas.openxmlformats.org/officeDocument/2006/relationships/vmlDrawing" Target="../drawings/vmlDrawing525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66.xml"/><Relationship Id="rId4" Type="http://schemas.openxmlformats.org/officeDocument/2006/relationships/tags" Target="../tags/tag2048.xml"/></Relationships>
</file>

<file path=ppt/slideLayouts/_rels/slideLayout6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6.xml"/><Relationship Id="rId2" Type="http://schemas.openxmlformats.org/officeDocument/2006/relationships/tags" Target="../tags/tag2049.xml"/><Relationship Id="rId1" Type="http://schemas.openxmlformats.org/officeDocument/2006/relationships/vmlDrawing" Target="../drawings/vmlDrawing526.vml"/><Relationship Id="rId4" Type="http://schemas.openxmlformats.org/officeDocument/2006/relationships/oleObject" Target="../embeddings/oleObject550.bin"/></Relationships>
</file>

<file path=ppt/slideLayouts/_rels/slideLayout614.xml.rels><?xml version="1.0" encoding="UTF-8" standalone="yes"?>
<Relationships xmlns="http://schemas.openxmlformats.org/package/2006/relationships"><Relationship Id="rId3" Type="http://schemas.openxmlformats.org/officeDocument/2006/relationships/tags" Target="../tags/tag2051.xml"/><Relationship Id="rId2" Type="http://schemas.openxmlformats.org/officeDocument/2006/relationships/tags" Target="../tags/tag2050.xml"/><Relationship Id="rId1" Type="http://schemas.openxmlformats.org/officeDocument/2006/relationships/vmlDrawing" Target="../drawings/vmlDrawing527.vml"/><Relationship Id="rId6" Type="http://schemas.openxmlformats.org/officeDocument/2006/relationships/oleObject" Target="../embeddings/oleObject551.bin"/><Relationship Id="rId5" Type="http://schemas.openxmlformats.org/officeDocument/2006/relationships/slideMaster" Target="../slideMasters/slideMaster66.xml"/><Relationship Id="rId4" Type="http://schemas.openxmlformats.org/officeDocument/2006/relationships/tags" Target="../tags/tag2052.xml"/></Relationships>
</file>

<file path=ppt/slideLayouts/_rels/slideLayout615.xml.rels><?xml version="1.0" encoding="UTF-8" standalone="yes"?>
<Relationships xmlns="http://schemas.openxmlformats.org/package/2006/relationships"><Relationship Id="rId3" Type="http://schemas.openxmlformats.org/officeDocument/2006/relationships/tags" Target="../tags/tag2054.xml"/><Relationship Id="rId2" Type="http://schemas.openxmlformats.org/officeDocument/2006/relationships/tags" Target="../tags/tag2053.xml"/><Relationship Id="rId1" Type="http://schemas.openxmlformats.org/officeDocument/2006/relationships/vmlDrawing" Target="../drawings/vmlDrawing528.vml"/><Relationship Id="rId6" Type="http://schemas.openxmlformats.org/officeDocument/2006/relationships/oleObject" Target="../embeddings/oleObject552.bin"/><Relationship Id="rId5" Type="http://schemas.openxmlformats.org/officeDocument/2006/relationships/slideMaster" Target="../slideMasters/slideMaster66.xml"/><Relationship Id="rId4" Type="http://schemas.openxmlformats.org/officeDocument/2006/relationships/tags" Target="../tags/tag2055.xml"/></Relationships>
</file>

<file path=ppt/slideLayouts/_rels/slideLayout6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53.bin"/><Relationship Id="rId3" Type="http://schemas.openxmlformats.org/officeDocument/2006/relationships/tags" Target="../tags/tag2057.xml"/><Relationship Id="rId7" Type="http://schemas.openxmlformats.org/officeDocument/2006/relationships/slideMaster" Target="../slideMasters/slideMaster66.xml"/><Relationship Id="rId2" Type="http://schemas.openxmlformats.org/officeDocument/2006/relationships/tags" Target="../tags/tag2056.xml"/><Relationship Id="rId1" Type="http://schemas.openxmlformats.org/officeDocument/2006/relationships/vmlDrawing" Target="../drawings/vmlDrawing529.vml"/><Relationship Id="rId6" Type="http://schemas.openxmlformats.org/officeDocument/2006/relationships/tags" Target="../tags/tag2060.xml"/><Relationship Id="rId5" Type="http://schemas.openxmlformats.org/officeDocument/2006/relationships/tags" Target="../tags/tag2059.xml"/><Relationship Id="rId4" Type="http://schemas.openxmlformats.org/officeDocument/2006/relationships/tags" Target="../tags/tag2058.xml"/></Relationships>
</file>

<file path=ppt/slideLayouts/_rels/slideLayout6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6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4.bin"/><Relationship Id="rId2" Type="http://schemas.openxmlformats.org/officeDocument/2006/relationships/slideMaster" Target="../slideMasters/slideMaster66.xml"/><Relationship Id="rId1" Type="http://schemas.openxmlformats.org/officeDocument/2006/relationships/vmlDrawing" Target="../drawings/vmlDrawing530.vml"/></Relationships>
</file>

<file path=ppt/slideLayouts/_rels/slideLayout6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9.xml"/><Relationship Id="rId3" Type="http://schemas.openxmlformats.org/officeDocument/2006/relationships/tags" Target="../tags/tag181.xml"/><Relationship Id="rId7" Type="http://schemas.openxmlformats.org/officeDocument/2006/relationships/tags" Target="../tags/tag185.xml"/><Relationship Id="rId12" Type="http://schemas.openxmlformats.org/officeDocument/2006/relationships/image" Target="../media/image4.emf"/><Relationship Id="rId2" Type="http://schemas.openxmlformats.org/officeDocument/2006/relationships/tags" Target="../tags/tag180.xml"/><Relationship Id="rId1" Type="http://schemas.openxmlformats.org/officeDocument/2006/relationships/vmlDrawing" Target="../drawings/vmlDrawing38.vml"/><Relationship Id="rId6" Type="http://schemas.openxmlformats.org/officeDocument/2006/relationships/tags" Target="../tags/tag184.xml"/><Relationship Id="rId11" Type="http://schemas.openxmlformats.org/officeDocument/2006/relationships/image" Target="../media/image5.png"/><Relationship Id="rId5" Type="http://schemas.openxmlformats.org/officeDocument/2006/relationships/tags" Target="../tags/tag183.xml"/><Relationship Id="rId10" Type="http://schemas.openxmlformats.org/officeDocument/2006/relationships/oleObject" Target="../embeddings/oleObject41.bin"/><Relationship Id="rId4" Type="http://schemas.openxmlformats.org/officeDocument/2006/relationships/tags" Target="../tags/tag182.xml"/><Relationship Id="rId9" Type="http://schemas.openxmlformats.org/officeDocument/2006/relationships/image" Target="../media/image6.jpeg"/></Relationships>
</file>

<file path=ppt/slideLayouts/_rels/slideLayout6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7.xml"/><Relationship Id="rId3" Type="http://schemas.openxmlformats.org/officeDocument/2006/relationships/tags" Target="../tags/tag2070.xml"/><Relationship Id="rId7" Type="http://schemas.openxmlformats.org/officeDocument/2006/relationships/tags" Target="../tags/tag2074.xml"/><Relationship Id="rId12" Type="http://schemas.openxmlformats.org/officeDocument/2006/relationships/image" Target="../media/image5.png"/><Relationship Id="rId2" Type="http://schemas.openxmlformats.org/officeDocument/2006/relationships/tags" Target="../tags/tag2069.xml"/><Relationship Id="rId1" Type="http://schemas.openxmlformats.org/officeDocument/2006/relationships/vmlDrawing" Target="../drawings/vmlDrawing532.vml"/><Relationship Id="rId6" Type="http://schemas.openxmlformats.org/officeDocument/2006/relationships/tags" Target="../tags/tag2073.xml"/><Relationship Id="rId11" Type="http://schemas.openxmlformats.org/officeDocument/2006/relationships/image" Target="../media/image4.emf"/><Relationship Id="rId5" Type="http://schemas.openxmlformats.org/officeDocument/2006/relationships/tags" Target="../tags/tag2072.xml"/><Relationship Id="rId10" Type="http://schemas.openxmlformats.org/officeDocument/2006/relationships/oleObject" Target="../embeddings/oleObject556.bin"/><Relationship Id="rId4" Type="http://schemas.openxmlformats.org/officeDocument/2006/relationships/tags" Target="../tags/tag2071.xml"/><Relationship Id="rId9" Type="http://schemas.openxmlformats.org/officeDocument/2006/relationships/image" Target="../media/image3.jpeg"/></Relationships>
</file>

<file path=ppt/slideLayouts/_rels/slideLayout62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7.xml"/><Relationship Id="rId3" Type="http://schemas.openxmlformats.org/officeDocument/2006/relationships/tags" Target="../tags/tag2076.xml"/><Relationship Id="rId7" Type="http://schemas.openxmlformats.org/officeDocument/2006/relationships/tags" Target="../tags/tag2080.xml"/><Relationship Id="rId12" Type="http://schemas.openxmlformats.org/officeDocument/2006/relationships/image" Target="../media/image4.emf"/><Relationship Id="rId2" Type="http://schemas.openxmlformats.org/officeDocument/2006/relationships/tags" Target="../tags/tag2075.xml"/><Relationship Id="rId1" Type="http://schemas.openxmlformats.org/officeDocument/2006/relationships/vmlDrawing" Target="../drawings/vmlDrawing533.vml"/><Relationship Id="rId6" Type="http://schemas.openxmlformats.org/officeDocument/2006/relationships/tags" Target="../tags/tag2079.xml"/><Relationship Id="rId11" Type="http://schemas.openxmlformats.org/officeDocument/2006/relationships/image" Target="../media/image5.png"/><Relationship Id="rId5" Type="http://schemas.openxmlformats.org/officeDocument/2006/relationships/tags" Target="../tags/tag2078.xml"/><Relationship Id="rId10" Type="http://schemas.openxmlformats.org/officeDocument/2006/relationships/oleObject" Target="../embeddings/oleObject557.bin"/><Relationship Id="rId4" Type="http://schemas.openxmlformats.org/officeDocument/2006/relationships/tags" Target="../tags/tag2077.xml"/><Relationship Id="rId9" Type="http://schemas.openxmlformats.org/officeDocument/2006/relationships/image" Target="../media/image6.jpeg"/></Relationships>
</file>

<file path=ppt/slideLayouts/_rels/slideLayout622.xml.rels><?xml version="1.0" encoding="UTF-8" standalone="yes"?>
<Relationships xmlns="http://schemas.openxmlformats.org/package/2006/relationships"><Relationship Id="rId3" Type="http://schemas.openxmlformats.org/officeDocument/2006/relationships/tags" Target="../tags/tag2082.xml"/><Relationship Id="rId7" Type="http://schemas.openxmlformats.org/officeDocument/2006/relationships/oleObject" Target="../embeddings/oleObject558.bin"/><Relationship Id="rId2" Type="http://schemas.openxmlformats.org/officeDocument/2006/relationships/tags" Target="../tags/tag2081.xml"/><Relationship Id="rId1" Type="http://schemas.openxmlformats.org/officeDocument/2006/relationships/vmlDrawing" Target="../drawings/vmlDrawing534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67.xml"/><Relationship Id="rId4" Type="http://schemas.openxmlformats.org/officeDocument/2006/relationships/tags" Target="../tags/tag2083.xml"/></Relationships>
</file>

<file path=ppt/slideLayouts/_rels/slideLayout6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7.xml"/><Relationship Id="rId2" Type="http://schemas.openxmlformats.org/officeDocument/2006/relationships/tags" Target="../tags/tag2084.xml"/><Relationship Id="rId1" Type="http://schemas.openxmlformats.org/officeDocument/2006/relationships/vmlDrawing" Target="../drawings/vmlDrawing535.vml"/><Relationship Id="rId4" Type="http://schemas.openxmlformats.org/officeDocument/2006/relationships/oleObject" Target="../embeddings/oleObject559.bin"/></Relationships>
</file>

<file path=ppt/slideLayouts/_rels/slideLayout624.xml.rels><?xml version="1.0" encoding="UTF-8" standalone="yes"?>
<Relationships xmlns="http://schemas.openxmlformats.org/package/2006/relationships"><Relationship Id="rId3" Type="http://schemas.openxmlformats.org/officeDocument/2006/relationships/tags" Target="../tags/tag2086.xml"/><Relationship Id="rId2" Type="http://schemas.openxmlformats.org/officeDocument/2006/relationships/tags" Target="../tags/tag2085.xml"/><Relationship Id="rId1" Type="http://schemas.openxmlformats.org/officeDocument/2006/relationships/vmlDrawing" Target="../drawings/vmlDrawing536.vml"/><Relationship Id="rId6" Type="http://schemas.openxmlformats.org/officeDocument/2006/relationships/oleObject" Target="../embeddings/oleObject560.bin"/><Relationship Id="rId5" Type="http://schemas.openxmlformats.org/officeDocument/2006/relationships/slideMaster" Target="../slideMasters/slideMaster67.xml"/><Relationship Id="rId4" Type="http://schemas.openxmlformats.org/officeDocument/2006/relationships/tags" Target="../tags/tag2087.xml"/></Relationships>
</file>

<file path=ppt/slideLayouts/_rels/slideLayout625.xml.rels><?xml version="1.0" encoding="UTF-8" standalone="yes"?>
<Relationships xmlns="http://schemas.openxmlformats.org/package/2006/relationships"><Relationship Id="rId3" Type="http://schemas.openxmlformats.org/officeDocument/2006/relationships/tags" Target="../tags/tag2089.xml"/><Relationship Id="rId2" Type="http://schemas.openxmlformats.org/officeDocument/2006/relationships/tags" Target="../tags/tag2088.xml"/><Relationship Id="rId1" Type="http://schemas.openxmlformats.org/officeDocument/2006/relationships/vmlDrawing" Target="../drawings/vmlDrawing537.vml"/><Relationship Id="rId6" Type="http://schemas.openxmlformats.org/officeDocument/2006/relationships/oleObject" Target="../embeddings/oleObject561.bin"/><Relationship Id="rId5" Type="http://schemas.openxmlformats.org/officeDocument/2006/relationships/slideMaster" Target="../slideMasters/slideMaster67.xml"/><Relationship Id="rId4" Type="http://schemas.openxmlformats.org/officeDocument/2006/relationships/tags" Target="../tags/tag2090.xml"/></Relationships>
</file>

<file path=ppt/slideLayouts/_rels/slideLayout6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62.bin"/><Relationship Id="rId3" Type="http://schemas.openxmlformats.org/officeDocument/2006/relationships/tags" Target="../tags/tag2092.xml"/><Relationship Id="rId7" Type="http://schemas.openxmlformats.org/officeDocument/2006/relationships/slideMaster" Target="../slideMasters/slideMaster67.xml"/><Relationship Id="rId2" Type="http://schemas.openxmlformats.org/officeDocument/2006/relationships/tags" Target="../tags/tag2091.xml"/><Relationship Id="rId1" Type="http://schemas.openxmlformats.org/officeDocument/2006/relationships/vmlDrawing" Target="../drawings/vmlDrawing538.vml"/><Relationship Id="rId6" Type="http://schemas.openxmlformats.org/officeDocument/2006/relationships/tags" Target="../tags/tag2095.xml"/><Relationship Id="rId5" Type="http://schemas.openxmlformats.org/officeDocument/2006/relationships/tags" Target="../tags/tag2094.xml"/><Relationship Id="rId4" Type="http://schemas.openxmlformats.org/officeDocument/2006/relationships/tags" Target="../tags/tag2093.xml"/></Relationships>
</file>

<file path=ppt/slideLayouts/_rels/slideLayout6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6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3.bin"/><Relationship Id="rId2" Type="http://schemas.openxmlformats.org/officeDocument/2006/relationships/slideMaster" Target="../slideMasters/slideMaster67.xml"/><Relationship Id="rId1" Type="http://schemas.openxmlformats.org/officeDocument/2006/relationships/vmlDrawing" Target="../drawings/vmlDrawing539.vml"/></Relationships>
</file>

<file path=ppt/slideLayouts/_rels/slideLayout6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7" Type="http://schemas.openxmlformats.org/officeDocument/2006/relationships/oleObject" Target="../embeddings/oleObject42.bin"/><Relationship Id="rId2" Type="http://schemas.openxmlformats.org/officeDocument/2006/relationships/tags" Target="../tags/tag186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9.xml"/><Relationship Id="rId4" Type="http://schemas.openxmlformats.org/officeDocument/2006/relationships/tags" Target="../tags/tag188.xml"/></Relationships>
</file>

<file path=ppt/slideLayouts/_rels/slideLayout63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8.xml"/><Relationship Id="rId3" Type="http://schemas.openxmlformats.org/officeDocument/2006/relationships/tags" Target="../tags/tag2105.xml"/><Relationship Id="rId7" Type="http://schemas.openxmlformats.org/officeDocument/2006/relationships/tags" Target="../tags/tag2109.xml"/><Relationship Id="rId12" Type="http://schemas.openxmlformats.org/officeDocument/2006/relationships/image" Target="../media/image5.png"/><Relationship Id="rId2" Type="http://schemas.openxmlformats.org/officeDocument/2006/relationships/tags" Target="../tags/tag2104.xml"/><Relationship Id="rId1" Type="http://schemas.openxmlformats.org/officeDocument/2006/relationships/vmlDrawing" Target="../drawings/vmlDrawing541.vml"/><Relationship Id="rId6" Type="http://schemas.openxmlformats.org/officeDocument/2006/relationships/tags" Target="../tags/tag2108.xml"/><Relationship Id="rId11" Type="http://schemas.openxmlformats.org/officeDocument/2006/relationships/image" Target="../media/image4.emf"/><Relationship Id="rId5" Type="http://schemas.openxmlformats.org/officeDocument/2006/relationships/tags" Target="../tags/tag2107.xml"/><Relationship Id="rId10" Type="http://schemas.openxmlformats.org/officeDocument/2006/relationships/oleObject" Target="../embeddings/oleObject565.bin"/><Relationship Id="rId4" Type="http://schemas.openxmlformats.org/officeDocument/2006/relationships/tags" Target="../tags/tag2106.xml"/><Relationship Id="rId9" Type="http://schemas.openxmlformats.org/officeDocument/2006/relationships/image" Target="../media/image3.jpeg"/></Relationships>
</file>

<file path=ppt/slideLayouts/_rels/slideLayout63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8.xml"/><Relationship Id="rId3" Type="http://schemas.openxmlformats.org/officeDocument/2006/relationships/tags" Target="../tags/tag2111.xml"/><Relationship Id="rId7" Type="http://schemas.openxmlformats.org/officeDocument/2006/relationships/tags" Target="../tags/tag2115.xml"/><Relationship Id="rId12" Type="http://schemas.openxmlformats.org/officeDocument/2006/relationships/image" Target="../media/image4.emf"/><Relationship Id="rId2" Type="http://schemas.openxmlformats.org/officeDocument/2006/relationships/tags" Target="../tags/tag2110.xml"/><Relationship Id="rId1" Type="http://schemas.openxmlformats.org/officeDocument/2006/relationships/vmlDrawing" Target="../drawings/vmlDrawing542.vml"/><Relationship Id="rId6" Type="http://schemas.openxmlformats.org/officeDocument/2006/relationships/tags" Target="../tags/tag2114.xml"/><Relationship Id="rId11" Type="http://schemas.openxmlformats.org/officeDocument/2006/relationships/image" Target="../media/image5.png"/><Relationship Id="rId5" Type="http://schemas.openxmlformats.org/officeDocument/2006/relationships/tags" Target="../tags/tag2113.xml"/><Relationship Id="rId10" Type="http://schemas.openxmlformats.org/officeDocument/2006/relationships/oleObject" Target="../embeddings/oleObject566.bin"/><Relationship Id="rId4" Type="http://schemas.openxmlformats.org/officeDocument/2006/relationships/tags" Target="../tags/tag2112.xml"/><Relationship Id="rId9" Type="http://schemas.openxmlformats.org/officeDocument/2006/relationships/image" Target="../media/image6.jpeg"/></Relationships>
</file>

<file path=ppt/slideLayouts/_rels/slideLayout632.xml.rels><?xml version="1.0" encoding="UTF-8" standalone="yes"?>
<Relationships xmlns="http://schemas.openxmlformats.org/package/2006/relationships"><Relationship Id="rId3" Type="http://schemas.openxmlformats.org/officeDocument/2006/relationships/tags" Target="../tags/tag2117.xml"/><Relationship Id="rId7" Type="http://schemas.openxmlformats.org/officeDocument/2006/relationships/oleObject" Target="../embeddings/oleObject567.bin"/><Relationship Id="rId2" Type="http://schemas.openxmlformats.org/officeDocument/2006/relationships/tags" Target="../tags/tag2116.xml"/><Relationship Id="rId1" Type="http://schemas.openxmlformats.org/officeDocument/2006/relationships/vmlDrawing" Target="../drawings/vmlDrawing543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68.xml"/><Relationship Id="rId4" Type="http://schemas.openxmlformats.org/officeDocument/2006/relationships/tags" Target="../tags/tag2118.xml"/></Relationships>
</file>

<file path=ppt/slideLayouts/_rels/slideLayout6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8.xml"/><Relationship Id="rId2" Type="http://schemas.openxmlformats.org/officeDocument/2006/relationships/tags" Target="../tags/tag2119.xml"/><Relationship Id="rId1" Type="http://schemas.openxmlformats.org/officeDocument/2006/relationships/vmlDrawing" Target="../drawings/vmlDrawing544.vml"/><Relationship Id="rId4" Type="http://schemas.openxmlformats.org/officeDocument/2006/relationships/oleObject" Target="../embeddings/oleObject568.bin"/></Relationships>
</file>

<file path=ppt/slideLayouts/_rels/slideLayout634.xml.rels><?xml version="1.0" encoding="UTF-8" standalone="yes"?>
<Relationships xmlns="http://schemas.openxmlformats.org/package/2006/relationships"><Relationship Id="rId3" Type="http://schemas.openxmlformats.org/officeDocument/2006/relationships/tags" Target="../tags/tag2121.xml"/><Relationship Id="rId2" Type="http://schemas.openxmlformats.org/officeDocument/2006/relationships/tags" Target="../tags/tag2120.xml"/><Relationship Id="rId1" Type="http://schemas.openxmlformats.org/officeDocument/2006/relationships/vmlDrawing" Target="../drawings/vmlDrawing545.vml"/><Relationship Id="rId6" Type="http://schemas.openxmlformats.org/officeDocument/2006/relationships/oleObject" Target="../embeddings/oleObject569.bin"/><Relationship Id="rId5" Type="http://schemas.openxmlformats.org/officeDocument/2006/relationships/slideMaster" Target="../slideMasters/slideMaster68.xml"/><Relationship Id="rId4" Type="http://schemas.openxmlformats.org/officeDocument/2006/relationships/tags" Target="../tags/tag2122.xml"/></Relationships>
</file>

<file path=ppt/slideLayouts/_rels/slideLayout635.xml.rels><?xml version="1.0" encoding="UTF-8" standalone="yes"?>
<Relationships xmlns="http://schemas.openxmlformats.org/package/2006/relationships"><Relationship Id="rId3" Type="http://schemas.openxmlformats.org/officeDocument/2006/relationships/tags" Target="../tags/tag2124.xml"/><Relationship Id="rId2" Type="http://schemas.openxmlformats.org/officeDocument/2006/relationships/tags" Target="../tags/tag2123.xml"/><Relationship Id="rId1" Type="http://schemas.openxmlformats.org/officeDocument/2006/relationships/vmlDrawing" Target="../drawings/vmlDrawing546.vml"/><Relationship Id="rId6" Type="http://schemas.openxmlformats.org/officeDocument/2006/relationships/oleObject" Target="../embeddings/oleObject570.bin"/><Relationship Id="rId5" Type="http://schemas.openxmlformats.org/officeDocument/2006/relationships/slideMaster" Target="../slideMasters/slideMaster68.xml"/><Relationship Id="rId4" Type="http://schemas.openxmlformats.org/officeDocument/2006/relationships/tags" Target="../tags/tag2125.xml"/></Relationships>
</file>

<file path=ppt/slideLayouts/_rels/slideLayout63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71.bin"/><Relationship Id="rId3" Type="http://schemas.openxmlformats.org/officeDocument/2006/relationships/tags" Target="../tags/tag2127.xml"/><Relationship Id="rId7" Type="http://schemas.openxmlformats.org/officeDocument/2006/relationships/slideMaster" Target="../slideMasters/slideMaster68.xml"/><Relationship Id="rId2" Type="http://schemas.openxmlformats.org/officeDocument/2006/relationships/tags" Target="../tags/tag2126.xml"/><Relationship Id="rId1" Type="http://schemas.openxmlformats.org/officeDocument/2006/relationships/vmlDrawing" Target="../drawings/vmlDrawing547.vml"/><Relationship Id="rId6" Type="http://schemas.openxmlformats.org/officeDocument/2006/relationships/tags" Target="../tags/tag2130.xml"/><Relationship Id="rId5" Type="http://schemas.openxmlformats.org/officeDocument/2006/relationships/tags" Target="../tags/tag2129.xml"/><Relationship Id="rId4" Type="http://schemas.openxmlformats.org/officeDocument/2006/relationships/tags" Target="../tags/tag2128.xml"/></Relationships>
</file>

<file path=ppt/slideLayouts/_rels/slideLayout6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6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2.bin"/><Relationship Id="rId2" Type="http://schemas.openxmlformats.org/officeDocument/2006/relationships/slideMaster" Target="../slideMasters/slideMaster68.xml"/><Relationship Id="rId1" Type="http://schemas.openxmlformats.org/officeDocument/2006/relationships/vmlDrawing" Target="../drawings/vmlDrawing548.vml"/></Relationships>
</file>

<file path=ppt/slideLayouts/_rels/slideLayout6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89.xml"/><Relationship Id="rId1" Type="http://schemas.openxmlformats.org/officeDocument/2006/relationships/vmlDrawing" Target="../drawings/vmlDrawing40.vml"/><Relationship Id="rId4" Type="http://schemas.openxmlformats.org/officeDocument/2006/relationships/oleObject" Target="../embeddings/oleObject43.bin"/></Relationships>
</file>

<file path=ppt/slideLayouts/_rels/slideLayout64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9.xml"/><Relationship Id="rId3" Type="http://schemas.openxmlformats.org/officeDocument/2006/relationships/tags" Target="../tags/tag2140.xml"/><Relationship Id="rId7" Type="http://schemas.openxmlformats.org/officeDocument/2006/relationships/tags" Target="../tags/tag2144.xml"/><Relationship Id="rId12" Type="http://schemas.openxmlformats.org/officeDocument/2006/relationships/image" Target="../media/image5.png"/><Relationship Id="rId2" Type="http://schemas.openxmlformats.org/officeDocument/2006/relationships/tags" Target="../tags/tag2139.xml"/><Relationship Id="rId1" Type="http://schemas.openxmlformats.org/officeDocument/2006/relationships/vmlDrawing" Target="../drawings/vmlDrawing550.vml"/><Relationship Id="rId6" Type="http://schemas.openxmlformats.org/officeDocument/2006/relationships/tags" Target="../tags/tag2143.xml"/><Relationship Id="rId11" Type="http://schemas.openxmlformats.org/officeDocument/2006/relationships/image" Target="../media/image4.emf"/><Relationship Id="rId5" Type="http://schemas.openxmlformats.org/officeDocument/2006/relationships/tags" Target="../tags/tag2142.xml"/><Relationship Id="rId10" Type="http://schemas.openxmlformats.org/officeDocument/2006/relationships/oleObject" Target="../embeddings/oleObject574.bin"/><Relationship Id="rId4" Type="http://schemas.openxmlformats.org/officeDocument/2006/relationships/tags" Target="../tags/tag2141.xml"/><Relationship Id="rId9" Type="http://schemas.openxmlformats.org/officeDocument/2006/relationships/image" Target="../media/image3.jpeg"/></Relationships>
</file>

<file path=ppt/slideLayouts/_rels/slideLayout64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9.xml"/><Relationship Id="rId3" Type="http://schemas.openxmlformats.org/officeDocument/2006/relationships/tags" Target="../tags/tag2146.xml"/><Relationship Id="rId7" Type="http://schemas.openxmlformats.org/officeDocument/2006/relationships/tags" Target="../tags/tag2150.xml"/><Relationship Id="rId12" Type="http://schemas.openxmlformats.org/officeDocument/2006/relationships/image" Target="../media/image4.emf"/><Relationship Id="rId2" Type="http://schemas.openxmlformats.org/officeDocument/2006/relationships/tags" Target="../tags/tag2145.xml"/><Relationship Id="rId1" Type="http://schemas.openxmlformats.org/officeDocument/2006/relationships/vmlDrawing" Target="../drawings/vmlDrawing551.vml"/><Relationship Id="rId6" Type="http://schemas.openxmlformats.org/officeDocument/2006/relationships/tags" Target="../tags/tag2149.xml"/><Relationship Id="rId11" Type="http://schemas.openxmlformats.org/officeDocument/2006/relationships/image" Target="../media/image5.png"/><Relationship Id="rId5" Type="http://schemas.openxmlformats.org/officeDocument/2006/relationships/tags" Target="../tags/tag2148.xml"/><Relationship Id="rId10" Type="http://schemas.openxmlformats.org/officeDocument/2006/relationships/oleObject" Target="../embeddings/oleObject575.bin"/><Relationship Id="rId4" Type="http://schemas.openxmlformats.org/officeDocument/2006/relationships/tags" Target="../tags/tag2147.xml"/><Relationship Id="rId9" Type="http://schemas.openxmlformats.org/officeDocument/2006/relationships/image" Target="../media/image6.jpeg"/></Relationships>
</file>

<file path=ppt/slideLayouts/_rels/slideLayout642.xml.rels><?xml version="1.0" encoding="UTF-8" standalone="yes"?>
<Relationships xmlns="http://schemas.openxmlformats.org/package/2006/relationships"><Relationship Id="rId3" Type="http://schemas.openxmlformats.org/officeDocument/2006/relationships/tags" Target="../tags/tag2152.xml"/><Relationship Id="rId7" Type="http://schemas.openxmlformats.org/officeDocument/2006/relationships/oleObject" Target="../embeddings/oleObject576.bin"/><Relationship Id="rId2" Type="http://schemas.openxmlformats.org/officeDocument/2006/relationships/tags" Target="../tags/tag2151.xml"/><Relationship Id="rId1" Type="http://schemas.openxmlformats.org/officeDocument/2006/relationships/vmlDrawing" Target="../drawings/vmlDrawing552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69.xml"/><Relationship Id="rId4" Type="http://schemas.openxmlformats.org/officeDocument/2006/relationships/tags" Target="../tags/tag2153.xml"/></Relationships>
</file>

<file path=ppt/slideLayouts/_rels/slideLayout6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9.xml"/><Relationship Id="rId2" Type="http://schemas.openxmlformats.org/officeDocument/2006/relationships/tags" Target="../tags/tag2154.xml"/><Relationship Id="rId1" Type="http://schemas.openxmlformats.org/officeDocument/2006/relationships/vmlDrawing" Target="../drawings/vmlDrawing553.vml"/><Relationship Id="rId4" Type="http://schemas.openxmlformats.org/officeDocument/2006/relationships/oleObject" Target="../embeddings/oleObject577.bin"/></Relationships>
</file>

<file path=ppt/slideLayouts/_rels/slideLayout644.xml.rels><?xml version="1.0" encoding="UTF-8" standalone="yes"?>
<Relationships xmlns="http://schemas.openxmlformats.org/package/2006/relationships"><Relationship Id="rId3" Type="http://schemas.openxmlformats.org/officeDocument/2006/relationships/tags" Target="../tags/tag2156.xml"/><Relationship Id="rId2" Type="http://schemas.openxmlformats.org/officeDocument/2006/relationships/tags" Target="../tags/tag2155.xml"/><Relationship Id="rId1" Type="http://schemas.openxmlformats.org/officeDocument/2006/relationships/vmlDrawing" Target="../drawings/vmlDrawing554.vml"/><Relationship Id="rId6" Type="http://schemas.openxmlformats.org/officeDocument/2006/relationships/oleObject" Target="../embeddings/oleObject578.bin"/><Relationship Id="rId5" Type="http://schemas.openxmlformats.org/officeDocument/2006/relationships/slideMaster" Target="../slideMasters/slideMaster69.xml"/><Relationship Id="rId4" Type="http://schemas.openxmlformats.org/officeDocument/2006/relationships/tags" Target="../tags/tag2157.xml"/></Relationships>
</file>

<file path=ppt/slideLayouts/_rels/slideLayout645.xml.rels><?xml version="1.0" encoding="UTF-8" standalone="yes"?>
<Relationships xmlns="http://schemas.openxmlformats.org/package/2006/relationships"><Relationship Id="rId3" Type="http://schemas.openxmlformats.org/officeDocument/2006/relationships/tags" Target="../tags/tag2159.xml"/><Relationship Id="rId2" Type="http://schemas.openxmlformats.org/officeDocument/2006/relationships/tags" Target="../tags/tag2158.xml"/><Relationship Id="rId1" Type="http://schemas.openxmlformats.org/officeDocument/2006/relationships/vmlDrawing" Target="../drawings/vmlDrawing555.vml"/><Relationship Id="rId6" Type="http://schemas.openxmlformats.org/officeDocument/2006/relationships/oleObject" Target="../embeddings/oleObject579.bin"/><Relationship Id="rId5" Type="http://schemas.openxmlformats.org/officeDocument/2006/relationships/slideMaster" Target="../slideMasters/slideMaster69.xml"/><Relationship Id="rId4" Type="http://schemas.openxmlformats.org/officeDocument/2006/relationships/tags" Target="../tags/tag2160.xml"/></Relationships>
</file>

<file path=ppt/slideLayouts/_rels/slideLayout64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80.bin"/><Relationship Id="rId3" Type="http://schemas.openxmlformats.org/officeDocument/2006/relationships/tags" Target="../tags/tag2162.xml"/><Relationship Id="rId7" Type="http://schemas.openxmlformats.org/officeDocument/2006/relationships/slideMaster" Target="../slideMasters/slideMaster69.xml"/><Relationship Id="rId2" Type="http://schemas.openxmlformats.org/officeDocument/2006/relationships/tags" Target="../tags/tag2161.xml"/><Relationship Id="rId1" Type="http://schemas.openxmlformats.org/officeDocument/2006/relationships/vmlDrawing" Target="../drawings/vmlDrawing556.vml"/><Relationship Id="rId6" Type="http://schemas.openxmlformats.org/officeDocument/2006/relationships/tags" Target="../tags/tag2165.xml"/><Relationship Id="rId5" Type="http://schemas.openxmlformats.org/officeDocument/2006/relationships/tags" Target="../tags/tag2164.xml"/><Relationship Id="rId4" Type="http://schemas.openxmlformats.org/officeDocument/2006/relationships/tags" Target="../tags/tag2163.xml"/></Relationships>
</file>

<file path=ppt/slideLayouts/_rels/slideLayout6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6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1.bin"/><Relationship Id="rId2" Type="http://schemas.openxmlformats.org/officeDocument/2006/relationships/slideMaster" Target="../slideMasters/slideMaster69.xml"/><Relationship Id="rId1" Type="http://schemas.openxmlformats.org/officeDocument/2006/relationships/vmlDrawing" Target="../drawings/vmlDrawing557.vml"/></Relationships>
</file>

<file path=ppt/slideLayouts/_rels/slideLayout6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2" Type="http://schemas.openxmlformats.org/officeDocument/2006/relationships/tags" Target="../tags/tag190.xml"/><Relationship Id="rId1" Type="http://schemas.openxmlformats.org/officeDocument/2006/relationships/vmlDrawing" Target="../drawings/vmlDrawing41.vml"/><Relationship Id="rId6" Type="http://schemas.openxmlformats.org/officeDocument/2006/relationships/oleObject" Target="../embeddings/oleObject44.bin"/><Relationship Id="rId5" Type="http://schemas.openxmlformats.org/officeDocument/2006/relationships/slideMaster" Target="../slideMasters/slideMaster9.xml"/><Relationship Id="rId4" Type="http://schemas.openxmlformats.org/officeDocument/2006/relationships/tags" Target="../tags/tag192.xml"/></Relationships>
</file>

<file path=ppt/slideLayouts/_rels/slideLayout65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0.xml"/><Relationship Id="rId3" Type="http://schemas.openxmlformats.org/officeDocument/2006/relationships/tags" Target="../tags/tag2175.xml"/><Relationship Id="rId7" Type="http://schemas.openxmlformats.org/officeDocument/2006/relationships/tags" Target="../tags/tag2179.xml"/><Relationship Id="rId12" Type="http://schemas.openxmlformats.org/officeDocument/2006/relationships/image" Target="../media/image5.png"/><Relationship Id="rId2" Type="http://schemas.openxmlformats.org/officeDocument/2006/relationships/tags" Target="../tags/tag2174.xml"/><Relationship Id="rId1" Type="http://schemas.openxmlformats.org/officeDocument/2006/relationships/vmlDrawing" Target="../drawings/vmlDrawing559.vml"/><Relationship Id="rId6" Type="http://schemas.openxmlformats.org/officeDocument/2006/relationships/tags" Target="../tags/tag2178.xml"/><Relationship Id="rId11" Type="http://schemas.openxmlformats.org/officeDocument/2006/relationships/image" Target="../media/image4.emf"/><Relationship Id="rId5" Type="http://schemas.openxmlformats.org/officeDocument/2006/relationships/tags" Target="../tags/tag2177.xml"/><Relationship Id="rId10" Type="http://schemas.openxmlformats.org/officeDocument/2006/relationships/oleObject" Target="../embeddings/oleObject583.bin"/><Relationship Id="rId4" Type="http://schemas.openxmlformats.org/officeDocument/2006/relationships/tags" Target="../tags/tag2176.xml"/><Relationship Id="rId9" Type="http://schemas.openxmlformats.org/officeDocument/2006/relationships/image" Target="../media/image3.jpeg"/></Relationships>
</file>

<file path=ppt/slideLayouts/_rels/slideLayout65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0.xml"/><Relationship Id="rId3" Type="http://schemas.openxmlformats.org/officeDocument/2006/relationships/tags" Target="../tags/tag2181.xml"/><Relationship Id="rId7" Type="http://schemas.openxmlformats.org/officeDocument/2006/relationships/tags" Target="../tags/tag2185.xml"/><Relationship Id="rId12" Type="http://schemas.openxmlformats.org/officeDocument/2006/relationships/image" Target="../media/image4.emf"/><Relationship Id="rId2" Type="http://schemas.openxmlformats.org/officeDocument/2006/relationships/tags" Target="../tags/tag2180.xml"/><Relationship Id="rId1" Type="http://schemas.openxmlformats.org/officeDocument/2006/relationships/vmlDrawing" Target="../drawings/vmlDrawing560.vml"/><Relationship Id="rId6" Type="http://schemas.openxmlformats.org/officeDocument/2006/relationships/tags" Target="../tags/tag2184.xml"/><Relationship Id="rId11" Type="http://schemas.openxmlformats.org/officeDocument/2006/relationships/image" Target="../media/image5.png"/><Relationship Id="rId5" Type="http://schemas.openxmlformats.org/officeDocument/2006/relationships/tags" Target="../tags/tag2183.xml"/><Relationship Id="rId10" Type="http://schemas.openxmlformats.org/officeDocument/2006/relationships/oleObject" Target="../embeddings/oleObject584.bin"/><Relationship Id="rId4" Type="http://schemas.openxmlformats.org/officeDocument/2006/relationships/tags" Target="../tags/tag2182.xml"/><Relationship Id="rId9" Type="http://schemas.openxmlformats.org/officeDocument/2006/relationships/image" Target="../media/image6.jpeg"/></Relationships>
</file>

<file path=ppt/slideLayouts/_rels/slideLayout652.xml.rels><?xml version="1.0" encoding="UTF-8" standalone="yes"?>
<Relationships xmlns="http://schemas.openxmlformats.org/package/2006/relationships"><Relationship Id="rId3" Type="http://schemas.openxmlformats.org/officeDocument/2006/relationships/tags" Target="../tags/tag2187.xml"/><Relationship Id="rId7" Type="http://schemas.openxmlformats.org/officeDocument/2006/relationships/oleObject" Target="../embeddings/oleObject585.bin"/><Relationship Id="rId2" Type="http://schemas.openxmlformats.org/officeDocument/2006/relationships/tags" Target="../tags/tag2186.xml"/><Relationship Id="rId1" Type="http://schemas.openxmlformats.org/officeDocument/2006/relationships/vmlDrawing" Target="../drawings/vmlDrawing561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70.xml"/><Relationship Id="rId4" Type="http://schemas.openxmlformats.org/officeDocument/2006/relationships/tags" Target="../tags/tag2188.xml"/></Relationships>
</file>

<file path=ppt/slideLayouts/_rels/slideLayout6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0.xml"/><Relationship Id="rId2" Type="http://schemas.openxmlformats.org/officeDocument/2006/relationships/tags" Target="../tags/tag2189.xml"/><Relationship Id="rId1" Type="http://schemas.openxmlformats.org/officeDocument/2006/relationships/vmlDrawing" Target="../drawings/vmlDrawing562.vml"/><Relationship Id="rId4" Type="http://schemas.openxmlformats.org/officeDocument/2006/relationships/oleObject" Target="../embeddings/oleObject586.bin"/></Relationships>
</file>

<file path=ppt/slideLayouts/_rels/slideLayout654.xml.rels><?xml version="1.0" encoding="UTF-8" standalone="yes"?>
<Relationships xmlns="http://schemas.openxmlformats.org/package/2006/relationships"><Relationship Id="rId3" Type="http://schemas.openxmlformats.org/officeDocument/2006/relationships/tags" Target="../tags/tag2191.xml"/><Relationship Id="rId2" Type="http://schemas.openxmlformats.org/officeDocument/2006/relationships/tags" Target="../tags/tag2190.xml"/><Relationship Id="rId1" Type="http://schemas.openxmlformats.org/officeDocument/2006/relationships/vmlDrawing" Target="../drawings/vmlDrawing563.vml"/><Relationship Id="rId6" Type="http://schemas.openxmlformats.org/officeDocument/2006/relationships/oleObject" Target="../embeddings/oleObject587.bin"/><Relationship Id="rId5" Type="http://schemas.openxmlformats.org/officeDocument/2006/relationships/slideMaster" Target="../slideMasters/slideMaster70.xml"/><Relationship Id="rId4" Type="http://schemas.openxmlformats.org/officeDocument/2006/relationships/tags" Target="../tags/tag2192.xml"/></Relationships>
</file>

<file path=ppt/slideLayouts/_rels/slideLayout655.xml.rels><?xml version="1.0" encoding="UTF-8" standalone="yes"?>
<Relationships xmlns="http://schemas.openxmlformats.org/package/2006/relationships"><Relationship Id="rId3" Type="http://schemas.openxmlformats.org/officeDocument/2006/relationships/tags" Target="../tags/tag2194.xml"/><Relationship Id="rId2" Type="http://schemas.openxmlformats.org/officeDocument/2006/relationships/tags" Target="../tags/tag2193.xml"/><Relationship Id="rId1" Type="http://schemas.openxmlformats.org/officeDocument/2006/relationships/vmlDrawing" Target="../drawings/vmlDrawing564.vml"/><Relationship Id="rId6" Type="http://schemas.openxmlformats.org/officeDocument/2006/relationships/oleObject" Target="../embeddings/oleObject588.bin"/><Relationship Id="rId5" Type="http://schemas.openxmlformats.org/officeDocument/2006/relationships/slideMaster" Target="../slideMasters/slideMaster70.xml"/><Relationship Id="rId4" Type="http://schemas.openxmlformats.org/officeDocument/2006/relationships/tags" Target="../tags/tag2195.xml"/></Relationships>
</file>

<file path=ppt/slideLayouts/_rels/slideLayout65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89.bin"/><Relationship Id="rId3" Type="http://schemas.openxmlformats.org/officeDocument/2006/relationships/tags" Target="../tags/tag2197.xml"/><Relationship Id="rId7" Type="http://schemas.openxmlformats.org/officeDocument/2006/relationships/slideMaster" Target="../slideMasters/slideMaster70.xml"/><Relationship Id="rId2" Type="http://schemas.openxmlformats.org/officeDocument/2006/relationships/tags" Target="../tags/tag2196.xml"/><Relationship Id="rId1" Type="http://schemas.openxmlformats.org/officeDocument/2006/relationships/vmlDrawing" Target="../drawings/vmlDrawing565.vml"/><Relationship Id="rId6" Type="http://schemas.openxmlformats.org/officeDocument/2006/relationships/tags" Target="../tags/tag2200.xml"/><Relationship Id="rId5" Type="http://schemas.openxmlformats.org/officeDocument/2006/relationships/tags" Target="../tags/tag2199.xml"/><Relationship Id="rId4" Type="http://schemas.openxmlformats.org/officeDocument/2006/relationships/tags" Target="../tags/tag2198.xml"/></Relationships>
</file>

<file path=ppt/slideLayouts/_rels/slideLayout6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6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0.bin"/><Relationship Id="rId2" Type="http://schemas.openxmlformats.org/officeDocument/2006/relationships/slideMaster" Target="../slideMasters/slideMaster70.xml"/><Relationship Id="rId1" Type="http://schemas.openxmlformats.org/officeDocument/2006/relationships/vmlDrawing" Target="../drawings/vmlDrawing566.vml"/></Relationships>
</file>

<file path=ppt/slideLayouts/_rels/slideLayout6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194.xml"/><Relationship Id="rId2" Type="http://schemas.openxmlformats.org/officeDocument/2006/relationships/tags" Target="../tags/tag193.xml"/><Relationship Id="rId1" Type="http://schemas.openxmlformats.org/officeDocument/2006/relationships/vmlDrawing" Target="../drawings/vmlDrawing42.vml"/><Relationship Id="rId6" Type="http://schemas.openxmlformats.org/officeDocument/2006/relationships/oleObject" Target="../embeddings/oleObject45.bin"/><Relationship Id="rId5" Type="http://schemas.openxmlformats.org/officeDocument/2006/relationships/slideMaster" Target="../slideMasters/slideMaster9.xml"/><Relationship Id="rId4" Type="http://schemas.openxmlformats.org/officeDocument/2006/relationships/tags" Target="../tags/tag195.xml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6.bin"/><Relationship Id="rId3" Type="http://schemas.openxmlformats.org/officeDocument/2006/relationships/tags" Target="../tags/tag197.xml"/><Relationship Id="rId7" Type="http://schemas.openxmlformats.org/officeDocument/2006/relationships/slideMaster" Target="../slideMasters/slideMaster9.xml"/><Relationship Id="rId2" Type="http://schemas.openxmlformats.org/officeDocument/2006/relationships/tags" Target="../tags/tag196.xml"/><Relationship Id="rId1" Type="http://schemas.openxmlformats.org/officeDocument/2006/relationships/vmlDrawing" Target="../drawings/vmlDrawing43.vml"/><Relationship Id="rId6" Type="http://schemas.openxmlformats.org/officeDocument/2006/relationships/tags" Target="../tags/tag200.xml"/><Relationship Id="rId5" Type="http://schemas.openxmlformats.org/officeDocument/2006/relationships/tags" Target="../tags/tag199.xml"/><Relationship Id="rId4" Type="http://schemas.openxmlformats.org/officeDocument/2006/relationships/tags" Target="../tags/tag19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9.xml"/><Relationship Id="rId1" Type="http://schemas.openxmlformats.org/officeDocument/2006/relationships/vmlDrawing" Target="../drawings/vmlDrawing44.v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3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8.v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4" Type="http://schemas.openxmlformats.org/officeDocument/2006/relationships/tags" Target="../tags/tag34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19.png"/><Relationship Id="rId2" Type="http://schemas.openxmlformats.org/officeDocument/2006/relationships/tags" Target="../tags/tag209.xml"/><Relationship Id="rId1" Type="http://schemas.openxmlformats.org/officeDocument/2006/relationships/tags" Target="../tags/tag208.xml"/><Relationship Id="rId6" Type="http://schemas.openxmlformats.org/officeDocument/2006/relationships/image" Target="../media/image53.png"/><Relationship Id="rId5" Type="http://schemas.openxmlformats.org/officeDocument/2006/relationships/image" Target="../media/image48.png"/><Relationship Id="rId10" Type="http://schemas.openxmlformats.org/officeDocument/2006/relationships/image" Target="../media/image55.png"/><Relationship Id="rId4" Type="http://schemas.openxmlformats.org/officeDocument/2006/relationships/image" Target="../media/image52.png"/><Relationship Id="rId9" Type="http://schemas.openxmlformats.org/officeDocument/2006/relationships/image" Target="../media/image54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51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51.pn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10.xml"/><Relationship Id="rId1" Type="http://schemas.openxmlformats.org/officeDocument/2006/relationships/vmlDrawing" Target="../drawings/vmlDrawing46.vml"/><Relationship Id="rId6" Type="http://schemas.openxmlformats.org/officeDocument/2006/relationships/oleObject" Target="../embeddings/oleObject50.bin"/><Relationship Id="rId5" Type="http://schemas.openxmlformats.org/officeDocument/2006/relationships/oleObject" Target="../embeddings/oleObject49.bin"/><Relationship Id="rId4" Type="http://schemas.openxmlformats.org/officeDocument/2006/relationships/image" Target="../media/image56.jpe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11.xml"/><Relationship Id="rId1" Type="http://schemas.openxmlformats.org/officeDocument/2006/relationships/vmlDrawing" Target="../drawings/vmlDrawing47.vml"/><Relationship Id="rId6" Type="http://schemas.openxmlformats.org/officeDocument/2006/relationships/oleObject" Target="../embeddings/oleObject52.bin"/><Relationship Id="rId5" Type="http://schemas.openxmlformats.org/officeDocument/2006/relationships/oleObject" Target="../embeddings/oleObject51.bin"/><Relationship Id="rId4" Type="http://schemas.openxmlformats.org/officeDocument/2006/relationships/image" Target="../media/image57.jpe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12.xml"/><Relationship Id="rId1" Type="http://schemas.openxmlformats.org/officeDocument/2006/relationships/vmlDrawing" Target="../drawings/vmlDrawing48.vml"/><Relationship Id="rId6" Type="http://schemas.openxmlformats.org/officeDocument/2006/relationships/oleObject" Target="../embeddings/oleObject54.bin"/><Relationship Id="rId5" Type="http://schemas.openxmlformats.org/officeDocument/2006/relationships/oleObject" Target="../embeddings/oleObject53.bin"/><Relationship Id="rId4" Type="http://schemas.openxmlformats.org/officeDocument/2006/relationships/image" Target="../media/image58.jpeg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1.xml"/><Relationship Id="rId3" Type="http://schemas.openxmlformats.org/officeDocument/2006/relationships/tags" Target="../tags/tag222.xml"/><Relationship Id="rId7" Type="http://schemas.openxmlformats.org/officeDocument/2006/relationships/tags" Target="../tags/tag226.xml"/><Relationship Id="rId12" Type="http://schemas.openxmlformats.org/officeDocument/2006/relationships/image" Target="../media/image5.png"/><Relationship Id="rId2" Type="http://schemas.openxmlformats.org/officeDocument/2006/relationships/tags" Target="../tags/tag221.xml"/><Relationship Id="rId1" Type="http://schemas.openxmlformats.org/officeDocument/2006/relationships/vmlDrawing" Target="../drawings/vmlDrawing50.vml"/><Relationship Id="rId6" Type="http://schemas.openxmlformats.org/officeDocument/2006/relationships/tags" Target="../tags/tag225.xml"/><Relationship Id="rId11" Type="http://schemas.openxmlformats.org/officeDocument/2006/relationships/image" Target="../media/image4.emf"/><Relationship Id="rId5" Type="http://schemas.openxmlformats.org/officeDocument/2006/relationships/tags" Target="../tags/tag224.xml"/><Relationship Id="rId10" Type="http://schemas.openxmlformats.org/officeDocument/2006/relationships/oleObject" Target="../embeddings/oleObject56.bin"/><Relationship Id="rId4" Type="http://schemas.openxmlformats.org/officeDocument/2006/relationships/tags" Target="../tags/tag223.xml"/><Relationship Id="rId9" Type="http://schemas.openxmlformats.org/officeDocument/2006/relationships/image" Target="../media/image3.jpeg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1.xml"/><Relationship Id="rId3" Type="http://schemas.openxmlformats.org/officeDocument/2006/relationships/tags" Target="../tags/tag228.xml"/><Relationship Id="rId7" Type="http://schemas.openxmlformats.org/officeDocument/2006/relationships/tags" Target="../tags/tag232.xml"/><Relationship Id="rId12" Type="http://schemas.openxmlformats.org/officeDocument/2006/relationships/image" Target="../media/image4.emf"/><Relationship Id="rId2" Type="http://schemas.openxmlformats.org/officeDocument/2006/relationships/tags" Target="../tags/tag227.xml"/><Relationship Id="rId1" Type="http://schemas.openxmlformats.org/officeDocument/2006/relationships/vmlDrawing" Target="../drawings/vmlDrawing51.vml"/><Relationship Id="rId6" Type="http://schemas.openxmlformats.org/officeDocument/2006/relationships/tags" Target="../tags/tag231.xml"/><Relationship Id="rId11" Type="http://schemas.openxmlformats.org/officeDocument/2006/relationships/image" Target="../media/image5.png"/><Relationship Id="rId5" Type="http://schemas.openxmlformats.org/officeDocument/2006/relationships/tags" Target="../tags/tag230.xml"/><Relationship Id="rId10" Type="http://schemas.openxmlformats.org/officeDocument/2006/relationships/oleObject" Target="../embeddings/oleObject57.bin"/><Relationship Id="rId4" Type="http://schemas.openxmlformats.org/officeDocument/2006/relationships/tags" Target="../tags/tag229.xml"/><Relationship Id="rId9" Type="http://schemas.openxmlformats.org/officeDocument/2006/relationships/image" Target="../media/image6.jpe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234.xml"/><Relationship Id="rId7" Type="http://schemas.openxmlformats.org/officeDocument/2006/relationships/oleObject" Target="../embeddings/oleObject58.bin"/><Relationship Id="rId2" Type="http://schemas.openxmlformats.org/officeDocument/2006/relationships/tags" Target="../tags/tag233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23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36.xml"/><Relationship Id="rId1" Type="http://schemas.openxmlformats.org/officeDocument/2006/relationships/vmlDrawing" Target="../drawings/vmlDrawing53.vml"/><Relationship Id="rId4" Type="http://schemas.openxmlformats.org/officeDocument/2006/relationships/oleObject" Target="../embeddings/oleObject59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238.xml"/><Relationship Id="rId2" Type="http://schemas.openxmlformats.org/officeDocument/2006/relationships/tags" Target="../tags/tag237.xml"/><Relationship Id="rId1" Type="http://schemas.openxmlformats.org/officeDocument/2006/relationships/vmlDrawing" Target="../drawings/vmlDrawing54.vml"/><Relationship Id="rId6" Type="http://schemas.openxmlformats.org/officeDocument/2006/relationships/oleObject" Target="../embeddings/oleObject60.bin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239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241.xml"/><Relationship Id="rId2" Type="http://schemas.openxmlformats.org/officeDocument/2006/relationships/tags" Target="../tags/tag240.xml"/><Relationship Id="rId1" Type="http://schemas.openxmlformats.org/officeDocument/2006/relationships/vmlDrawing" Target="../drawings/vmlDrawing55.vml"/><Relationship Id="rId6" Type="http://schemas.openxmlformats.org/officeDocument/2006/relationships/oleObject" Target="../embeddings/oleObject61.bin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242.xml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2.bin"/><Relationship Id="rId3" Type="http://schemas.openxmlformats.org/officeDocument/2006/relationships/tags" Target="../tags/tag244.xml"/><Relationship Id="rId7" Type="http://schemas.openxmlformats.org/officeDocument/2006/relationships/slideMaster" Target="../slideMasters/slideMaster11.xml"/><Relationship Id="rId2" Type="http://schemas.openxmlformats.org/officeDocument/2006/relationships/tags" Target="../tags/tag243.xml"/><Relationship Id="rId1" Type="http://schemas.openxmlformats.org/officeDocument/2006/relationships/vmlDrawing" Target="../drawings/vmlDrawing56.vml"/><Relationship Id="rId6" Type="http://schemas.openxmlformats.org/officeDocument/2006/relationships/tags" Target="../tags/tag247.xml"/><Relationship Id="rId5" Type="http://schemas.openxmlformats.org/officeDocument/2006/relationships/tags" Target="../tags/tag246.xml"/><Relationship Id="rId4" Type="http://schemas.openxmlformats.org/officeDocument/2006/relationships/tags" Target="../tags/tag24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11.xml"/><Relationship Id="rId1" Type="http://schemas.openxmlformats.org/officeDocument/2006/relationships/vmlDrawing" Target="../drawings/vmlDrawing57.v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2.xml"/><Relationship Id="rId3" Type="http://schemas.openxmlformats.org/officeDocument/2006/relationships/tags" Target="../tags/tag257.xml"/><Relationship Id="rId7" Type="http://schemas.openxmlformats.org/officeDocument/2006/relationships/tags" Target="../tags/tag261.xml"/><Relationship Id="rId12" Type="http://schemas.openxmlformats.org/officeDocument/2006/relationships/image" Target="../media/image5.png"/><Relationship Id="rId2" Type="http://schemas.openxmlformats.org/officeDocument/2006/relationships/tags" Target="../tags/tag256.xml"/><Relationship Id="rId1" Type="http://schemas.openxmlformats.org/officeDocument/2006/relationships/vmlDrawing" Target="../drawings/vmlDrawing59.vml"/><Relationship Id="rId6" Type="http://schemas.openxmlformats.org/officeDocument/2006/relationships/tags" Target="../tags/tag260.xml"/><Relationship Id="rId11" Type="http://schemas.openxmlformats.org/officeDocument/2006/relationships/image" Target="../media/image4.emf"/><Relationship Id="rId5" Type="http://schemas.openxmlformats.org/officeDocument/2006/relationships/tags" Target="../tags/tag259.xml"/><Relationship Id="rId10" Type="http://schemas.openxmlformats.org/officeDocument/2006/relationships/oleObject" Target="../embeddings/oleObject65.bin"/><Relationship Id="rId4" Type="http://schemas.openxmlformats.org/officeDocument/2006/relationships/tags" Target="../tags/tag258.xml"/><Relationship Id="rId9" Type="http://schemas.openxmlformats.org/officeDocument/2006/relationships/image" Target="../media/image3.jpeg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2.xml"/><Relationship Id="rId3" Type="http://schemas.openxmlformats.org/officeDocument/2006/relationships/tags" Target="../tags/tag263.xml"/><Relationship Id="rId7" Type="http://schemas.openxmlformats.org/officeDocument/2006/relationships/tags" Target="../tags/tag267.xml"/><Relationship Id="rId12" Type="http://schemas.openxmlformats.org/officeDocument/2006/relationships/image" Target="../media/image4.emf"/><Relationship Id="rId2" Type="http://schemas.openxmlformats.org/officeDocument/2006/relationships/tags" Target="../tags/tag262.xml"/><Relationship Id="rId1" Type="http://schemas.openxmlformats.org/officeDocument/2006/relationships/vmlDrawing" Target="../drawings/vmlDrawing60.vml"/><Relationship Id="rId6" Type="http://schemas.openxmlformats.org/officeDocument/2006/relationships/tags" Target="../tags/tag266.xml"/><Relationship Id="rId11" Type="http://schemas.openxmlformats.org/officeDocument/2006/relationships/image" Target="../media/image5.png"/><Relationship Id="rId5" Type="http://schemas.openxmlformats.org/officeDocument/2006/relationships/tags" Target="../tags/tag265.xml"/><Relationship Id="rId10" Type="http://schemas.openxmlformats.org/officeDocument/2006/relationships/oleObject" Target="../embeddings/oleObject66.bin"/><Relationship Id="rId4" Type="http://schemas.openxmlformats.org/officeDocument/2006/relationships/tags" Target="../tags/tag264.xml"/><Relationship Id="rId9" Type="http://schemas.openxmlformats.org/officeDocument/2006/relationships/image" Target="../media/image6.jpe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tags" Target="../tags/tag269.xml"/><Relationship Id="rId7" Type="http://schemas.openxmlformats.org/officeDocument/2006/relationships/oleObject" Target="../embeddings/oleObject67.bin"/><Relationship Id="rId2" Type="http://schemas.openxmlformats.org/officeDocument/2006/relationships/tags" Target="../tags/tag268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12.xml"/><Relationship Id="rId4" Type="http://schemas.openxmlformats.org/officeDocument/2006/relationships/tags" Target="../tags/tag270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9.v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71.xml"/><Relationship Id="rId1" Type="http://schemas.openxmlformats.org/officeDocument/2006/relationships/vmlDrawing" Target="../drawings/vmlDrawing62.vml"/><Relationship Id="rId4" Type="http://schemas.openxmlformats.org/officeDocument/2006/relationships/oleObject" Target="../embeddings/oleObject68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tags" Target="../tags/tag273.xml"/><Relationship Id="rId2" Type="http://schemas.openxmlformats.org/officeDocument/2006/relationships/tags" Target="../tags/tag272.xml"/><Relationship Id="rId1" Type="http://schemas.openxmlformats.org/officeDocument/2006/relationships/vmlDrawing" Target="../drawings/vmlDrawing63.vml"/><Relationship Id="rId6" Type="http://schemas.openxmlformats.org/officeDocument/2006/relationships/oleObject" Target="../embeddings/oleObject69.bin"/><Relationship Id="rId5" Type="http://schemas.openxmlformats.org/officeDocument/2006/relationships/slideMaster" Target="../slideMasters/slideMaster12.xml"/><Relationship Id="rId4" Type="http://schemas.openxmlformats.org/officeDocument/2006/relationships/tags" Target="../tags/tag274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tags" Target="../tags/tag276.xml"/><Relationship Id="rId2" Type="http://schemas.openxmlformats.org/officeDocument/2006/relationships/tags" Target="../tags/tag275.xml"/><Relationship Id="rId1" Type="http://schemas.openxmlformats.org/officeDocument/2006/relationships/vmlDrawing" Target="../drawings/vmlDrawing64.vml"/><Relationship Id="rId6" Type="http://schemas.openxmlformats.org/officeDocument/2006/relationships/oleObject" Target="../embeddings/oleObject70.bin"/><Relationship Id="rId5" Type="http://schemas.openxmlformats.org/officeDocument/2006/relationships/slideMaster" Target="../slideMasters/slideMaster12.xml"/><Relationship Id="rId4" Type="http://schemas.openxmlformats.org/officeDocument/2006/relationships/tags" Target="../tags/tag277.xml"/></Relationships>
</file>

<file path=ppt/slideLayouts/_rels/slideLayout9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1.bin"/><Relationship Id="rId3" Type="http://schemas.openxmlformats.org/officeDocument/2006/relationships/tags" Target="../tags/tag279.xml"/><Relationship Id="rId7" Type="http://schemas.openxmlformats.org/officeDocument/2006/relationships/slideMaster" Target="../slideMasters/slideMaster12.xml"/><Relationship Id="rId2" Type="http://schemas.openxmlformats.org/officeDocument/2006/relationships/tags" Target="../tags/tag278.xml"/><Relationship Id="rId1" Type="http://schemas.openxmlformats.org/officeDocument/2006/relationships/vmlDrawing" Target="../drawings/vmlDrawing65.vml"/><Relationship Id="rId6" Type="http://schemas.openxmlformats.org/officeDocument/2006/relationships/tags" Target="../tags/tag282.xml"/><Relationship Id="rId5" Type="http://schemas.openxmlformats.org/officeDocument/2006/relationships/tags" Target="../tags/tag281.xml"/><Relationship Id="rId4" Type="http://schemas.openxmlformats.org/officeDocument/2006/relationships/tags" Target="../tags/tag28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12.xml"/><Relationship Id="rId1" Type="http://schemas.openxmlformats.org/officeDocument/2006/relationships/vmlDrawing" Target="../drawings/vmlDrawing66.v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3.xml"/><Relationship Id="rId3" Type="http://schemas.openxmlformats.org/officeDocument/2006/relationships/tags" Target="../tags/tag292.xml"/><Relationship Id="rId7" Type="http://schemas.openxmlformats.org/officeDocument/2006/relationships/tags" Target="../tags/tag296.xml"/><Relationship Id="rId12" Type="http://schemas.openxmlformats.org/officeDocument/2006/relationships/image" Target="../media/image5.png"/><Relationship Id="rId2" Type="http://schemas.openxmlformats.org/officeDocument/2006/relationships/tags" Target="../tags/tag291.xml"/><Relationship Id="rId1" Type="http://schemas.openxmlformats.org/officeDocument/2006/relationships/vmlDrawing" Target="../drawings/vmlDrawing68.vml"/><Relationship Id="rId6" Type="http://schemas.openxmlformats.org/officeDocument/2006/relationships/tags" Target="../tags/tag295.xml"/><Relationship Id="rId11" Type="http://schemas.openxmlformats.org/officeDocument/2006/relationships/image" Target="../media/image4.emf"/><Relationship Id="rId5" Type="http://schemas.openxmlformats.org/officeDocument/2006/relationships/tags" Target="../tags/tag294.xml"/><Relationship Id="rId10" Type="http://schemas.openxmlformats.org/officeDocument/2006/relationships/oleObject" Target="../embeddings/oleObject74.bin"/><Relationship Id="rId4" Type="http://schemas.openxmlformats.org/officeDocument/2006/relationships/tags" Target="../tags/tag293.xml"/><Relationship Id="rId9" Type="http://schemas.openxmlformats.org/officeDocument/2006/relationships/image" Target="../media/image3.jpeg"/></Relationships>
</file>

<file path=ppt/slideLayouts/_rels/slideLayout9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3.xml"/><Relationship Id="rId3" Type="http://schemas.openxmlformats.org/officeDocument/2006/relationships/tags" Target="../tags/tag298.xml"/><Relationship Id="rId7" Type="http://schemas.openxmlformats.org/officeDocument/2006/relationships/tags" Target="../tags/tag302.xml"/><Relationship Id="rId12" Type="http://schemas.openxmlformats.org/officeDocument/2006/relationships/image" Target="../media/image4.emf"/><Relationship Id="rId2" Type="http://schemas.openxmlformats.org/officeDocument/2006/relationships/tags" Target="../tags/tag297.xml"/><Relationship Id="rId1" Type="http://schemas.openxmlformats.org/officeDocument/2006/relationships/vmlDrawing" Target="../drawings/vmlDrawing69.vml"/><Relationship Id="rId6" Type="http://schemas.openxmlformats.org/officeDocument/2006/relationships/tags" Target="../tags/tag301.xml"/><Relationship Id="rId11" Type="http://schemas.openxmlformats.org/officeDocument/2006/relationships/image" Target="../media/image5.png"/><Relationship Id="rId5" Type="http://schemas.openxmlformats.org/officeDocument/2006/relationships/tags" Target="../tags/tag300.xml"/><Relationship Id="rId10" Type="http://schemas.openxmlformats.org/officeDocument/2006/relationships/oleObject" Target="../embeddings/oleObject75.bin"/><Relationship Id="rId4" Type="http://schemas.openxmlformats.org/officeDocument/2006/relationships/tags" Target="../tags/tag299.xml"/><Relationship Id="rId9" Type="http://schemas.openxmlformats.org/officeDocument/2006/relationships/image" Target="../media/image6.jpeg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tags" Target="../tags/tag304.xml"/><Relationship Id="rId7" Type="http://schemas.openxmlformats.org/officeDocument/2006/relationships/oleObject" Target="../embeddings/oleObject76.bin"/><Relationship Id="rId2" Type="http://schemas.openxmlformats.org/officeDocument/2006/relationships/tags" Target="../tags/tag303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13.xml"/><Relationship Id="rId4" Type="http://schemas.openxmlformats.org/officeDocument/2006/relationships/tags" Target="../tags/tag30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179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32250" name="think-cell Slide" r:id="rId7" imgW="360" imgH="360" progId="">
              <p:embed/>
            </p:oleObj>
          </a:graphicData>
        </a:graphic>
      </p:graphicFrame>
      <p:grpSp>
        <p:nvGrpSpPr>
          <p:cNvPr id="5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30" y="3258545"/>
            <a:ext cx="3701555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4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5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53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marR="0" lvl="0" indent="0" algn="just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With more than 145,000 people in 40 countries, </a:t>
            </a:r>
            <a:r>
              <a:rPr kumimoji="0" lang="en-US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s one of the world's foremost providers of consulting, technology and outsourcing services. The Group reported 2014 global revenues of EUR 10.5 billion.</a:t>
            </a:r>
          </a:p>
          <a:p>
            <a:pPr marL="0" marR="0" lvl="0" indent="0" algn="just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ogether with its clients, </a:t>
            </a:r>
            <a:r>
              <a:rPr kumimoji="0" lang="en-US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kumimoji="0" lang="en-US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has developed its own way of working, the Collaborative Business Experience™, and draws on </a:t>
            </a:r>
            <a:r>
              <a:rPr kumimoji="0" lang="en-US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ightshore</a:t>
            </a:r>
            <a:r>
              <a:rPr kumimoji="0" lang="en-US" sz="1000" b="1" i="0" u="none" strike="noStrike" kern="1200" cap="none" spc="0" normalizeH="0" baseline="3000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®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, its worldwide delivery model.</a:t>
            </a:r>
          </a:p>
          <a:p>
            <a:pPr marL="0" marR="0" lvl="0" indent="0" algn="just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just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ightshore</a:t>
            </a:r>
            <a:r>
              <a:rPr kumimoji="0" lang="en-US" sz="900" b="0" i="1" u="none" strike="noStrike" kern="1200" cap="none" spc="0" normalizeH="0" baseline="3000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®</a:t>
            </a:r>
            <a:r>
              <a:rPr kumimoji="0" lang="en-US" sz="9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s a trademark belonging to </a:t>
            </a:r>
            <a:r>
              <a:rPr kumimoji="0" lang="en-US" sz="900" b="0" i="1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endParaRPr kumimoji="0" lang="en-US" sz="900" b="1" i="0" u="none" strike="noStrike" kern="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867727" y="3468294"/>
            <a:ext cx="519572" cy="52250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485378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486402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87426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88450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489474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493570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494594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95618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31226" name="think-cell Slide" r:id="rId4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Capgemini is one of the world's foremost providers of consulting, technology and outsourcing services. The Group reported 2013 global revenues of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UR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10.1 billion.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its clients, Capgemini creates and delivers business and technology solutions that fit their needs and drive the results they want. A deeply multicultural organization, Capgemini has developed its own way of working, the Collaborative Business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™,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nd draws on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="1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ts worldwide delivery model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496642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497666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98690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99714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500738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2" name="Picture 2" descr="D:\Users\sbandyop\Downloads\ACE VI_FINAL_woman with mobile.png"/>
          <p:cNvPicPr>
            <a:picLocks noChangeAspect="1" noChangeArrowheads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3302000" y="1905005"/>
            <a:ext cx="6438900" cy="2960117"/>
          </a:xfrm>
          <a:prstGeom prst="rect">
            <a:avLst/>
          </a:prstGeom>
          <a:noFill/>
        </p:spPr>
      </p:pic>
      <p:pic>
        <p:nvPicPr>
          <p:cNvPr id="12" name="Picture 11" descr="Header_Title Slide_PPT Template_3.png"/>
          <p:cNvPicPr>
            <a:picLocks noChangeAspect="1"/>
          </p:cNvPicPr>
          <p:nvPr/>
        </p:nvPicPr>
        <p:blipFill>
          <a:blip r:embed="rId5" cstate="email"/>
          <a:stretch>
            <a:fillRect/>
          </a:stretch>
        </p:blipFill>
        <p:spPr>
          <a:xfrm>
            <a:off x="0" y="6"/>
            <a:ext cx="9906000" cy="2516697"/>
          </a:xfrm>
          <a:prstGeom prst="rect">
            <a:avLst/>
          </a:prstGeom>
        </p:spPr>
      </p:pic>
      <p:pic>
        <p:nvPicPr>
          <p:cNvPr id="22" name="Picture 21" descr="Header_PPT Template.png"/>
          <p:cNvPicPr>
            <a:picLocks noChangeAspect="1"/>
          </p:cNvPicPr>
          <p:nvPr/>
        </p:nvPicPr>
        <p:blipFill>
          <a:blip r:embed="rId6" cstate="email"/>
          <a:stretch>
            <a:fillRect/>
          </a:stretch>
        </p:blipFill>
        <p:spPr>
          <a:xfrm>
            <a:off x="0" y="0"/>
            <a:ext cx="9906000" cy="2516696"/>
          </a:xfrm>
          <a:prstGeom prst="rect">
            <a:avLst/>
          </a:prstGeom>
        </p:spPr>
      </p:pic>
      <p:pic>
        <p:nvPicPr>
          <p:cNvPr id="23" name="Picture 22" descr="capgemini logo.png"/>
          <p:cNvPicPr>
            <a:picLocks noChangeAspect="1"/>
          </p:cNvPicPr>
          <p:nvPr/>
        </p:nvPicPr>
        <p:blipFill>
          <a:blip r:embed="rId7" cstate="email">
            <a:lum bright="100000"/>
          </a:blip>
          <a:stretch>
            <a:fillRect/>
          </a:stretch>
        </p:blipFill>
        <p:spPr>
          <a:xfrm>
            <a:off x="428497" y="625237"/>
            <a:ext cx="2995200" cy="643531"/>
          </a:xfrm>
          <a:prstGeom prst="rect">
            <a:avLst/>
          </a:prstGeom>
        </p:spPr>
      </p:pic>
      <p:pic>
        <p:nvPicPr>
          <p:cNvPr id="26" name="Picture 25" descr="Footer_PPT Template_2.png"/>
          <p:cNvPicPr preferRelativeResize="0">
            <a:picLocks/>
          </p:cNvPicPr>
          <p:nvPr/>
        </p:nvPicPr>
        <p:blipFill>
          <a:blip r:embed="rId8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7" name="Image 7" descr="Capgemini_Slogan_RGB.png"/>
          <p:cNvPicPr>
            <a:picLocks noChangeAspect="1"/>
          </p:cNvPicPr>
          <p:nvPr/>
        </p:nvPicPr>
        <p:blipFill>
          <a:blip r:embed="rId9" cstate="email">
            <a:lum bright="100000"/>
          </a:blip>
          <a:stretch>
            <a:fillRect/>
          </a:stretch>
        </p:blipFill>
        <p:spPr>
          <a:xfrm>
            <a:off x="6747199" y="6390281"/>
            <a:ext cx="2925000" cy="27908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4" y="4202089"/>
            <a:ext cx="9905999" cy="1512168"/>
          </a:xfrm>
        </p:spPr>
        <p:txBody>
          <a:bodyPr anchor="b">
            <a:noAutofit/>
          </a:bodyPr>
          <a:lstStyle>
            <a:lvl1pPr algn="l">
              <a:defRPr sz="4800" b="0" spc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-2746" y="5672400"/>
            <a:ext cx="9910389" cy="576000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11" name="Picture 10" descr="logo.png"/>
          <p:cNvPicPr>
            <a:picLocks noChangeAspect="1"/>
          </p:cNvPicPr>
          <p:nvPr userDrawn="1"/>
        </p:nvPicPr>
        <p:blipFill>
          <a:blip r:embed="rId10" cstate="email">
            <a:lum bright="100000"/>
          </a:blip>
          <a:stretch>
            <a:fillRect/>
          </a:stretch>
        </p:blipFill>
        <p:spPr>
          <a:xfrm>
            <a:off x="7800511" y="260649"/>
            <a:ext cx="1755000" cy="122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86136527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0202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222" cy="158750"/>
        </p:xfrm>
        <a:graphic>
          <a:graphicData uri="http://schemas.openxmlformats.org/presentationml/2006/ole">
            <p:oleObj spid="_x0000_s504834" name="think-cell Slide" r:id="rId4" imgW="360" imgH="360" progId="">
              <p:embed/>
            </p:oleObj>
          </a:graphicData>
        </a:graphic>
      </p:graphicFrame>
      <p:grpSp>
        <p:nvGrpSpPr>
          <p:cNvPr id="4" name="Group 18"/>
          <p:cNvGrpSpPr>
            <a:grpSpLocks/>
          </p:cNvGrpSpPr>
          <p:nvPr/>
        </p:nvGrpSpPr>
        <p:grpSpPr bwMode="auto">
          <a:xfrm>
            <a:off x="0" y="1"/>
            <a:ext cx="9906000" cy="4854575"/>
            <a:chOff x="0" y="1801907"/>
            <a:chExt cx="9906000" cy="4854387"/>
          </a:xfrm>
        </p:grpSpPr>
        <p:pic>
          <p:nvPicPr>
            <p:cNvPr id="5" name="Picture 3" descr="Cover_03.jpg"/>
            <p:cNvPicPr>
              <a:picLocks noChangeAspect="1"/>
            </p:cNvPicPr>
            <p:nvPr userDrawn="1"/>
          </p:nvPicPr>
          <p:blipFill>
            <a:blip r:embed="rId5" cstate="email"/>
            <a:srcRect/>
            <a:stretch>
              <a:fillRect/>
            </a:stretch>
          </p:blipFill>
          <p:spPr bwMode="auto">
            <a:xfrm>
              <a:off x="0" y="1801907"/>
              <a:ext cx="9906000" cy="48543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6" name="Groupe 709"/>
            <p:cNvGrpSpPr>
              <a:grpSpLocks/>
            </p:cNvGrpSpPr>
            <p:nvPr userDrawn="1"/>
          </p:nvGrpSpPr>
          <p:grpSpPr bwMode="auto">
            <a:xfrm>
              <a:off x="8084783" y="2883520"/>
              <a:ext cx="386117" cy="518177"/>
              <a:chOff x="2344714" y="4924226"/>
              <a:chExt cx="184150" cy="252413"/>
            </a:xfrm>
          </p:grpSpPr>
          <p:sp>
            <p:nvSpPr>
              <p:cNvPr id="40" name="Freeform 449"/>
              <p:cNvSpPr>
                <a:spLocks/>
              </p:cNvSpPr>
              <p:nvPr/>
            </p:nvSpPr>
            <p:spPr bwMode="auto">
              <a:xfrm>
                <a:off x="2344694" y="4923950"/>
                <a:ext cx="184548" cy="252859"/>
              </a:xfrm>
              <a:custGeom>
                <a:avLst/>
                <a:gdLst/>
                <a:ahLst/>
                <a:cxnLst>
                  <a:cxn ang="0">
                    <a:pos x="97" y="159"/>
                  </a:cxn>
                  <a:cxn ang="0">
                    <a:pos x="20" y="159"/>
                  </a:cxn>
                  <a:cxn ang="0">
                    <a:pos x="20" y="159"/>
                  </a:cxn>
                  <a:cxn ang="0">
                    <a:pos x="15" y="159"/>
                  </a:cxn>
                  <a:cxn ang="0">
                    <a:pos x="13" y="157"/>
                  </a:cxn>
                  <a:cxn ang="0">
                    <a:pos x="6" y="154"/>
                  </a:cxn>
                  <a:cxn ang="0">
                    <a:pos x="1" y="147"/>
                  </a:cxn>
                  <a:cxn ang="0">
                    <a:pos x="0" y="143"/>
                  </a:cxn>
                  <a:cxn ang="0">
                    <a:pos x="0" y="140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15"/>
                  </a:cxn>
                  <a:cxn ang="0">
                    <a:pos x="1" y="12"/>
                  </a:cxn>
                  <a:cxn ang="0">
                    <a:pos x="6" y="5"/>
                  </a:cxn>
                  <a:cxn ang="0">
                    <a:pos x="13" y="2"/>
                  </a:cxn>
                  <a:cxn ang="0">
                    <a:pos x="15" y="0"/>
                  </a:cxn>
                  <a:cxn ang="0">
                    <a:pos x="20" y="0"/>
                  </a:cxn>
                  <a:cxn ang="0">
                    <a:pos x="97" y="0"/>
                  </a:cxn>
                  <a:cxn ang="0">
                    <a:pos x="97" y="0"/>
                  </a:cxn>
                  <a:cxn ang="0">
                    <a:pos x="101" y="0"/>
                  </a:cxn>
                  <a:cxn ang="0">
                    <a:pos x="105" y="2"/>
                  </a:cxn>
                  <a:cxn ang="0">
                    <a:pos x="111" y="5"/>
                  </a:cxn>
                  <a:cxn ang="0">
                    <a:pos x="115" y="12"/>
                  </a:cxn>
                  <a:cxn ang="0">
                    <a:pos x="116" y="15"/>
                  </a:cxn>
                  <a:cxn ang="0">
                    <a:pos x="116" y="19"/>
                  </a:cxn>
                  <a:cxn ang="0">
                    <a:pos x="116" y="159"/>
                  </a:cxn>
                </a:cxnLst>
                <a:rect l="0" t="0" r="r" b="b"/>
                <a:pathLst>
                  <a:path w="116" h="159">
                    <a:moveTo>
                      <a:pt x="97" y="159"/>
                    </a:moveTo>
                    <a:lnTo>
                      <a:pt x="20" y="159"/>
                    </a:lnTo>
                    <a:lnTo>
                      <a:pt x="20" y="159"/>
                    </a:lnTo>
                    <a:lnTo>
                      <a:pt x="15" y="159"/>
                    </a:lnTo>
                    <a:lnTo>
                      <a:pt x="13" y="157"/>
                    </a:lnTo>
                    <a:lnTo>
                      <a:pt x="6" y="154"/>
                    </a:lnTo>
                    <a:lnTo>
                      <a:pt x="1" y="147"/>
                    </a:lnTo>
                    <a:lnTo>
                      <a:pt x="0" y="143"/>
                    </a:lnTo>
                    <a:lnTo>
                      <a:pt x="0" y="140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5"/>
                    </a:lnTo>
                    <a:lnTo>
                      <a:pt x="1" y="12"/>
                    </a:lnTo>
                    <a:lnTo>
                      <a:pt x="6" y="5"/>
                    </a:lnTo>
                    <a:lnTo>
                      <a:pt x="13" y="2"/>
                    </a:lnTo>
                    <a:lnTo>
                      <a:pt x="15" y="0"/>
                    </a:lnTo>
                    <a:lnTo>
                      <a:pt x="20" y="0"/>
                    </a:lnTo>
                    <a:lnTo>
                      <a:pt x="97" y="0"/>
                    </a:lnTo>
                    <a:lnTo>
                      <a:pt x="97" y="0"/>
                    </a:lnTo>
                    <a:lnTo>
                      <a:pt x="101" y="0"/>
                    </a:lnTo>
                    <a:lnTo>
                      <a:pt x="105" y="2"/>
                    </a:lnTo>
                    <a:lnTo>
                      <a:pt x="111" y="5"/>
                    </a:lnTo>
                    <a:lnTo>
                      <a:pt x="115" y="12"/>
                    </a:lnTo>
                    <a:lnTo>
                      <a:pt x="116" y="15"/>
                    </a:lnTo>
                    <a:lnTo>
                      <a:pt x="116" y="19"/>
                    </a:lnTo>
                    <a:lnTo>
                      <a:pt x="116" y="15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41" name="Freeform 450"/>
              <p:cNvSpPr>
                <a:spLocks/>
              </p:cNvSpPr>
              <p:nvPr/>
            </p:nvSpPr>
            <p:spPr bwMode="auto">
              <a:xfrm>
                <a:off x="2365199" y="4944828"/>
                <a:ext cx="145178" cy="231981"/>
              </a:xfrm>
              <a:custGeom>
                <a:avLst/>
                <a:gdLst/>
                <a:ahLst/>
                <a:cxnLst>
                  <a:cxn ang="0">
                    <a:pos x="32" y="129"/>
                  </a:cxn>
                  <a:cxn ang="0">
                    <a:pos x="32" y="129"/>
                  </a:cxn>
                  <a:cxn ang="0">
                    <a:pos x="34" y="133"/>
                  </a:cxn>
                  <a:cxn ang="0">
                    <a:pos x="35" y="136"/>
                  </a:cxn>
                  <a:cxn ang="0">
                    <a:pos x="39" y="137"/>
                  </a:cxn>
                  <a:cxn ang="0">
                    <a:pos x="41" y="138"/>
                  </a:cxn>
                  <a:cxn ang="0">
                    <a:pos x="41" y="138"/>
                  </a:cxn>
                  <a:cxn ang="0">
                    <a:pos x="45" y="137"/>
                  </a:cxn>
                  <a:cxn ang="0">
                    <a:pos x="48" y="136"/>
                  </a:cxn>
                  <a:cxn ang="0">
                    <a:pos x="49" y="133"/>
                  </a:cxn>
                  <a:cxn ang="0">
                    <a:pos x="50" y="129"/>
                  </a:cxn>
                  <a:cxn ang="0">
                    <a:pos x="50" y="129"/>
                  </a:cxn>
                  <a:cxn ang="0">
                    <a:pos x="49" y="125"/>
                  </a:cxn>
                  <a:cxn ang="0">
                    <a:pos x="48" y="123"/>
                  </a:cxn>
                  <a:cxn ang="0">
                    <a:pos x="45" y="122"/>
                  </a:cxn>
                  <a:cxn ang="0">
                    <a:pos x="41" y="120"/>
                  </a:cxn>
                  <a:cxn ang="0">
                    <a:pos x="7" y="120"/>
                  </a:cxn>
                  <a:cxn ang="0">
                    <a:pos x="7" y="120"/>
                  </a:cxn>
                  <a:cxn ang="0">
                    <a:pos x="5" y="120"/>
                  </a:cxn>
                  <a:cxn ang="0">
                    <a:pos x="2" y="119"/>
                  </a:cxn>
                  <a:cxn ang="0">
                    <a:pos x="1" y="117"/>
                  </a:cxn>
                  <a:cxn ang="0">
                    <a:pos x="0" y="11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1" y="4"/>
                  </a:cxn>
                  <a:cxn ang="0">
                    <a:pos x="2" y="2"/>
                  </a:cxn>
                  <a:cxn ang="0">
                    <a:pos x="5" y="1"/>
                  </a:cxn>
                  <a:cxn ang="0">
                    <a:pos x="7" y="0"/>
                  </a:cxn>
                  <a:cxn ang="0">
                    <a:pos x="84" y="0"/>
                  </a:cxn>
                  <a:cxn ang="0">
                    <a:pos x="84" y="0"/>
                  </a:cxn>
                  <a:cxn ang="0">
                    <a:pos x="87" y="1"/>
                  </a:cxn>
                  <a:cxn ang="0">
                    <a:pos x="88" y="2"/>
                  </a:cxn>
                  <a:cxn ang="0">
                    <a:pos x="89" y="4"/>
                  </a:cxn>
                  <a:cxn ang="0">
                    <a:pos x="91" y="6"/>
                  </a:cxn>
                  <a:cxn ang="0">
                    <a:pos x="91" y="139"/>
                  </a:cxn>
                  <a:cxn ang="0">
                    <a:pos x="91" y="139"/>
                  </a:cxn>
                  <a:cxn ang="0">
                    <a:pos x="89" y="142"/>
                  </a:cxn>
                  <a:cxn ang="0">
                    <a:pos x="88" y="144"/>
                  </a:cxn>
                  <a:cxn ang="0">
                    <a:pos x="87" y="146"/>
                  </a:cxn>
                  <a:cxn ang="0">
                    <a:pos x="84" y="146"/>
                  </a:cxn>
                </a:cxnLst>
                <a:rect l="0" t="0" r="r" b="b"/>
                <a:pathLst>
                  <a:path w="91" h="146">
                    <a:moveTo>
                      <a:pt x="32" y="129"/>
                    </a:moveTo>
                    <a:lnTo>
                      <a:pt x="32" y="129"/>
                    </a:lnTo>
                    <a:lnTo>
                      <a:pt x="34" y="133"/>
                    </a:lnTo>
                    <a:lnTo>
                      <a:pt x="35" y="136"/>
                    </a:lnTo>
                    <a:lnTo>
                      <a:pt x="39" y="137"/>
                    </a:lnTo>
                    <a:lnTo>
                      <a:pt x="41" y="138"/>
                    </a:lnTo>
                    <a:lnTo>
                      <a:pt x="41" y="138"/>
                    </a:lnTo>
                    <a:lnTo>
                      <a:pt x="45" y="137"/>
                    </a:lnTo>
                    <a:lnTo>
                      <a:pt x="48" y="136"/>
                    </a:lnTo>
                    <a:lnTo>
                      <a:pt x="49" y="133"/>
                    </a:lnTo>
                    <a:lnTo>
                      <a:pt x="50" y="129"/>
                    </a:lnTo>
                    <a:lnTo>
                      <a:pt x="50" y="129"/>
                    </a:lnTo>
                    <a:lnTo>
                      <a:pt x="49" y="125"/>
                    </a:lnTo>
                    <a:lnTo>
                      <a:pt x="48" y="123"/>
                    </a:lnTo>
                    <a:lnTo>
                      <a:pt x="45" y="122"/>
                    </a:lnTo>
                    <a:lnTo>
                      <a:pt x="41" y="120"/>
                    </a:lnTo>
                    <a:lnTo>
                      <a:pt x="7" y="120"/>
                    </a:lnTo>
                    <a:lnTo>
                      <a:pt x="7" y="120"/>
                    </a:lnTo>
                    <a:lnTo>
                      <a:pt x="5" y="120"/>
                    </a:lnTo>
                    <a:lnTo>
                      <a:pt x="2" y="119"/>
                    </a:lnTo>
                    <a:lnTo>
                      <a:pt x="1" y="117"/>
                    </a:lnTo>
                    <a:lnTo>
                      <a:pt x="0" y="11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5" y="1"/>
                    </a:lnTo>
                    <a:lnTo>
                      <a:pt x="7" y="0"/>
                    </a:lnTo>
                    <a:lnTo>
                      <a:pt x="84" y="0"/>
                    </a:lnTo>
                    <a:lnTo>
                      <a:pt x="84" y="0"/>
                    </a:lnTo>
                    <a:lnTo>
                      <a:pt x="87" y="1"/>
                    </a:lnTo>
                    <a:lnTo>
                      <a:pt x="88" y="2"/>
                    </a:lnTo>
                    <a:lnTo>
                      <a:pt x="89" y="4"/>
                    </a:lnTo>
                    <a:lnTo>
                      <a:pt x="91" y="6"/>
                    </a:lnTo>
                    <a:lnTo>
                      <a:pt x="91" y="139"/>
                    </a:lnTo>
                    <a:lnTo>
                      <a:pt x="91" y="139"/>
                    </a:lnTo>
                    <a:lnTo>
                      <a:pt x="89" y="142"/>
                    </a:lnTo>
                    <a:lnTo>
                      <a:pt x="88" y="144"/>
                    </a:lnTo>
                    <a:lnTo>
                      <a:pt x="87" y="146"/>
                    </a:lnTo>
                    <a:lnTo>
                      <a:pt x="84" y="146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7" name="Groupe 836"/>
            <p:cNvGrpSpPr>
              <a:grpSpLocks/>
            </p:cNvGrpSpPr>
            <p:nvPr userDrawn="1"/>
          </p:nvGrpSpPr>
          <p:grpSpPr bwMode="auto">
            <a:xfrm>
              <a:off x="6165033" y="2867225"/>
              <a:ext cx="722304" cy="534472"/>
              <a:chOff x="1163614" y="7062589"/>
              <a:chExt cx="344488" cy="260350"/>
            </a:xfrm>
          </p:grpSpPr>
          <p:sp>
            <p:nvSpPr>
              <p:cNvPr id="26" name="Freeform 578"/>
              <p:cNvSpPr>
                <a:spLocks/>
              </p:cNvSpPr>
              <p:nvPr/>
            </p:nvSpPr>
            <p:spPr bwMode="auto">
              <a:xfrm>
                <a:off x="1477958" y="7108914"/>
                <a:ext cx="30348" cy="166252"/>
              </a:xfrm>
              <a:custGeom>
                <a:avLst/>
                <a:gdLst/>
                <a:ahLst/>
                <a:cxnLst>
                  <a:cxn ang="0">
                    <a:pos x="0" y="105"/>
                  </a:cxn>
                  <a:cxn ang="0">
                    <a:pos x="0" y="105"/>
                  </a:cxn>
                  <a:cxn ang="0">
                    <a:pos x="7" y="94"/>
                  </a:cxn>
                  <a:cxn ang="0">
                    <a:pos x="14" y="81"/>
                  </a:cxn>
                  <a:cxn ang="0">
                    <a:pos x="17" y="67"/>
                  </a:cxn>
                  <a:cxn ang="0">
                    <a:pos x="19" y="52"/>
                  </a:cxn>
                  <a:cxn ang="0">
                    <a:pos x="19" y="52"/>
                  </a:cxn>
                  <a:cxn ang="0">
                    <a:pos x="17" y="38"/>
                  </a:cxn>
                  <a:cxn ang="0">
                    <a:pos x="14" y="24"/>
                  </a:cxn>
                  <a:cxn ang="0">
                    <a:pos x="7" y="12"/>
                  </a:cxn>
                  <a:cxn ang="0">
                    <a:pos x="0" y="0"/>
                  </a:cxn>
                </a:cxnLst>
                <a:rect l="0" t="0" r="r" b="b"/>
                <a:pathLst>
                  <a:path w="19" h="105">
                    <a:moveTo>
                      <a:pt x="0" y="105"/>
                    </a:moveTo>
                    <a:lnTo>
                      <a:pt x="0" y="105"/>
                    </a:lnTo>
                    <a:lnTo>
                      <a:pt x="7" y="94"/>
                    </a:lnTo>
                    <a:lnTo>
                      <a:pt x="14" y="81"/>
                    </a:lnTo>
                    <a:lnTo>
                      <a:pt x="17" y="67"/>
                    </a:lnTo>
                    <a:lnTo>
                      <a:pt x="19" y="52"/>
                    </a:lnTo>
                    <a:lnTo>
                      <a:pt x="19" y="52"/>
                    </a:lnTo>
                    <a:lnTo>
                      <a:pt x="17" y="38"/>
                    </a:lnTo>
                    <a:lnTo>
                      <a:pt x="14" y="24"/>
                    </a:lnTo>
                    <a:lnTo>
                      <a:pt x="7" y="12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7" name="Freeform 579"/>
              <p:cNvSpPr>
                <a:spLocks/>
              </p:cNvSpPr>
              <p:nvPr/>
            </p:nvSpPr>
            <p:spPr bwMode="auto">
              <a:xfrm>
                <a:off x="1277825" y="7273619"/>
                <a:ext cx="10170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7" y="7"/>
                  </a:cxn>
                  <a:cxn ang="0">
                    <a:pos x="13" y="13"/>
                  </a:cxn>
                  <a:cxn ang="0">
                    <a:pos x="21" y="18"/>
                  </a:cxn>
                  <a:cxn ang="0">
                    <a:pos x="28" y="22"/>
                  </a:cxn>
                  <a:cxn ang="0">
                    <a:pos x="36" y="26"/>
                  </a:cxn>
                  <a:cxn ang="0">
                    <a:pos x="45" y="28"/>
                  </a:cxn>
                  <a:cxn ang="0">
                    <a:pos x="54" y="29"/>
                  </a:cxn>
                  <a:cxn ang="0">
                    <a:pos x="64" y="31"/>
                  </a:cxn>
                </a:cxnLst>
                <a:rect l="0" t="0" r="r" b="b"/>
                <a:pathLst>
                  <a:path w="64" h="31">
                    <a:moveTo>
                      <a:pt x="0" y="0"/>
                    </a:moveTo>
                    <a:lnTo>
                      <a:pt x="0" y="0"/>
                    </a:lnTo>
                    <a:lnTo>
                      <a:pt x="7" y="7"/>
                    </a:lnTo>
                    <a:lnTo>
                      <a:pt x="13" y="13"/>
                    </a:lnTo>
                    <a:lnTo>
                      <a:pt x="21" y="18"/>
                    </a:lnTo>
                    <a:lnTo>
                      <a:pt x="28" y="22"/>
                    </a:lnTo>
                    <a:lnTo>
                      <a:pt x="36" y="26"/>
                    </a:lnTo>
                    <a:lnTo>
                      <a:pt x="45" y="28"/>
                    </a:lnTo>
                    <a:lnTo>
                      <a:pt x="54" y="29"/>
                    </a:lnTo>
                    <a:lnTo>
                      <a:pt x="64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8" name="Line 580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9" name="Line 581"/>
              <p:cNvSpPr>
                <a:spLocks noChangeShapeType="1"/>
              </p:cNvSpPr>
              <p:nvPr/>
            </p:nvSpPr>
            <p:spPr bwMode="auto">
              <a:xfrm>
                <a:off x="1277825" y="7108914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0" name="Freeform 582"/>
              <p:cNvSpPr>
                <a:spLocks/>
              </p:cNvSpPr>
              <p:nvPr/>
            </p:nvSpPr>
            <p:spPr bwMode="auto">
              <a:xfrm>
                <a:off x="1277825" y="7062518"/>
                <a:ext cx="200134" cy="46396"/>
              </a:xfrm>
              <a:custGeom>
                <a:avLst/>
                <a:gdLst/>
                <a:ahLst/>
                <a:cxnLst>
                  <a:cxn ang="0">
                    <a:pos x="0" y="29"/>
                  </a:cxn>
                  <a:cxn ang="0">
                    <a:pos x="0" y="29"/>
                  </a:cxn>
                  <a:cxn ang="0">
                    <a:pos x="7" y="23"/>
                  </a:cxn>
                  <a:cxn ang="0">
                    <a:pos x="13" y="17"/>
                  </a:cxn>
                  <a:cxn ang="0">
                    <a:pos x="21" y="12"/>
                  </a:cxn>
                  <a:cxn ang="0">
                    <a:pos x="28" y="8"/>
                  </a:cxn>
                  <a:cxn ang="0">
                    <a:pos x="37" y="4"/>
                  </a:cxn>
                  <a:cxn ang="0">
                    <a:pos x="45" y="3"/>
                  </a:cxn>
                  <a:cxn ang="0">
                    <a:pos x="54" y="0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73" y="0"/>
                  </a:cxn>
                  <a:cxn ang="0">
                    <a:pos x="81" y="3"/>
                  </a:cxn>
                  <a:cxn ang="0">
                    <a:pos x="90" y="4"/>
                  </a:cxn>
                  <a:cxn ang="0">
                    <a:pos x="98" y="8"/>
                  </a:cxn>
                  <a:cxn ang="0">
                    <a:pos x="105" y="12"/>
                  </a:cxn>
                  <a:cxn ang="0">
                    <a:pos x="113" y="17"/>
                  </a:cxn>
                  <a:cxn ang="0">
                    <a:pos x="119" y="23"/>
                  </a:cxn>
                  <a:cxn ang="0">
                    <a:pos x="126" y="29"/>
                  </a:cxn>
                </a:cxnLst>
                <a:rect l="0" t="0" r="r" b="b"/>
                <a:pathLst>
                  <a:path w="126" h="29">
                    <a:moveTo>
                      <a:pt x="0" y="29"/>
                    </a:moveTo>
                    <a:lnTo>
                      <a:pt x="0" y="29"/>
                    </a:lnTo>
                    <a:lnTo>
                      <a:pt x="7" y="23"/>
                    </a:lnTo>
                    <a:lnTo>
                      <a:pt x="13" y="17"/>
                    </a:lnTo>
                    <a:lnTo>
                      <a:pt x="21" y="12"/>
                    </a:lnTo>
                    <a:lnTo>
                      <a:pt x="28" y="8"/>
                    </a:lnTo>
                    <a:lnTo>
                      <a:pt x="37" y="4"/>
                    </a:lnTo>
                    <a:lnTo>
                      <a:pt x="45" y="3"/>
                    </a:lnTo>
                    <a:lnTo>
                      <a:pt x="5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73" y="0"/>
                    </a:lnTo>
                    <a:lnTo>
                      <a:pt x="81" y="3"/>
                    </a:lnTo>
                    <a:lnTo>
                      <a:pt x="90" y="4"/>
                    </a:lnTo>
                    <a:lnTo>
                      <a:pt x="98" y="8"/>
                    </a:lnTo>
                    <a:lnTo>
                      <a:pt x="105" y="12"/>
                    </a:lnTo>
                    <a:lnTo>
                      <a:pt x="113" y="17"/>
                    </a:lnTo>
                    <a:lnTo>
                      <a:pt x="119" y="23"/>
                    </a:lnTo>
                    <a:lnTo>
                      <a:pt x="126" y="2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1" name="Freeform 583"/>
              <p:cNvSpPr>
                <a:spLocks/>
              </p:cNvSpPr>
              <p:nvPr/>
            </p:nvSpPr>
            <p:spPr bwMode="auto">
              <a:xfrm>
                <a:off x="1277825" y="7108914"/>
                <a:ext cx="200134" cy="2165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3" y="7"/>
                  </a:cxn>
                  <a:cxn ang="0">
                    <a:pos x="28" y="10"/>
                  </a:cxn>
                  <a:cxn ang="0">
                    <a:pos x="45" y="13"/>
                  </a:cxn>
                  <a:cxn ang="0">
                    <a:pos x="62" y="14"/>
                  </a:cxn>
                  <a:cxn ang="0">
                    <a:pos x="62" y="14"/>
                  </a:cxn>
                  <a:cxn ang="0">
                    <a:pos x="81" y="13"/>
                  </a:cxn>
                  <a:cxn ang="0">
                    <a:pos x="98" y="10"/>
                  </a:cxn>
                  <a:cxn ang="0">
                    <a:pos x="113" y="5"/>
                  </a:cxn>
                  <a:cxn ang="0">
                    <a:pos x="126" y="0"/>
                  </a:cxn>
                </a:cxnLst>
                <a:rect l="0" t="0" r="r" b="b"/>
                <a:pathLst>
                  <a:path w="126" h="14">
                    <a:moveTo>
                      <a:pt x="0" y="0"/>
                    </a:moveTo>
                    <a:lnTo>
                      <a:pt x="0" y="0"/>
                    </a:lnTo>
                    <a:lnTo>
                      <a:pt x="13" y="7"/>
                    </a:lnTo>
                    <a:lnTo>
                      <a:pt x="28" y="10"/>
                    </a:lnTo>
                    <a:lnTo>
                      <a:pt x="45" y="13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1" y="13"/>
                    </a:lnTo>
                    <a:lnTo>
                      <a:pt x="98" y="10"/>
                    </a:lnTo>
                    <a:lnTo>
                      <a:pt x="113" y="5"/>
                    </a:lnTo>
                    <a:lnTo>
                      <a:pt x="126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2" name="Freeform 584"/>
              <p:cNvSpPr>
                <a:spLocks/>
              </p:cNvSpPr>
              <p:nvPr/>
            </p:nvSpPr>
            <p:spPr bwMode="auto">
              <a:xfrm>
                <a:off x="1277825" y="7251968"/>
                <a:ext cx="200134" cy="23198"/>
              </a:xfrm>
              <a:custGeom>
                <a:avLst/>
                <a:gdLst/>
                <a:ahLst/>
                <a:cxnLst>
                  <a:cxn ang="0">
                    <a:pos x="126" y="14"/>
                  </a:cxn>
                  <a:cxn ang="0">
                    <a:pos x="126" y="14"/>
                  </a:cxn>
                  <a:cxn ang="0">
                    <a:pos x="113" y="9"/>
                  </a:cxn>
                  <a:cxn ang="0">
                    <a:pos x="98" y="4"/>
                  </a:cxn>
                  <a:cxn ang="0">
                    <a:pos x="81" y="2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45" y="2"/>
                  </a:cxn>
                  <a:cxn ang="0">
                    <a:pos x="28" y="4"/>
                  </a:cxn>
                  <a:cxn ang="0">
                    <a:pos x="13" y="9"/>
                  </a:cxn>
                  <a:cxn ang="0">
                    <a:pos x="0" y="15"/>
                  </a:cxn>
                </a:cxnLst>
                <a:rect l="0" t="0" r="r" b="b"/>
                <a:pathLst>
                  <a:path w="126" h="15">
                    <a:moveTo>
                      <a:pt x="126" y="14"/>
                    </a:moveTo>
                    <a:lnTo>
                      <a:pt x="126" y="14"/>
                    </a:lnTo>
                    <a:lnTo>
                      <a:pt x="113" y="9"/>
                    </a:lnTo>
                    <a:lnTo>
                      <a:pt x="98" y="4"/>
                    </a:lnTo>
                    <a:lnTo>
                      <a:pt x="81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45" y="2"/>
                    </a:lnTo>
                    <a:lnTo>
                      <a:pt x="28" y="4"/>
                    </a:lnTo>
                    <a:lnTo>
                      <a:pt x="13" y="9"/>
                    </a:lnTo>
                    <a:lnTo>
                      <a:pt x="0" y="1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3" name="Freeform 585"/>
              <p:cNvSpPr>
                <a:spLocks/>
              </p:cNvSpPr>
              <p:nvPr/>
            </p:nvSpPr>
            <p:spPr bwMode="auto">
              <a:xfrm>
                <a:off x="1308173" y="7062518"/>
                <a:ext cx="141078" cy="260591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81"/>
                  </a:cxn>
                  <a:cxn ang="0">
                    <a:pos x="2" y="65"/>
                  </a:cxn>
                  <a:cxn ang="0">
                    <a:pos x="4" y="50"/>
                  </a:cxn>
                  <a:cxn ang="0">
                    <a:pos x="8" y="36"/>
                  </a:cxn>
                  <a:cxn ang="0">
                    <a:pos x="13" y="24"/>
                  </a:cxn>
                  <a:cxn ang="0">
                    <a:pos x="19" y="14"/>
                  </a:cxn>
                  <a:cxn ang="0">
                    <a:pos x="27" y="7"/>
                  </a:cxn>
                  <a:cxn ang="0">
                    <a:pos x="36" y="1"/>
                  </a:cxn>
                  <a:cxn ang="0">
                    <a:pos x="40" y="0"/>
                  </a:cxn>
                  <a:cxn ang="0">
                    <a:pos x="45" y="0"/>
                  </a:cxn>
                  <a:cxn ang="0">
                    <a:pos x="45" y="0"/>
                  </a:cxn>
                  <a:cxn ang="0">
                    <a:pos x="48" y="0"/>
                  </a:cxn>
                  <a:cxn ang="0">
                    <a:pos x="54" y="1"/>
                  </a:cxn>
                  <a:cxn ang="0">
                    <a:pos x="61" y="7"/>
                  </a:cxn>
                  <a:cxn ang="0">
                    <a:pos x="69" y="14"/>
                  </a:cxn>
                  <a:cxn ang="0">
                    <a:pos x="75" y="24"/>
                  </a:cxn>
                  <a:cxn ang="0">
                    <a:pos x="81" y="36"/>
                  </a:cxn>
                  <a:cxn ang="0">
                    <a:pos x="85" y="50"/>
                  </a:cxn>
                  <a:cxn ang="0">
                    <a:pos x="88" y="65"/>
                  </a:cxn>
                  <a:cxn ang="0">
                    <a:pos x="89" y="81"/>
                  </a:cxn>
                  <a:cxn ang="0">
                    <a:pos x="89" y="81"/>
                  </a:cxn>
                  <a:cxn ang="0">
                    <a:pos x="88" y="98"/>
                  </a:cxn>
                  <a:cxn ang="0">
                    <a:pos x="85" y="113"/>
                  </a:cxn>
                  <a:cxn ang="0">
                    <a:pos x="81" y="127"/>
                  </a:cxn>
                  <a:cxn ang="0">
                    <a:pos x="75" y="140"/>
                  </a:cxn>
                  <a:cxn ang="0">
                    <a:pos x="69" y="150"/>
                  </a:cxn>
                  <a:cxn ang="0">
                    <a:pos x="61" y="157"/>
                  </a:cxn>
                  <a:cxn ang="0">
                    <a:pos x="54" y="161"/>
                  </a:cxn>
                  <a:cxn ang="0">
                    <a:pos x="48" y="162"/>
                  </a:cxn>
                  <a:cxn ang="0">
                    <a:pos x="45" y="164"/>
                  </a:cxn>
                  <a:cxn ang="0">
                    <a:pos x="45" y="164"/>
                  </a:cxn>
                  <a:cxn ang="0">
                    <a:pos x="38" y="162"/>
                  </a:cxn>
                  <a:cxn ang="0">
                    <a:pos x="33" y="160"/>
                  </a:cxn>
                  <a:cxn ang="0">
                    <a:pos x="27" y="157"/>
                  </a:cxn>
                  <a:cxn ang="0">
                    <a:pos x="22" y="152"/>
                  </a:cxn>
                  <a:cxn ang="0">
                    <a:pos x="18" y="147"/>
                  </a:cxn>
                  <a:cxn ang="0">
                    <a:pos x="13" y="140"/>
                  </a:cxn>
                  <a:cxn ang="0">
                    <a:pos x="9" y="132"/>
                  </a:cxn>
                  <a:cxn ang="0">
                    <a:pos x="7" y="124"/>
                  </a:cxn>
                </a:cxnLst>
                <a:rect l="0" t="0" r="r" b="b"/>
                <a:pathLst>
                  <a:path w="89" h="164">
                    <a:moveTo>
                      <a:pt x="0" y="81"/>
                    </a:moveTo>
                    <a:lnTo>
                      <a:pt x="0" y="81"/>
                    </a:lnTo>
                    <a:lnTo>
                      <a:pt x="2" y="65"/>
                    </a:lnTo>
                    <a:lnTo>
                      <a:pt x="4" y="50"/>
                    </a:lnTo>
                    <a:lnTo>
                      <a:pt x="8" y="36"/>
                    </a:lnTo>
                    <a:lnTo>
                      <a:pt x="13" y="24"/>
                    </a:lnTo>
                    <a:lnTo>
                      <a:pt x="19" y="14"/>
                    </a:lnTo>
                    <a:lnTo>
                      <a:pt x="27" y="7"/>
                    </a:lnTo>
                    <a:lnTo>
                      <a:pt x="36" y="1"/>
                    </a:lnTo>
                    <a:lnTo>
                      <a:pt x="40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8" y="0"/>
                    </a:lnTo>
                    <a:lnTo>
                      <a:pt x="54" y="1"/>
                    </a:lnTo>
                    <a:lnTo>
                      <a:pt x="61" y="7"/>
                    </a:lnTo>
                    <a:lnTo>
                      <a:pt x="69" y="14"/>
                    </a:lnTo>
                    <a:lnTo>
                      <a:pt x="75" y="24"/>
                    </a:lnTo>
                    <a:lnTo>
                      <a:pt x="81" y="36"/>
                    </a:lnTo>
                    <a:lnTo>
                      <a:pt x="85" y="50"/>
                    </a:lnTo>
                    <a:lnTo>
                      <a:pt x="88" y="65"/>
                    </a:lnTo>
                    <a:lnTo>
                      <a:pt x="89" y="81"/>
                    </a:lnTo>
                    <a:lnTo>
                      <a:pt x="89" y="81"/>
                    </a:lnTo>
                    <a:lnTo>
                      <a:pt x="88" y="98"/>
                    </a:lnTo>
                    <a:lnTo>
                      <a:pt x="85" y="113"/>
                    </a:lnTo>
                    <a:lnTo>
                      <a:pt x="81" y="127"/>
                    </a:lnTo>
                    <a:lnTo>
                      <a:pt x="75" y="140"/>
                    </a:lnTo>
                    <a:lnTo>
                      <a:pt x="69" y="150"/>
                    </a:lnTo>
                    <a:lnTo>
                      <a:pt x="61" y="157"/>
                    </a:lnTo>
                    <a:lnTo>
                      <a:pt x="54" y="161"/>
                    </a:lnTo>
                    <a:lnTo>
                      <a:pt x="48" y="162"/>
                    </a:lnTo>
                    <a:lnTo>
                      <a:pt x="45" y="164"/>
                    </a:lnTo>
                    <a:lnTo>
                      <a:pt x="45" y="164"/>
                    </a:lnTo>
                    <a:lnTo>
                      <a:pt x="38" y="162"/>
                    </a:lnTo>
                    <a:lnTo>
                      <a:pt x="33" y="160"/>
                    </a:lnTo>
                    <a:lnTo>
                      <a:pt x="27" y="157"/>
                    </a:lnTo>
                    <a:lnTo>
                      <a:pt x="22" y="152"/>
                    </a:lnTo>
                    <a:lnTo>
                      <a:pt x="18" y="147"/>
                    </a:lnTo>
                    <a:lnTo>
                      <a:pt x="13" y="140"/>
                    </a:lnTo>
                    <a:lnTo>
                      <a:pt x="9" y="132"/>
                    </a:lnTo>
                    <a:lnTo>
                      <a:pt x="7" y="124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4" name="Line 586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26083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5" name="Line 587"/>
              <p:cNvSpPr>
                <a:spLocks noChangeShapeType="1"/>
              </p:cNvSpPr>
              <p:nvPr/>
            </p:nvSpPr>
            <p:spPr bwMode="auto">
              <a:xfrm flipV="1">
                <a:off x="1379532" y="7062518"/>
                <a:ext cx="820" cy="260591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6" name="Line 588"/>
              <p:cNvSpPr>
                <a:spLocks noChangeShapeType="1"/>
              </p:cNvSpPr>
              <p:nvPr/>
            </p:nvSpPr>
            <p:spPr bwMode="auto">
              <a:xfrm>
                <a:off x="1163814" y="7167682"/>
                <a:ext cx="83662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7" name="Freeform 589"/>
              <p:cNvSpPr>
                <a:spLocks/>
              </p:cNvSpPr>
              <p:nvPr/>
            </p:nvSpPr>
            <p:spPr bwMode="auto">
              <a:xfrm>
                <a:off x="1247477" y="7143711"/>
                <a:ext cx="25427" cy="4717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" y="15"/>
                  </a:cxn>
                  <a:cxn ang="0">
                    <a:pos x="0" y="30"/>
                  </a:cxn>
                </a:cxnLst>
                <a:rect l="0" t="0" r="r" b="b"/>
                <a:pathLst>
                  <a:path w="16" h="30">
                    <a:moveTo>
                      <a:pt x="0" y="0"/>
                    </a:moveTo>
                    <a:lnTo>
                      <a:pt x="16" y="15"/>
                    </a:lnTo>
                    <a:lnTo>
                      <a:pt x="0" y="3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8" name="Line 590"/>
              <p:cNvSpPr>
                <a:spLocks noChangeShapeType="1"/>
              </p:cNvSpPr>
              <p:nvPr/>
            </p:nvSpPr>
            <p:spPr bwMode="auto">
              <a:xfrm>
                <a:off x="1231892" y="7235730"/>
                <a:ext cx="86943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9" name="Freeform 591"/>
              <p:cNvSpPr>
                <a:spLocks/>
              </p:cNvSpPr>
              <p:nvPr/>
            </p:nvSpPr>
            <p:spPr bwMode="auto">
              <a:xfrm>
                <a:off x="1318836" y="7210212"/>
                <a:ext cx="2378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" y="16"/>
                  </a:cxn>
                  <a:cxn ang="0">
                    <a:pos x="0" y="31"/>
                  </a:cxn>
                </a:cxnLst>
                <a:rect l="0" t="0" r="r" b="b"/>
                <a:pathLst>
                  <a:path w="15" h="31">
                    <a:moveTo>
                      <a:pt x="0" y="0"/>
                    </a:moveTo>
                    <a:lnTo>
                      <a:pt x="15" y="16"/>
                    </a:lnTo>
                    <a:lnTo>
                      <a:pt x="0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8" name="Groupe 320"/>
            <p:cNvGrpSpPr>
              <a:grpSpLocks/>
            </p:cNvGrpSpPr>
            <p:nvPr userDrawn="1"/>
          </p:nvGrpSpPr>
          <p:grpSpPr bwMode="auto">
            <a:xfrm>
              <a:off x="4610305" y="2502608"/>
              <a:ext cx="442816" cy="482367"/>
              <a:chOff x="4430703" y="4715239"/>
              <a:chExt cx="374626" cy="416805"/>
            </a:xfrm>
          </p:grpSpPr>
          <p:sp>
            <p:nvSpPr>
              <p:cNvPr id="21" name="Freeform 897"/>
              <p:cNvSpPr>
                <a:spLocks/>
              </p:cNvSpPr>
              <p:nvPr/>
            </p:nvSpPr>
            <p:spPr bwMode="auto">
              <a:xfrm>
                <a:off x="4649334" y="4788757"/>
                <a:ext cx="155680" cy="256503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4912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0" fmla="*/ 4737 w 9825"/>
                  <a:gd name="connsiteY0" fmla="*/ 10000 h 10000"/>
                  <a:gd name="connsiteX1" fmla="*/ 4737 w 9825"/>
                  <a:gd name="connsiteY1" fmla="*/ 10000 h 10000"/>
                  <a:gd name="connsiteX2" fmla="*/ 6579 w 9825"/>
                  <a:gd name="connsiteY2" fmla="*/ 10000 h 10000"/>
                  <a:gd name="connsiteX3" fmla="*/ 8246 w 9825"/>
                  <a:gd name="connsiteY3" fmla="*/ 9938 h 10000"/>
                  <a:gd name="connsiteX4" fmla="*/ 9386 w 9825"/>
                  <a:gd name="connsiteY4" fmla="*/ 9814 h 10000"/>
                  <a:gd name="connsiteX5" fmla="*/ 9737 w 9825"/>
                  <a:gd name="connsiteY5" fmla="*/ 9752 h 10000"/>
                  <a:gd name="connsiteX6" fmla="*/ 9825 w 9825"/>
                  <a:gd name="connsiteY6" fmla="*/ 9689 h 10000"/>
                  <a:gd name="connsiteX7" fmla="*/ 9825 w 9825"/>
                  <a:gd name="connsiteY7" fmla="*/ 9689 h 10000"/>
                  <a:gd name="connsiteX8" fmla="*/ 9825 w 9825"/>
                  <a:gd name="connsiteY8" fmla="*/ 8634 h 10000"/>
                  <a:gd name="connsiteX9" fmla="*/ 9737 w 9825"/>
                  <a:gd name="connsiteY9" fmla="*/ 7702 h 10000"/>
                  <a:gd name="connsiteX10" fmla="*/ 9386 w 9825"/>
                  <a:gd name="connsiteY10" fmla="*/ 6832 h 10000"/>
                  <a:gd name="connsiteX11" fmla="*/ 9036 w 9825"/>
                  <a:gd name="connsiteY11" fmla="*/ 6087 h 10000"/>
                  <a:gd name="connsiteX12" fmla="*/ 8509 w 9825"/>
                  <a:gd name="connsiteY12" fmla="*/ 5342 h 10000"/>
                  <a:gd name="connsiteX13" fmla="*/ 7807 w 9825"/>
                  <a:gd name="connsiteY13" fmla="*/ 4783 h 10000"/>
                  <a:gd name="connsiteX14" fmla="*/ 6930 w 9825"/>
                  <a:gd name="connsiteY14" fmla="*/ 4410 h 10000"/>
                  <a:gd name="connsiteX15" fmla="*/ 5965 w 9825"/>
                  <a:gd name="connsiteY15" fmla="*/ 4099 h 10000"/>
                  <a:gd name="connsiteX16" fmla="*/ 5965 w 9825"/>
                  <a:gd name="connsiteY16" fmla="*/ 4099 h 10000"/>
                  <a:gd name="connsiteX17" fmla="*/ 6492 w 9825"/>
                  <a:gd name="connsiteY17" fmla="*/ 3727 h 10000"/>
                  <a:gd name="connsiteX18" fmla="*/ 6843 w 9825"/>
                  <a:gd name="connsiteY18" fmla="*/ 3230 h 10000"/>
                  <a:gd name="connsiteX19" fmla="*/ 7106 w 9825"/>
                  <a:gd name="connsiteY19" fmla="*/ 2671 h 10000"/>
                  <a:gd name="connsiteX20" fmla="*/ 7369 w 9825"/>
                  <a:gd name="connsiteY20" fmla="*/ 2112 h 10000"/>
                  <a:gd name="connsiteX21" fmla="*/ 7369 w 9825"/>
                  <a:gd name="connsiteY21" fmla="*/ 2112 h 10000"/>
                  <a:gd name="connsiteX22" fmla="*/ 7281 w 9825"/>
                  <a:gd name="connsiteY22" fmla="*/ 1677 h 10000"/>
                  <a:gd name="connsiteX23" fmla="*/ 7106 w 9825"/>
                  <a:gd name="connsiteY23" fmla="*/ 1242 h 10000"/>
                  <a:gd name="connsiteX24" fmla="*/ 6930 w 9825"/>
                  <a:gd name="connsiteY24" fmla="*/ 870 h 10000"/>
                  <a:gd name="connsiteX25" fmla="*/ 6579 w 9825"/>
                  <a:gd name="connsiteY25" fmla="*/ 559 h 10000"/>
                  <a:gd name="connsiteX26" fmla="*/ 6229 w 9825"/>
                  <a:gd name="connsiteY26" fmla="*/ 311 h 10000"/>
                  <a:gd name="connsiteX27" fmla="*/ 5790 w 9825"/>
                  <a:gd name="connsiteY27" fmla="*/ 186 h 10000"/>
                  <a:gd name="connsiteX28" fmla="*/ 5351 w 9825"/>
                  <a:gd name="connsiteY28" fmla="*/ 0 h 10000"/>
                  <a:gd name="connsiteX29" fmla="*/ 4825 w 9825"/>
                  <a:gd name="connsiteY29" fmla="*/ 0 h 10000"/>
                  <a:gd name="connsiteX30" fmla="*/ 4825 w 9825"/>
                  <a:gd name="connsiteY30" fmla="*/ 0 h 10000"/>
                  <a:gd name="connsiteX31" fmla="*/ 4386 w 9825"/>
                  <a:gd name="connsiteY31" fmla="*/ 0 h 10000"/>
                  <a:gd name="connsiteX32" fmla="*/ 3948 w 9825"/>
                  <a:gd name="connsiteY32" fmla="*/ 186 h 10000"/>
                  <a:gd name="connsiteX33" fmla="*/ 3509 w 9825"/>
                  <a:gd name="connsiteY33" fmla="*/ 311 h 10000"/>
                  <a:gd name="connsiteX34" fmla="*/ 3071 w 9825"/>
                  <a:gd name="connsiteY34" fmla="*/ 559 h 10000"/>
                  <a:gd name="connsiteX35" fmla="*/ 2807 w 9825"/>
                  <a:gd name="connsiteY35" fmla="*/ 870 h 10000"/>
                  <a:gd name="connsiteX36" fmla="*/ 2544 w 9825"/>
                  <a:gd name="connsiteY36" fmla="*/ 1242 h 10000"/>
                  <a:gd name="connsiteX37" fmla="*/ 2369 w 9825"/>
                  <a:gd name="connsiteY37" fmla="*/ 1677 h 10000"/>
                  <a:gd name="connsiteX38" fmla="*/ 2369 w 9825"/>
                  <a:gd name="connsiteY38" fmla="*/ 2112 h 10000"/>
                  <a:gd name="connsiteX39" fmla="*/ 2369 w 9825"/>
                  <a:gd name="connsiteY39" fmla="*/ 2112 h 10000"/>
                  <a:gd name="connsiteX40" fmla="*/ 2457 w 9825"/>
                  <a:gd name="connsiteY40" fmla="*/ 2671 h 10000"/>
                  <a:gd name="connsiteX41" fmla="*/ 2807 w 9825"/>
                  <a:gd name="connsiteY41" fmla="*/ 3230 h 10000"/>
                  <a:gd name="connsiteX42" fmla="*/ 3246 w 9825"/>
                  <a:gd name="connsiteY42" fmla="*/ 3727 h 10000"/>
                  <a:gd name="connsiteX43" fmla="*/ 3685 w 9825"/>
                  <a:gd name="connsiteY43" fmla="*/ 4099 h 10000"/>
                  <a:gd name="connsiteX44" fmla="*/ 3685 w 9825"/>
                  <a:gd name="connsiteY44" fmla="*/ 4099 h 10000"/>
                  <a:gd name="connsiteX45" fmla="*/ 2720 w 9825"/>
                  <a:gd name="connsiteY45" fmla="*/ 4410 h 10000"/>
                  <a:gd name="connsiteX46" fmla="*/ 1930 w 9825"/>
                  <a:gd name="connsiteY46" fmla="*/ 4783 h 10000"/>
                  <a:gd name="connsiteX47" fmla="*/ 1229 w 9825"/>
                  <a:gd name="connsiteY47" fmla="*/ 5342 h 10000"/>
                  <a:gd name="connsiteX48" fmla="*/ 702 w 9825"/>
                  <a:gd name="connsiteY48" fmla="*/ 6087 h 10000"/>
                  <a:gd name="connsiteX49" fmla="*/ 264 w 9825"/>
                  <a:gd name="connsiteY49" fmla="*/ 6832 h 10000"/>
                  <a:gd name="connsiteX50" fmla="*/ 0 w 9825"/>
                  <a:gd name="connsiteY50" fmla="*/ 7702 h 10000"/>
                  <a:gd name="connsiteX0" fmla="*/ 4552 w 9731"/>
                  <a:gd name="connsiteY0" fmla="*/ 10000 h 10000"/>
                  <a:gd name="connsiteX1" fmla="*/ 4552 w 9731"/>
                  <a:gd name="connsiteY1" fmla="*/ 10000 h 10000"/>
                  <a:gd name="connsiteX2" fmla="*/ 6427 w 9731"/>
                  <a:gd name="connsiteY2" fmla="*/ 10000 h 10000"/>
                  <a:gd name="connsiteX3" fmla="*/ 8124 w 9731"/>
                  <a:gd name="connsiteY3" fmla="*/ 9938 h 10000"/>
                  <a:gd name="connsiteX4" fmla="*/ 9284 w 9731"/>
                  <a:gd name="connsiteY4" fmla="*/ 9814 h 10000"/>
                  <a:gd name="connsiteX5" fmla="*/ 9641 w 9731"/>
                  <a:gd name="connsiteY5" fmla="*/ 9752 h 10000"/>
                  <a:gd name="connsiteX6" fmla="*/ 9731 w 9731"/>
                  <a:gd name="connsiteY6" fmla="*/ 9689 h 10000"/>
                  <a:gd name="connsiteX7" fmla="*/ 9731 w 9731"/>
                  <a:gd name="connsiteY7" fmla="*/ 9689 h 10000"/>
                  <a:gd name="connsiteX8" fmla="*/ 9731 w 9731"/>
                  <a:gd name="connsiteY8" fmla="*/ 8634 h 10000"/>
                  <a:gd name="connsiteX9" fmla="*/ 9641 w 9731"/>
                  <a:gd name="connsiteY9" fmla="*/ 7702 h 10000"/>
                  <a:gd name="connsiteX10" fmla="*/ 9284 w 9731"/>
                  <a:gd name="connsiteY10" fmla="*/ 6832 h 10000"/>
                  <a:gd name="connsiteX11" fmla="*/ 8928 w 9731"/>
                  <a:gd name="connsiteY11" fmla="*/ 6087 h 10000"/>
                  <a:gd name="connsiteX12" fmla="*/ 8392 w 9731"/>
                  <a:gd name="connsiteY12" fmla="*/ 5342 h 10000"/>
                  <a:gd name="connsiteX13" fmla="*/ 7677 w 9731"/>
                  <a:gd name="connsiteY13" fmla="*/ 4783 h 10000"/>
                  <a:gd name="connsiteX14" fmla="*/ 6784 w 9731"/>
                  <a:gd name="connsiteY14" fmla="*/ 4410 h 10000"/>
                  <a:gd name="connsiteX15" fmla="*/ 5802 w 9731"/>
                  <a:gd name="connsiteY15" fmla="*/ 4099 h 10000"/>
                  <a:gd name="connsiteX16" fmla="*/ 5802 w 9731"/>
                  <a:gd name="connsiteY16" fmla="*/ 4099 h 10000"/>
                  <a:gd name="connsiteX17" fmla="*/ 6339 w 9731"/>
                  <a:gd name="connsiteY17" fmla="*/ 3727 h 10000"/>
                  <a:gd name="connsiteX18" fmla="*/ 6696 w 9731"/>
                  <a:gd name="connsiteY18" fmla="*/ 3230 h 10000"/>
                  <a:gd name="connsiteX19" fmla="*/ 6964 w 9731"/>
                  <a:gd name="connsiteY19" fmla="*/ 2671 h 10000"/>
                  <a:gd name="connsiteX20" fmla="*/ 7231 w 9731"/>
                  <a:gd name="connsiteY20" fmla="*/ 2112 h 10000"/>
                  <a:gd name="connsiteX21" fmla="*/ 7231 w 9731"/>
                  <a:gd name="connsiteY21" fmla="*/ 2112 h 10000"/>
                  <a:gd name="connsiteX22" fmla="*/ 7142 w 9731"/>
                  <a:gd name="connsiteY22" fmla="*/ 1677 h 10000"/>
                  <a:gd name="connsiteX23" fmla="*/ 6964 w 9731"/>
                  <a:gd name="connsiteY23" fmla="*/ 1242 h 10000"/>
                  <a:gd name="connsiteX24" fmla="*/ 6784 w 9731"/>
                  <a:gd name="connsiteY24" fmla="*/ 870 h 10000"/>
                  <a:gd name="connsiteX25" fmla="*/ 6427 w 9731"/>
                  <a:gd name="connsiteY25" fmla="*/ 559 h 10000"/>
                  <a:gd name="connsiteX26" fmla="*/ 6071 w 9731"/>
                  <a:gd name="connsiteY26" fmla="*/ 311 h 10000"/>
                  <a:gd name="connsiteX27" fmla="*/ 5624 w 9731"/>
                  <a:gd name="connsiteY27" fmla="*/ 186 h 10000"/>
                  <a:gd name="connsiteX28" fmla="*/ 5177 w 9731"/>
                  <a:gd name="connsiteY28" fmla="*/ 0 h 10000"/>
                  <a:gd name="connsiteX29" fmla="*/ 4642 w 9731"/>
                  <a:gd name="connsiteY29" fmla="*/ 0 h 10000"/>
                  <a:gd name="connsiteX30" fmla="*/ 4642 w 9731"/>
                  <a:gd name="connsiteY30" fmla="*/ 0 h 10000"/>
                  <a:gd name="connsiteX31" fmla="*/ 4195 w 9731"/>
                  <a:gd name="connsiteY31" fmla="*/ 0 h 10000"/>
                  <a:gd name="connsiteX32" fmla="*/ 3749 w 9731"/>
                  <a:gd name="connsiteY32" fmla="*/ 186 h 10000"/>
                  <a:gd name="connsiteX33" fmla="*/ 3303 w 9731"/>
                  <a:gd name="connsiteY33" fmla="*/ 311 h 10000"/>
                  <a:gd name="connsiteX34" fmla="*/ 2857 w 9731"/>
                  <a:gd name="connsiteY34" fmla="*/ 559 h 10000"/>
                  <a:gd name="connsiteX35" fmla="*/ 2588 w 9731"/>
                  <a:gd name="connsiteY35" fmla="*/ 870 h 10000"/>
                  <a:gd name="connsiteX36" fmla="*/ 2320 w 9731"/>
                  <a:gd name="connsiteY36" fmla="*/ 1242 h 10000"/>
                  <a:gd name="connsiteX37" fmla="*/ 2142 w 9731"/>
                  <a:gd name="connsiteY37" fmla="*/ 1677 h 10000"/>
                  <a:gd name="connsiteX38" fmla="*/ 2142 w 9731"/>
                  <a:gd name="connsiteY38" fmla="*/ 2112 h 10000"/>
                  <a:gd name="connsiteX39" fmla="*/ 2142 w 9731"/>
                  <a:gd name="connsiteY39" fmla="*/ 2112 h 10000"/>
                  <a:gd name="connsiteX40" fmla="*/ 2232 w 9731"/>
                  <a:gd name="connsiteY40" fmla="*/ 2671 h 10000"/>
                  <a:gd name="connsiteX41" fmla="*/ 2588 w 9731"/>
                  <a:gd name="connsiteY41" fmla="*/ 3230 h 10000"/>
                  <a:gd name="connsiteX42" fmla="*/ 3035 w 9731"/>
                  <a:gd name="connsiteY42" fmla="*/ 3727 h 10000"/>
                  <a:gd name="connsiteX43" fmla="*/ 3482 w 9731"/>
                  <a:gd name="connsiteY43" fmla="*/ 4099 h 10000"/>
                  <a:gd name="connsiteX44" fmla="*/ 3482 w 9731"/>
                  <a:gd name="connsiteY44" fmla="*/ 4099 h 10000"/>
                  <a:gd name="connsiteX45" fmla="*/ 2499 w 9731"/>
                  <a:gd name="connsiteY45" fmla="*/ 4410 h 10000"/>
                  <a:gd name="connsiteX46" fmla="*/ 1695 w 9731"/>
                  <a:gd name="connsiteY46" fmla="*/ 4783 h 10000"/>
                  <a:gd name="connsiteX47" fmla="*/ 982 w 9731"/>
                  <a:gd name="connsiteY47" fmla="*/ 5342 h 10000"/>
                  <a:gd name="connsiteX48" fmla="*/ 446 w 9731"/>
                  <a:gd name="connsiteY48" fmla="*/ 6087 h 10000"/>
                  <a:gd name="connsiteX49" fmla="*/ 0 w 9731"/>
                  <a:gd name="connsiteY49" fmla="*/ 6832 h 10000"/>
                  <a:gd name="connsiteX0" fmla="*/ 4220 w 9542"/>
                  <a:gd name="connsiteY0" fmla="*/ 10000 h 10000"/>
                  <a:gd name="connsiteX1" fmla="*/ 4220 w 9542"/>
                  <a:gd name="connsiteY1" fmla="*/ 10000 h 10000"/>
                  <a:gd name="connsiteX2" fmla="*/ 6147 w 9542"/>
                  <a:gd name="connsiteY2" fmla="*/ 10000 h 10000"/>
                  <a:gd name="connsiteX3" fmla="*/ 7891 w 9542"/>
                  <a:gd name="connsiteY3" fmla="*/ 9938 h 10000"/>
                  <a:gd name="connsiteX4" fmla="*/ 9083 w 9542"/>
                  <a:gd name="connsiteY4" fmla="*/ 9814 h 10000"/>
                  <a:gd name="connsiteX5" fmla="*/ 9450 w 9542"/>
                  <a:gd name="connsiteY5" fmla="*/ 9752 h 10000"/>
                  <a:gd name="connsiteX6" fmla="*/ 9542 w 9542"/>
                  <a:gd name="connsiteY6" fmla="*/ 9689 h 10000"/>
                  <a:gd name="connsiteX7" fmla="*/ 9542 w 9542"/>
                  <a:gd name="connsiteY7" fmla="*/ 9689 h 10000"/>
                  <a:gd name="connsiteX8" fmla="*/ 9542 w 9542"/>
                  <a:gd name="connsiteY8" fmla="*/ 8634 h 10000"/>
                  <a:gd name="connsiteX9" fmla="*/ 9450 w 9542"/>
                  <a:gd name="connsiteY9" fmla="*/ 7702 h 10000"/>
                  <a:gd name="connsiteX10" fmla="*/ 9083 w 9542"/>
                  <a:gd name="connsiteY10" fmla="*/ 6832 h 10000"/>
                  <a:gd name="connsiteX11" fmla="*/ 8717 w 9542"/>
                  <a:gd name="connsiteY11" fmla="*/ 6087 h 10000"/>
                  <a:gd name="connsiteX12" fmla="*/ 8166 w 9542"/>
                  <a:gd name="connsiteY12" fmla="*/ 5342 h 10000"/>
                  <a:gd name="connsiteX13" fmla="*/ 7431 w 9542"/>
                  <a:gd name="connsiteY13" fmla="*/ 4783 h 10000"/>
                  <a:gd name="connsiteX14" fmla="*/ 6514 w 9542"/>
                  <a:gd name="connsiteY14" fmla="*/ 4410 h 10000"/>
                  <a:gd name="connsiteX15" fmla="*/ 5504 w 9542"/>
                  <a:gd name="connsiteY15" fmla="*/ 4099 h 10000"/>
                  <a:gd name="connsiteX16" fmla="*/ 5504 w 9542"/>
                  <a:gd name="connsiteY16" fmla="*/ 4099 h 10000"/>
                  <a:gd name="connsiteX17" fmla="*/ 6056 w 9542"/>
                  <a:gd name="connsiteY17" fmla="*/ 3727 h 10000"/>
                  <a:gd name="connsiteX18" fmla="*/ 6423 w 9542"/>
                  <a:gd name="connsiteY18" fmla="*/ 3230 h 10000"/>
                  <a:gd name="connsiteX19" fmla="*/ 6699 w 9542"/>
                  <a:gd name="connsiteY19" fmla="*/ 2671 h 10000"/>
                  <a:gd name="connsiteX20" fmla="*/ 6973 w 9542"/>
                  <a:gd name="connsiteY20" fmla="*/ 2112 h 10000"/>
                  <a:gd name="connsiteX21" fmla="*/ 6973 w 9542"/>
                  <a:gd name="connsiteY21" fmla="*/ 2112 h 10000"/>
                  <a:gd name="connsiteX22" fmla="*/ 6881 w 9542"/>
                  <a:gd name="connsiteY22" fmla="*/ 1677 h 10000"/>
                  <a:gd name="connsiteX23" fmla="*/ 6699 w 9542"/>
                  <a:gd name="connsiteY23" fmla="*/ 1242 h 10000"/>
                  <a:gd name="connsiteX24" fmla="*/ 6514 w 9542"/>
                  <a:gd name="connsiteY24" fmla="*/ 870 h 10000"/>
                  <a:gd name="connsiteX25" fmla="*/ 6147 w 9542"/>
                  <a:gd name="connsiteY25" fmla="*/ 559 h 10000"/>
                  <a:gd name="connsiteX26" fmla="*/ 5781 w 9542"/>
                  <a:gd name="connsiteY26" fmla="*/ 311 h 10000"/>
                  <a:gd name="connsiteX27" fmla="*/ 5321 w 9542"/>
                  <a:gd name="connsiteY27" fmla="*/ 186 h 10000"/>
                  <a:gd name="connsiteX28" fmla="*/ 4862 w 9542"/>
                  <a:gd name="connsiteY28" fmla="*/ 0 h 10000"/>
                  <a:gd name="connsiteX29" fmla="*/ 4312 w 9542"/>
                  <a:gd name="connsiteY29" fmla="*/ 0 h 10000"/>
                  <a:gd name="connsiteX30" fmla="*/ 4312 w 9542"/>
                  <a:gd name="connsiteY30" fmla="*/ 0 h 10000"/>
                  <a:gd name="connsiteX31" fmla="*/ 3853 w 9542"/>
                  <a:gd name="connsiteY31" fmla="*/ 0 h 10000"/>
                  <a:gd name="connsiteX32" fmla="*/ 3395 w 9542"/>
                  <a:gd name="connsiteY32" fmla="*/ 186 h 10000"/>
                  <a:gd name="connsiteX33" fmla="*/ 2936 w 9542"/>
                  <a:gd name="connsiteY33" fmla="*/ 311 h 10000"/>
                  <a:gd name="connsiteX34" fmla="*/ 2478 w 9542"/>
                  <a:gd name="connsiteY34" fmla="*/ 559 h 10000"/>
                  <a:gd name="connsiteX35" fmla="*/ 2202 w 9542"/>
                  <a:gd name="connsiteY35" fmla="*/ 870 h 10000"/>
                  <a:gd name="connsiteX36" fmla="*/ 1926 w 9542"/>
                  <a:gd name="connsiteY36" fmla="*/ 1242 h 10000"/>
                  <a:gd name="connsiteX37" fmla="*/ 1743 w 9542"/>
                  <a:gd name="connsiteY37" fmla="*/ 1677 h 10000"/>
                  <a:gd name="connsiteX38" fmla="*/ 1743 w 9542"/>
                  <a:gd name="connsiteY38" fmla="*/ 2112 h 10000"/>
                  <a:gd name="connsiteX39" fmla="*/ 1743 w 9542"/>
                  <a:gd name="connsiteY39" fmla="*/ 2112 h 10000"/>
                  <a:gd name="connsiteX40" fmla="*/ 1836 w 9542"/>
                  <a:gd name="connsiteY40" fmla="*/ 2671 h 10000"/>
                  <a:gd name="connsiteX41" fmla="*/ 2202 w 9542"/>
                  <a:gd name="connsiteY41" fmla="*/ 3230 h 10000"/>
                  <a:gd name="connsiteX42" fmla="*/ 2661 w 9542"/>
                  <a:gd name="connsiteY42" fmla="*/ 3727 h 10000"/>
                  <a:gd name="connsiteX43" fmla="*/ 3120 w 9542"/>
                  <a:gd name="connsiteY43" fmla="*/ 4099 h 10000"/>
                  <a:gd name="connsiteX44" fmla="*/ 3120 w 9542"/>
                  <a:gd name="connsiteY44" fmla="*/ 4099 h 10000"/>
                  <a:gd name="connsiteX45" fmla="*/ 2110 w 9542"/>
                  <a:gd name="connsiteY45" fmla="*/ 4410 h 10000"/>
                  <a:gd name="connsiteX46" fmla="*/ 1284 w 9542"/>
                  <a:gd name="connsiteY46" fmla="*/ 4783 h 10000"/>
                  <a:gd name="connsiteX47" fmla="*/ 551 w 9542"/>
                  <a:gd name="connsiteY47" fmla="*/ 5342 h 10000"/>
                  <a:gd name="connsiteX48" fmla="*/ 0 w 9542"/>
                  <a:gd name="connsiteY48" fmla="*/ 6087 h 10000"/>
                  <a:gd name="connsiteX0" fmla="*/ 3846 w 9423"/>
                  <a:gd name="connsiteY0" fmla="*/ 10000 h 10000"/>
                  <a:gd name="connsiteX1" fmla="*/ 3846 w 9423"/>
                  <a:gd name="connsiteY1" fmla="*/ 10000 h 10000"/>
                  <a:gd name="connsiteX2" fmla="*/ 5865 w 9423"/>
                  <a:gd name="connsiteY2" fmla="*/ 10000 h 10000"/>
                  <a:gd name="connsiteX3" fmla="*/ 7693 w 9423"/>
                  <a:gd name="connsiteY3" fmla="*/ 9938 h 10000"/>
                  <a:gd name="connsiteX4" fmla="*/ 8942 w 9423"/>
                  <a:gd name="connsiteY4" fmla="*/ 9814 h 10000"/>
                  <a:gd name="connsiteX5" fmla="*/ 9327 w 9423"/>
                  <a:gd name="connsiteY5" fmla="*/ 9752 h 10000"/>
                  <a:gd name="connsiteX6" fmla="*/ 9423 w 9423"/>
                  <a:gd name="connsiteY6" fmla="*/ 9689 h 10000"/>
                  <a:gd name="connsiteX7" fmla="*/ 9423 w 9423"/>
                  <a:gd name="connsiteY7" fmla="*/ 9689 h 10000"/>
                  <a:gd name="connsiteX8" fmla="*/ 9423 w 9423"/>
                  <a:gd name="connsiteY8" fmla="*/ 8634 h 10000"/>
                  <a:gd name="connsiteX9" fmla="*/ 9327 w 9423"/>
                  <a:gd name="connsiteY9" fmla="*/ 7702 h 10000"/>
                  <a:gd name="connsiteX10" fmla="*/ 8942 w 9423"/>
                  <a:gd name="connsiteY10" fmla="*/ 6832 h 10000"/>
                  <a:gd name="connsiteX11" fmla="*/ 8558 w 9423"/>
                  <a:gd name="connsiteY11" fmla="*/ 6087 h 10000"/>
                  <a:gd name="connsiteX12" fmla="*/ 7981 w 9423"/>
                  <a:gd name="connsiteY12" fmla="*/ 5342 h 10000"/>
                  <a:gd name="connsiteX13" fmla="*/ 7211 w 9423"/>
                  <a:gd name="connsiteY13" fmla="*/ 4783 h 10000"/>
                  <a:gd name="connsiteX14" fmla="*/ 6250 w 9423"/>
                  <a:gd name="connsiteY14" fmla="*/ 4410 h 10000"/>
                  <a:gd name="connsiteX15" fmla="*/ 5191 w 9423"/>
                  <a:gd name="connsiteY15" fmla="*/ 4099 h 10000"/>
                  <a:gd name="connsiteX16" fmla="*/ 5191 w 9423"/>
                  <a:gd name="connsiteY16" fmla="*/ 4099 h 10000"/>
                  <a:gd name="connsiteX17" fmla="*/ 5770 w 9423"/>
                  <a:gd name="connsiteY17" fmla="*/ 3727 h 10000"/>
                  <a:gd name="connsiteX18" fmla="*/ 6154 w 9423"/>
                  <a:gd name="connsiteY18" fmla="*/ 3230 h 10000"/>
                  <a:gd name="connsiteX19" fmla="*/ 6444 w 9423"/>
                  <a:gd name="connsiteY19" fmla="*/ 2671 h 10000"/>
                  <a:gd name="connsiteX20" fmla="*/ 6731 w 9423"/>
                  <a:gd name="connsiteY20" fmla="*/ 2112 h 10000"/>
                  <a:gd name="connsiteX21" fmla="*/ 6731 w 9423"/>
                  <a:gd name="connsiteY21" fmla="*/ 2112 h 10000"/>
                  <a:gd name="connsiteX22" fmla="*/ 6634 w 9423"/>
                  <a:gd name="connsiteY22" fmla="*/ 1677 h 10000"/>
                  <a:gd name="connsiteX23" fmla="*/ 6444 w 9423"/>
                  <a:gd name="connsiteY23" fmla="*/ 1242 h 10000"/>
                  <a:gd name="connsiteX24" fmla="*/ 6250 w 9423"/>
                  <a:gd name="connsiteY24" fmla="*/ 870 h 10000"/>
                  <a:gd name="connsiteX25" fmla="*/ 5865 w 9423"/>
                  <a:gd name="connsiteY25" fmla="*/ 559 h 10000"/>
                  <a:gd name="connsiteX26" fmla="*/ 5481 w 9423"/>
                  <a:gd name="connsiteY26" fmla="*/ 311 h 10000"/>
                  <a:gd name="connsiteX27" fmla="*/ 4999 w 9423"/>
                  <a:gd name="connsiteY27" fmla="*/ 186 h 10000"/>
                  <a:gd name="connsiteX28" fmla="*/ 4518 w 9423"/>
                  <a:gd name="connsiteY28" fmla="*/ 0 h 10000"/>
                  <a:gd name="connsiteX29" fmla="*/ 3942 w 9423"/>
                  <a:gd name="connsiteY29" fmla="*/ 0 h 10000"/>
                  <a:gd name="connsiteX30" fmla="*/ 3942 w 9423"/>
                  <a:gd name="connsiteY30" fmla="*/ 0 h 10000"/>
                  <a:gd name="connsiteX31" fmla="*/ 3461 w 9423"/>
                  <a:gd name="connsiteY31" fmla="*/ 0 h 10000"/>
                  <a:gd name="connsiteX32" fmla="*/ 2981 w 9423"/>
                  <a:gd name="connsiteY32" fmla="*/ 186 h 10000"/>
                  <a:gd name="connsiteX33" fmla="*/ 2500 w 9423"/>
                  <a:gd name="connsiteY33" fmla="*/ 311 h 10000"/>
                  <a:gd name="connsiteX34" fmla="*/ 2020 w 9423"/>
                  <a:gd name="connsiteY34" fmla="*/ 559 h 10000"/>
                  <a:gd name="connsiteX35" fmla="*/ 1731 w 9423"/>
                  <a:gd name="connsiteY35" fmla="*/ 870 h 10000"/>
                  <a:gd name="connsiteX36" fmla="*/ 1441 w 9423"/>
                  <a:gd name="connsiteY36" fmla="*/ 1242 h 10000"/>
                  <a:gd name="connsiteX37" fmla="*/ 1250 w 9423"/>
                  <a:gd name="connsiteY37" fmla="*/ 1677 h 10000"/>
                  <a:gd name="connsiteX38" fmla="*/ 1250 w 9423"/>
                  <a:gd name="connsiteY38" fmla="*/ 2112 h 10000"/>
                  <a:gd name="connsiteX39" fmla="*/ 1250 w 9423"/>
                  <a:gd name="connsiteY39" fmla="*/ 2112 h 10000"/>
                  <a:gd name="connsiteX40" fmla="*/ 1347 w 9423"/>
                  <a:gd name="connsiteY40" fmla="*/ 2671 h 10000"/>
                  <a:gd name="connsiteX41" fmla="*/ 1731 w 9423"/>
                  <a:gd name="connsiteY41" fmla="*/ 3230 h 10000"/>
                  <a:gd name="connsiteX42" fmla="*/ 2212 w 9423"/>
                  <a:gd name="connsiteY42" fmla="*/ 3727 h 10000"/>
                  <a:gd name="connsiteX43" fmla="*/ 2693 w 9423"/>
                  <a:gd name="connsiteY43" fmla="*/ 4099 h 10000"/>
                  <a:gd name="connsiteX44" fmla="*/ 2693 w 9423"/>
                  <a:gd name="connsiteY44" fmla="*/ 4099 h 10000"/>
                  <a:gd name="connsiteX45" fmla="*/ 1634 w 9423"/>
                  <a:gd name="connsiteY45" fmla="*/ 4410 h 10000"/>
                  <a:gd name="connsiteX46" fmla="*/ 769 w 9423"/>
                  <a:gd name="connsiteY46" fmla="*/ 4783 h 10000"/>
                  <a:gd name="connsiteX47" fmla="*/ 0 w 9423"/>
                  <a:gd name="connsiteY47" fmla="*/ 5342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9423" h="10000">
                    <a:moveTo>
                      <a:pt x="3846" y="10000"/>
                    </a:moveTo>
                    <a:lnTo>
                      <a:pt x="3846" y="10000"/>
                    </a:lnTo>
                    <a:lnTo>
                      <a:pt x="5865" y="10000"/>
                    </a:lnTo>
                    <a:lnTo>
                      <a:pt x="7693" y="9938"/>
                    </a:lnTo>
                    <a:lnTo>
                      <a:pt x="8942" y="9814"/>
                    </a:lnTo>
                    <a:lnTo>
                      <a:pt x="9327" y="9752"/>
                    </a:lnTo>
                    <a:lnTo>
                      <a:pt x="9423" y="9689"/>
                    </a:lnTo>
                    <a:lnTo>
                      <a:pt x="9423" y="9689"/>
                    </a:lnTo>
                    <a:lnTo>
                      <a:pt x="9423" y="8634"/>
                    </a:lnTo>
                    <a:cubicBezTo>
                      <a:pt x="9391" y="8323"/>
                      <a:pt x="9358" y="8013"/>
                      <a:pt x="9327" y="7702"/>
                    </a:cubicBezTo>
                    <a:lnTo>
                      <a:pt x="8942" y="6832"/>
                    </a:lnTo>
                    <a:lnTo>
                      <a:pt x="8558" y="6087"/>
                    </a:lnTo>
                    <a:lnTo>
                      <a:pt x="7981" y="5342"/>
                    </a:lnTo>
                    <a:lnTo>
                      <a:pt x="7211" y="4783"/>
                    </a:lnTo>
                    <a:lnTo>
                      <a:pt x="6250" y="4410"/>
                    </a:lnTo>
                    <a:lnTo>
                      <a:pt x="5191" y="4099"/>
                    </a:lnTo>
                    <a:lnTo>
                      <a:pt x="5191" y="4099"/>
                    </a:lnTo>
                    <a:lnTo>
                      <a:pt x="5770" y="3727"/>
                    </a:lnTo>
                    <a:lnTo>
                      <a:pt x="6154" y="3230"/>
                    </a:lnTo>
                    <a:cubicBezTo>
                      <a:pt x="6251" y="3044"/>
                      <a:pt x="6347" y="2857"/>
                      <a:pt x="6444" y="2671"/>
                    </a:cubicBezTo>
                    <a:cubicBezTo>
                      <a:pt x="6540" y="2485"/>
                      <a:pt x="6635" y="2298"/>
                      <a:pt x="6731" y="2112"/>
                    </a:cubicBezTo>
                    <a:lnTo>
                      <a:pt x="6731" y="2112"/>
                    </a:lnTo>
                    <a:cubicBezTo>
                      <a:pt x="6699" y="1967"/>
                      <a:pt x="6666" y="1822"/>
                      <a:pt x="6634" y="1677"/>
                    </a:cubicBezTo>
                    <a:cubicBezTo>
                      <a:pt x="6571" y="1532"/>
                      <a:pt x="6506" y="1387"/>
                      <a:pt x="6444" y="1242"/>
                    </a:cubicBezTo>
                    <a:lnTo>
                      <a:pt x="6250" y="870"/>
                    </a:lnTo>
                    <a:lnTo>
                      <a:pt x="5865" y="559"/>
                    </a:lnTo>
                    <a:lnTo>
                      <a:pt x="5481" y="311"/>
                    </a:lnTo>
                    <a:lnTo>
                      <a:pt x="4999" y="186"/>
                    </a:lnTo>
                    <a:lnTo>
                      <a:pt x="4518" y="0"/>
                    </a:lnTo>
                    <a:lnTo>
                      <a:pt x="3942" y="0"/>
                    </a:lnTo>
                    <a:lnTo>
                      <a:pt x="3942" y="0"/>
                    </a:lnTo>
                    <a:lnTo>
                      <a:pt x="3461" y="0"/>
                    </a:lnTo>
                    <a:lnTo>
                      <a:pt x="2981" y="186"/>
                    </a:lnTo>
                    <a:lnTo>
                      <a:pt x="2500" y="311"/>
                    </a:lnTo>
                    <a:lnTo>
                      <a:pt x="2020" y="559"/>
                    </a:lnTo>
                    <a:lnTo>
                      <a:pt x="1731" y="870"/>
                    </a:lnTo>
                    <a:lnTo>
                      <a:pt x="1441" y="1242"/>
                    </a:lnTo>
                    <a:cubicBezTo>
                      <a:pt x="1379" y="1387"/>
                      <a:pt x="1314" y="1532"/>
                      <a:pt x="1250" y="1677"/>
                    </a:cubicBezTo>
                    <a:lnTo>
                      <a:pt x="1250" y="2112"/>
                    </a:lnTo>
                    <a:lnTo>
                      <a:pt x="1250" y="2112"/>
                    </a:lnTo>
                    <a:cubicBezTo>
                      <a:pt x="1282" y="2298"/>
                      <a:pt x="1315" y="2485"/>
                      <a:pt x="1347" y="2671"/>
                    </a:cubicBezTo>
                    <a:lnTo>
                      <a:pt x="1731" y="3230"/>
                    </a:lnTo>
                    <a:lnTo>
                      <a:pt x="2212" y="3727"/>
                    </a:lnTo>
                    <a:lnTo>
                      <a:pt x="2693" y="4099"/>
                    </a:lnTo>
                    <a:lnTo>
                      <a:pt x="2693" y="4099"/>
                    </a:lnTo>
                    <a:lnTo>
                      <a:pt x="1634" y="4410"/>
                    </a:lnTo>
                    <a:lnTo>
                      <a:pt x="769" y="4783"/>
                    </a:lnTo>
                    <a:lnTo>
                      <a:pt x="0" y="5342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2" name="Freeform 897"/>
              <p:cNvSpPr>
                <a:spLocks/>
              </p:cNvSpPr>
              <p:nvPr/>
            </p:nvSpPr>
            <p:spPr bwMode="auto">
              <a:xfrm>
                <a:off x="4509658" y="4876544"/>
                <a:ext cx="181869" cy="255132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2666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52" fmla="*/ 0 w 10000"/>
                  <a:gd name="connsiteY52" fmla="*/ 9689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10000" h="10000">
                    <a:moveTo>
                      <a:pt x="4912" y="10000"/>
                    </a:moveTo>
                    <a:lnTo>
                      <a:pt x="2666" y="10000"/>
                    </a:lnTo>
                    <a:lnTo>
                      <a:pt x="6754" y="10000"/>
                    </a:lnTo>
                    <a:lnTo>
                      <a:pt x="8421" y="9938"/>
                    </a:lnTo>
                    <a:lnTo>
                      <a:pt x="9561" y="9814"/>
                    </a:lnTo>
                    <a:lnTo>
                      <a:pt x="9912" y="9752"/>
                    </a:lnTo>
                    <a:lnTo>
                      <a:pt x="10000" y="9689"/>
                    </a:lnTo>
                    <a:lnTo>
                      <a:pt x="10000" y="9689"/>
                    </a:lnTo>
                    <a:lnTo>
                      <a:pt x="10000" y="8634"/>
                    </a:lnTo>
                    <a:cubicBezTo>
                      <a:pt x="9971" y="8323"/>
                      <a:pt x="9941" y="8013"/>
                      <a:pt x="9912" y="7702"/>
                    </a:cubicBezTo>
                    <a:lnTo>
                      <a:pt x="9561" y="6832"/>
                    </a:lnTo>
                    <a:lnTo>
                      <a:pt x="9211" y="6087"/>
                    </a:lnTo>
                    <a:lnTo>
                      <a:pt x="8684" y="5342"/>
                    </a:lnTo>
                    <a:lnTo>
                      <a:pt x="7982" y="4783"/>
                    </a:lnTo>
                    <a:lnTo>
                      <a:pt x="7105" y="4410"/>
                    </a:lnTo>
                    <a:lnTo>
                      <a:pt x="6140" y="4099"/>
                    </a:lnTo>
                    <a:lnTo>
                      <a:pt x="6140" y="4099"/>
                    </a:lnTo>
                    <a:lnTo>
                      <a:pt x="6667" y="3727"/>
                    </a:lnTo>
                    <a:lnTo>
                      <a:pt x="7018" y="3230"/>
                    </a:lnTo>
                    <a:cubicBezTo>
                      <a:pt x="7106" y="3044"/>
                      <a:pt x="7193" y="2857"/>
                      <a:pt x="7281" y="2671"/>
                    </a:cubicBezTo>
                    <a:cubicBezTo>
                      <a:pt x="7369" y="2485"/>
                      <a:pt x="7456" y="2298"/>
                      <a:pt x="7544" y="2112"/>
                    </a:cubicBezTo>
                    <a:lnTo>
                      <a:pt x="7544" y="2112"/>
                    </a:lnTo>
                    <a:cubicBezTo>
                      <a:pt x="7515" y="1967"/>
                      <a:pt x="7485" y="1822"/>
                      <a:pt x="7456" y="1677"/>
                    </a:cubicBezTo>
                    <a:cubicBezTo>
                      <a:pt x="7398" y="1532"/>
                      <a:pt x="7339" y="1387"/>
                      <a:pt x="7281" y="1242"/>
                    </a:cubicBezTo>
                    <a:cubicBezTo>
                      <a:pt x="7222" y="1118"/>
                      <a:pt x="7164" y="994"/>
                      <a:pt x="7105" y="870"/>
                    </a:cubicBezTo>
                    <a:lnTo>
                      <a:pt x="6754" y="559"/>
                    </a:lnTo>
                    <a:lnTo>
                      <a:pt x="6404" y="311"/>
                    </a:lnTo>
                    <a:lnTo>
                      <a:pt x="5965" y="186"/>
                    </a:lnTo>
                    <a:lnTo>
                      <a:pt x="5526" y="0"/>
                    </a:lnTo>
                    <a:lnTo>
                      <a:pt x="5000" y="0"/>
                    </a:lnTo>
                    <a:lnTo>
                      <a:pt x="5000" y="0"/>
                    </a:lnTo>
                    <a:lnTo>
                      <a:pt x="4561" y="0"/>
                    </a:lnTo>
                    <a:lnTo>
                      <a:pt x="4123" y="186"/>
                    </a:lnTo>
                    <a:lnTo>
                      <a:pt x="3684" y="311"/>
                    </a:lnTo>
                    <a:lnTo>
                      <a:pt x="3246" y="559"/>
                    </a:lnTo>
                    <a:lnTo>
                      <a:pt x="2982" y="870"/>
                    </a:lnTo>
                    <a:lnTo>
                      <a:pt x="2719" y="1242"/>
                    </a:lnTo>
                    <a:cubicBezTo>
                      <a:pt x="2661" y="1387"/>
                      <a:pt x="2602" y="1532"/>
                      <a:pt x="2544" y="1677"/>
                    </a:cubicBezTo>
                    <a:lnTo>
                      <a:pt x="2544" y="2112"/>
                    </a:lnTo>
                    <a:lnTo>
                      <a:pt x="2544" y="2112"/>
                    </a:lnTo>
                    <a:cubicBezTo>
                      <a:pt x="2573" y="2298"/>
                      <a:pt x="2603" y="2485"/>
                      <a:pt x="2632" y="2671"/>
                    </a:cubicBezTo>
                    <a:lnTo>
                      <a:pt x="2982" y="3230"/>
                    </a:lnTo>
                    <a:lnTo>
                      <a:pt x="3421" y="3727"/>
                    </a:lnTo>
                    <a:lnTo>
                      <a:pt x="3860" y="4099"/>
                    </a:lnTo>
                    <a:lnTo>
                      <a:pt x="3860" y="4099"/>
                    </a:lnTo>
                    <a:lnTo>
                      <a:pt x="2895" y="4410"/>
                    </a:lnTo>
                    <a:lnTo>
                      <a:pt x="2105" y="4783"/>
                    </a:lnTo>
                    <a:lnTo>
                      <a:pt x="1404" y="5342"/>
                    </a:lnTo>
                    <a:lnTo>
                      <a:pt x="877" y="6087"/>
                    </a:lnTo>
                    <a:lnTo>
                      <a:pt x="439" y="6832"/>
                    </a:lnTo>
                    <a:lnTo>
                      <a:pt x="175" y="7702"/>
                    </a:lnTo>
                    <a:cubicBezTo>
                      <a:pt x="117" y="8013"/>
                      <a:pt x="58" y="8323"/>
                      <a:pt x="0" y="8634"/>
                    </a:cubicBezTo>
                    <a:lnTo>
                      <a:pt x="0" y="968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grpSp>
            <p:nvGrpSpPr>
              <p:cNvPr id="9" name="Groupe 78"/>
              <p:cNvGrpSpPr>
                <a:grpSpLocks/>
              </p:cNvGrpSpPr>
              <p:nvPr/>
            </p:nvGrpSpPr>
            <p:grpSpPr bwMode="auto">
              <a:xfrm>
                <a:off x="4430703" y="4715239"/>
                <a:ext cx="166698" cy="247657"/>
                <a:chOff x="4430703" y="4715239"/>
                <a:chExt cx="166698" cy="247657"/>
              </a:xfrm>
            </p:grpSpPr>
            <p:sp>
              <p:nvSpPr>
                <p:cNvPr id="24" name="Freeform 897"/>
                <p:cNvSpPr>
                  <a:spLocks/>
                </p:cNvSpPr>
                <p:nvPr/>
              </p:nvSpPr>
              <p:spPr bwMode="auto">
                <a:xfrm>
                  <a:off x="4431090" y="4714686"/>
                  <a:ext cx="165865" cy="248273"/>
                </a:xfrm>
                <a:custGeom>
                  <a:avLst/>
                  <a:gdLst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6754 w 10000"/>
                    <a:gd name="connsiteY2" fmla="*/ 10000 h 10000"/>
                    <a:gd name="connsiteX3" fmla="*/ 8421 w 10000"/>
                    <a:gd name="connsiteY3" fmla="*/ 9938 h 10000"/>
                    <a:gd name="connsiteX4" fmla="*/ 9561 w 10000"/>
                    <a:gd name="connsiteY4" fmla="*/ 9814 h 10000"/>
                    <a:gd name="connsiteX5" fmla="*/ 9912 w 10000"/>
                    <a:gd name="connsiteY5" fmla="*/ 9752 h 10000"/>
                    <a:gd name="connsiteX6" fmla="*/ 10000 w 10000"/>
                    <a:gd name="connsiteY6" fmla="*/ 9689 h 10000"/>
                    <a:gd name="connsiteX7" fmla="*/ 10000 w 10000"/>
                    <a:gd name="connsiteY7" fmla="*/ 9689 h 10000"/>
                    <a:gd name="connsiteX8" fmla="*/ 10000 w 10000"/>
                    <a:gd name="connsiteY8" fmla="*/ 8634 h 10000"/>
                    <a:gd name="connsiteX9" fmla="*/ 9912 w 10000"/>
                    <a:gd name="connsiteY9" fmla="*/ 7702 h 10000"/>
                    <a:gd name="connsiteX10" fmla="*/ 9561 w 10000"/>
                    <a:gd name="connsiteY10" fmla="*/ 6832 h 10000"/>
                    <a:gd name="connsiteX11" fmla="*/ 9211 w 10000"/>
                    <a:gd name="connsiteY11" fmla="*/ 6087 h 10000"/>
                    <a:gd name="connsiteX12" fmla="*/ 8684 w 10000"/>
                    <a:gd name="connsiteY12" fmla="*/ 5342 h 10000"/>
                    <a:gd name="connsiteX13" fmla="*/ 7982 w 10000"/>
                    <a:gd name="connsiteY13" fmla="*/ 4783 h 10000"/>
                    <a:gd name="connsiteX14" fmla="*/ 7105 w 10000"/>
                    <a:gd name="connsiteY14" fmla="*/ 4410 h 10000"/>
                    <a:gd name="connsiteX15" fmla="*/ 6140 w 10000"/>
                    <a:gd name="connsiteY15" fmla="*/ 4099 h 10000"/>
                    <a:gd name="connsiteX16" fmla="*/ 6140 w 10000"/>
                    <a:gd name="connsiteY16" fmla="*/ 4099 h 10000"/>
                    <a:gd name="connsiteX17" fmla="*/ 6667 w 10000"/>
                    <a:gd name="connsiteY17" fmla="*/ 3727 h 10000"/>
                    <a:gd name="connsiteX18" fmla="*/ 7018 w 10000"/>
                    <a:gd name="connsiteY18" fmla="*/ 3230 h 10000"/>
                    <a:gd name="connsiteX19" fmla="*/ 7281 w 10000"/>
                    <a:gd name="connsiteY19" fmla="*/ 2671 h 10000"/>
                    <a:gd name="connsiteX20" fmla="*/ 7544 w 10000"/>
                    <a:gd name="connsiteY20" fmla="*/ 2112 h 10000"/>
                    <a:gd name="connsiteX21" fmla="*/ 7544 w 10000"/>
                    <a:gd name="connsiteY21" fmla="*/ 2112 h 10000"/>
                    <a:gd name="connsiteX22" fmla="*/ 7456 w 10000"/>
                    <a:gd name="connsiteY22" fmla="*/ 1677 h 10000"/>
                    <a:gd name="connsiteX23" fmla="*/ 7281 w 10000"/>
                    <a:gd name="connsiteY23" fmla="*/ 1242 h 10000"/>
                    <a:gd name="connsiteX24" fmla="*/ 7105 w 10000"/>
                    <a:gd name="connsiteY24" fmla="*/ 870 h 10000"/>
                    <a:gd name="connsiteX25" fmla="*/ 6754 w 10000"/>
                    <a:gd name="connsiteY25" fmla="*/ 559 h 10000"/>
                    <a:gd name="connsiteX26" fmla="*/ 6404 w 10000"/>
                    <a:gd name="connsiteY26" fmla="*/ 311 h 10000"/>
                    <a:gd name="connsiteX27" fmla="*/ 5965 w 10000"/>
                    <a:gd name="connsiteY27" fmla="*/ 186 h 10000"/>
                    <a:gd name="connsiteX28" fmla="*/ 5526 w 10000"/>
                    <a:gd name="connsiteY28" fmla="*/ 0 h 10000"/>
                    <a:gd name="connsiteX29" fmla="*/ 5000 w 10000"/>
                    <a:gd name="connsiteY29" fmla="*/ 0 h 10000"/>
                    <a:gd name="connsiteX30" fmla="*/ 5000 w 10000"/>
                    <a:gd name="connsiteY30" fmla="*/ 0 h 10000"/>
                    <a:gd name="connsiteX31" fmla="*/ 4561 w 10000"/>
                    <a:gd name="connsiteY31" fmla="*/ 0 h 10000"/>
                    <a:gd name="connsiteX32" fmla="*/ 4123 w 10000"/>
                    <a:gd name="connsiteY32" fmla="*/ 186 h 10000"/>
                    <a:gd name="connsiteX33" fmla="*/ 3684 w 10000"/>
                    <a:gd name="connsiteY33" fmla="*/ 311 h 10000"/>
                    <a:gd name="connsiteX34" fmla="*/ 3246 w 10000"/>
                    <a:gd name="connsiteY34" fmla="*/ 559 h 10000"/>
                    <a:gd name="connsiteX35" fmla="*/ 2982 w 10000"/>
                    <a:gd name="connsiteY35" fmla="*/ 870 h 10000"/>
                    <a:gd name="connsiteX36" fmla="*/ 2719 w 10000"/>
                    <a:gd name="connsiteY36" fmla="*/ 1242 h 10000"/>
                    <a:gd name="connsiteX37" fmla="*/ 2544 w 10000"/>
                    <a:gd name="connsiteY37" fmla="*/ 1677 h 10000"/>
                    <a:gd name="connsiteX38" fmla="*/ 2544 w 10000"/>
                    <a:gd name="connsiteY38" fmla="*/ 2112 h 10000"/>
                    <a:gd name="connsiteX39" fmla="*/ 2544 w 10000"/>
                    <a:gd name="connsiteY39" fmla="*/ 2112 h 10000"/>
                    <a:gd name="connsiteX40" fmla="*/ 2632 w 10000"/>
                    <a:gd name="connsiteY40" fmla="*/ 2671 h 10000"/>
                    <a:gd name="connsiteX41" fmla="*/ 2982 w 10000"/>
                    <a:gd name="connsiteY41" fmla="*/ 3230 h 10000"/>
                    <a:gd name="connsiteX42" fmla="*/ 3421 w 10000"/>
                    <a:gd name="connsiteY42" fmla="*/ 3727 h 10000"/>
                    <a:gd name="connsiteX43" fmla="*/ 3860 w 10000"/>
                    <a:gd name="connsiteY43" fmla="*/ 4099 h 10000"/>
                    <a:gd name="connsiteX44" fmla="*/ 3860 w 10000"/>
                    <a:gd name="connsiteY44" fmla="*/ 4099 h 10000"/>
                    <a:gd name="connsiteX45" fmla="*/ 2895 w 10000"/>
                    <a:gd name="connsiteY45" fmla="*/ 4410 h 10000"/>
                    <a:gd name="connsiteX46" fmla="*/ 2105 w 10000"/>
                    <a:gd name="connsiteY46" fmla="*/ 4783 h 10000"/>
                    <a:gd name="connsiteX47" fmla="*/ 1404 w 10000"/>
                    <a:gd name="connsiteY47" fmla="*/ 5342 h 10000"/>
                    <a:gd name="connsiteX48" fmla="*/ 877 w 10000"/>
                    <a:gd name="connsiteY48" fmla="*/ 6087 h 10000"/>
                    <a:gd name="connsiteX49" fmla="*/ 439 w 10000"/>
                    <a:gd name="connsiteY49" fmla="*/ 6832 h 10000"/>
                    <a:gd name="connsiteX50" fmla="*/ 175 w 10000"/>
                    <a:gd name="connsiteY50" fmla="*/ 7702 h 10000"/>
                    <a:gd name="connsiteX51" fmla="*/ 0 w 10000"/>
                    <a:gd name="connsiteY51" fmla="*/ 8634 h 10000"/>
                    <a:gd name="connsiteX52" fmla="*/ 0 w 10000"/>
                    <a:gd name="connsiteY52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8421 w 10000"/>
                    <a:gd name="connsiteY2" fmla="*/ 9938 h 10000"/>
                    <a:gd name="connsiteX3" fmla="*/ 9561 w 10000"/>
                    <a:gd name="connsiteY3" fmla="*/ 9814 h 10000"/>
                    <a:gd name="connsiteX4" fmla="*/ 9912 w 10000"/>
                    <a:gd name="connsiteY4" fmla="*/ 9752 h 10000"/>
                    <a:gd name="connsiteX5" fmla="*/ 10000 w 10000"/>
                    <a:gd name="connsiteY5" fmla="*/ 9689 h 10000"/>
                    <a:gd name="connsiteX6" fmla="*/ 10000 w 10000"/>
                    <a:gd name="connsiteY6" fmla="*/ 9689 h 10000"/>
                    <a:gd name="connsiteX7" fmla="*/ 10000 w 10000"/>
                    <a:gd name="connsiteY7" fmla="*/ 8634 h 10000"/>
                    <a:gd name="connsiteX8" fmla="*/ 9912 w 10000"/>
                    <a:gd name="connsiteY8" fmla="*/ 7702 h 10000"/>
                    <a:gd name="connsiteX9" fmla="*/ 9561 w 10000"/>
                    <a:gd name="connsiteY9" fmla="*/ 6832 h 10000"/>
                    <a:gd name="connsiteX10" fmla="*/ 9211 w 10000"/>
                    <a:gd name="connsiteY10" fmla="*/ 6087 h 10000"/>
                    <a:gd name="connsiteX11" fmla="*/ 8684 w 10000"/>
                    <a:gd name="connsiteY11" fmla="*/ 5342 h 10000"/>
                    <a:gd name="connsiteX12" fmla="*/ 7982 w 10000"/>
                    <a:gd name="connsiteY12" fmla="*/ 4783 h 10000"/>
                    <a:gd name="connsiteX13" fmla="*/ 7105 w 10000"/>
                    <a:gd name="connsiteY13" fmla="*/ 4410 h 10000"/>
                    <a:gd name="connsiteX14" fmla="*/ 6140 w 10000"/>
                    <a:gd name="connsiteY14" fmla="*/ 4099 h 10000"/>
                    <a:gd name="connsiteX15" fmla="*/ 6140 w 10000"/>
                    <a:gd name="connsiteY15" fmla="*/ 4099 h 10000"/>
                    <a:gd name="connsiteX16" fmla="*/ 6667 w 10000"/>
                    <a:gd name="connsiteY16" fmla="*/ 3727 h 10000"/>
                    <a:gd name="connsiteX17" fmla="*/ 7018 w 10000"/>
                    <a:gd name="connsiteY17" fmla="*/ 3230 h 10000"/>
                    <a:gd name="connsiteX18" fmla="*/ 7281 w 10000"/>
                    <a:gd name="connsiteY18" fmla="*/ 2671 h 10000"/>
                    <a:gd name="connsiteX19" fmla="*/ 7544 w 10000"/>
                    <a:gd name="connsiteY19" fmla="*/ 2112 h 10000"/>
                    <a:gd name="connsiteX20" fmla="*/ 7544 w 10000"/>
                    <a:gd name="connsiteY20" fmla="*/ 2112 h 10000"/>
                    <a:gd name="connsiteX21" fmla="*/ 7456 w 10000"/>
                    <a:gd name="connsiteY21" fmla="*/ 1677 h 10000"/>
                    <a:gd name="connsiteX22" fmla="*/ 7281 w 10000"/>
                    <a:gd name="connsiteY22" fmla="*/ 1242 h 10000"/>
                    <a:gd name="connsiteX23" fmla="*/ 7105 w 10000"/>
                    <a:gd name="connsiteY23" fmla="*/ 870 h 10000"/>
                    <a:gd name="connsiteX24" fmla="*/ 6754 w 10000"/>
                    <a:gd name="connsiteY24" fmla="*/ 559 h 10000"/>
                    <a:gd name="connsiteX25" fmla="*/ 6404 w 10000"/>
                    <a:gd name="connsiteY25" fmla="*/ 311 h 10000"/>
                    <a:gd name="connsiteX26" fmla="*/ 5965 w 10000"/>
                    <a:gd name="connsiteY26" fmla="*/ 186 h 10000"/>
                    <a:gd name="connsiteX27" fmla="*/ 5526 w 10000"/>
                    <a:gd name="connsiteY27" fmla="*/ 0 h 10000"/>
                    <a:gd name="connsiteX28" fmla="*/ 5000 w 10000"/>
                    <a:gd name="connsiteY28" fmla="*/ 0 h 10000"/>
                    <a:gd name="connsiteX29" fmla="*/ 5000 w 10000"/>
                    <a:gd name="connsiteY29" fmla="*/ 0 h 10000"/>
                    <a:gd name="connsiteX30" fmla="*/ 4561 w 10000"/>
                    <a:gd name="connsiteY30" fmla="*/ 0 h 10000"/>
                    <a:gd name="connsiteX31" fmla="*/ 4123 w 10000"/>
                    <a:gd name="connsiteY31" fmla="*/ 186 h 10000"/>
                    <a:gd name="connsiteX32" fmla="*/ 3684 w 10000"/>
                    <a:gd name="connsiteY32" fmla="*/ 311 h 10000"/>
                    <a:gd name="connsiteX33" fmla="*/ 3246 w 10000"/>
                    <a:gd name="connsiteY33" fmla="*/ 559 h 10000"/>
                    <a:gd name="connsiteX34" fmla="*/ 2982 w 10000"/>
                    <a:gd name="connsiteY34" fmla="*/ 870 h 10000"/>
                    <a:gd name="connsiteX35" fmla="*/ 2719 w 10000"/>
                    <a:gd name="connsiteY35" fmla="*/ 1242 h 10000"/>
                    <a:gd name="connsiteX36" fmla="*/ 2544 w 10000"/>
                    <a:gd name="connsiteY36" fmla="*/ 1677 h 10000"/>
                    <a:gd name="connsiteX37" fmla="*/ 2544 w 10000"/>
                    <a:gd name="connsiteY37" fmla="*/ 2112 h 10000"/>
                    <a:gd name="connsiteX38" fmla="*/ 2544 w 10000"/>
                    <a:gd name="connsiteY38" fmla="*/ 2112 h 10000"/>
                    <a:gd name="connsiteX39" fmla="*/ 2632 w 10000"/>
                    <a:gd name="connsiteY39" fmla="*/ 2671 h 10000"/>
                    <a:gd name="connsiteX40" fmla="*/ 2982 w 10000"/>
                    <a:gd name="connsiteY40" fmla="*/ 3230 h 10000"/>
                    <a:gd name="connsiteX41" fmla="*/ 3421 w 10000"/>
                    <a:gd name="connsiteY41" fmla="*/ 3727 h 10000"/>
                    <a:gd name="connsiteX42" fmla="*/ 3860 w 10000"/>
                    <a:gd name="connsiteY42" fmla="*/ 4099 h 10000"/>
                    <a:gd name="connsiteX43" fmla="*/ 3860 w 10000"/>
                    <a:gd name="connsiteY43" fmla="*/ 4099 h 10000"/>
                    <a:gd name="connsiteX44" fmla="*/ 2895 w 10000"/>
                    <a:gd name="connsiteY44" fmla="*/ 4410 h 10000"/>
                    <a:gd name="connsiteX45" fmla="*/ 2105 w 10000"/>
                    <a:gd name="connsiteY45" fmla="*/ 4783 h 10000"/>
                    <a:gd name="connsiteX46" fmla="*/ 1404 w 10000"/>
                    <a:gd name="connsiteY46" fmla="*/ 5342 h 10000"/>
                    <a:gd name="connsiteX47" fmla="*/ 877 w 10000"/>
                    <a:gd name="connsiteY47" fmla="*/ 6087 h 10000"/>
                    <a:gd name="connsiteX48" fmla="*/ 439 w 10000"/>
                    <a:gd name="connsiteY48" fmla="*/ 6832 h 10000"/>
                    <a:gd name="connsiteX49" fmla="*/ 175 w 10000"/>
                    <a:gd name="connsiteY49" fmla="*/ 7702 h 10000"/>
                    <a:gd name="connsiteX50" fmla="*/ 0 w 10000"/>
                    <a:gd name="connsiteY50" fmla="*/ 8634 h 10000"/>
                    <a:gd name="connsiteX51" fmla="*/ 0 w 10000"/>
                    <a:gd name="connsiteY51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9561 w 10000"/>
                    <a:gd name="connsiteY2" fmla="*/ 9814 h 10000"/>
                    <a:gd name="connsiteX3" fmla="*/ 9912 w 10000"/>
                    <a:gd name="connsiteY3" fmla="*/ 9752 h 10000"/>
                    <a:gd name="connsiteX4" fmla="*/ 10000 w 10000"/>
                    <a:gd name="connsiteY4" fmla="*/ 9689 h 10000"/>
                    <a:gd name="connsiteX5" fmla="*/ 10000 w 10000"/>
                    <a:gd name="connsiteY5" fmla="*/ 9689 h 10000"/>
                    <a:gd name="connsiteX6" fmla="*/ 10000 w 10000"/>
                    <a:gd name="connsiteY6" fmla="*/ 8634 h 10000"/>
                    <a:gd name="connsiteX7" fmla="*/ 9912 w 10000"/>
                    <a:gd name="connsiteY7" fmla="*/ 7702 h 10000"/>
                    <a:gd name="connsiteX8" fmla="*/ 9561 w 10000"/>
                    <a:gd name="connsiteY8" fmla="*/ 6832 h 10000"/>
                    <a:gd name="connsiteX9" fmla="*/ 9211 w 10000"/>
                    <a:gd name="connsiteY9" fmla="*/ 6087 h 10000"/>
                    <a:gd name="connsiteX10" fmla="*/ 8684 w 10000"/>
                    <a:gd name="connsiteY10" fmla="*/ 5342 h 10000"/>
                    <a:gd name="connsiteX11" fmla="*/ 7982 w 10000"/>
                    <a:gd name="connsiteY11" fmla="*/ 4783 h 10000"/>
                    <a:gd name="connsiteX12" fmla="*/ 7105 w 10000"/>
                    <a:gd name="connsiteY12" fmla="*/ 4410 h 10000"/>
                    <a:gd name="connsiteX13" fmla="*/ 6140 w 10000"/>
                    <a:gd name="connsiteY13" fmla="*/ 4099 h 10000"/>
                    <a:gd name="connsiteX14" fmla="*/ 6140 w 10000"/>
                    <a:gd name="connsiteY14" fmla="*/ 4099 h 10000"/>
                    <a:gd name="connsiteX15" fmla="*/ 6667 w 10000"/>
                    <a:gd name="connsiteY15" fmla="*/ 3727 h 10000"/>
                    <a:gd name="connsiteX16" fmla="*/ 7018 w 10000"/>
                    <a:gd name="connsiteY16" fmla="*/ 3230 h 10000"/>
                    <a:gd name="connsiteX17" fmla="*/ 7281 w 10000"/>
                    <a:gd name="connsiteY17" fmla="*/ 2671 h 10000"/>
                    <a:gd name="connsiteX18" fmla="*/ 7544 w 10000"/>
                    <a:gd name="connsiteY18" fmla="*/ 2112 h 10000"/>
                    <a:gd name="connsiteX19" fmla="*/ 7544 w 10000"/>
                    <a:gd name="connsiteY19" fmla="*/ 2112 h 10000"/>
                    <a:gd name="connsiteX20" fmla="*/ 7456 w 10000"/>
                    <a:gd name="connsiteY20" fmla="*/ 1677 h 10000"/>
                    <a:gd name="connsiteX21" fmla="*/ 7281 w 10000"/>
                    <a:gd name="connsiteY21" fmla="*/ 1242 h 10000"/>
                    <a:gd name="connsiteX22" fmla="*/ 7105 w 10000"/>
                    <a:gd name="connsiteY22" fmla="*/ 870 h 10000"/>
                    <a:gd name="connsiteX23" fmla="*/ 6754 w 10000"/>
                    <a:gd name="connsiteY23" fmla="*/ 559 h 10000"/>
                    <a:gd name="connsiteX24" fmla="*/ 6404 w 10000"/>
                    <a:gd name="connsiteY24" fmla="*/ 311 h 10000"/>
                    <a:gd name="connsiteX25" fmla="*/ 5965 w 10000"/>
                    <a:gd name="connsiteY25" fmla="*/ 186 h 10000"/>
                    <a:gd name="connsiteX26" fmla="*/ 5526 w 10000"/>
                    <a:gd name="connsiteY26" fmla="*/ 0 h 10000"/>
                    <a:gd name="connsiteX27" fmla="*/ 5000 w 10000"/>
                    <a:gd name="connsiteY27" fmla="*/ 0 h 10000"/>
                    <a:gd name="connsiteX28" fmla="*/ 5000 w 10000"/>
                    <a:gd name="connsiteY28" fmla="*/ 0 h 10000"/>
                    <a:gd name="connsiteX29" fmla="*/ 4561 w 10000"/>
                    <a:gd name="connsiteY29" fmla="*/ 0 h 10000"/>
                    <a:gd name="connsiteX30" fmla="*/ 4123 w 10000"/>
                    <a:gd name="connsiteY30" fmla="*/ 186 h 10000"/>
                    <a:gd name="connsiteX31" fmla="*/ 3684 w 10000"/>
                    <a:gd name="connsiteY31" fmla="*/ 311 h 10000"/>
                    <a:gd name="connsiteX32" fmla="*/ 3246 w 10000"/>
                    <a:gd name="connsiteY32" fmla="*/ 559 h 10000"/>
                    <a:gd name="connsiteX33" fmla="*/ 2982 w 10000"/>
                    <a:gd name="connsiteY33" fmla="*/ 870 h 10000"/>
                    <a:gd name="connsiteX34" fmla="*/ 2719 w 10000"/>
                    <a:gd name="connsiteY34" fmla="*/ 1242 h 10000"/>
                    <a:gd name="connsiteX35" fmla="*/ 2544 w 10000"/>
                    <a:gd name="connsiteY35" fmla="*/ 1677 h 10000"/>
                    <a:gd name="connsiteX36" fmla="*/ 2544 w 10000"/>
                    <a:gd name="connsiteY36" fmla="*/ 2112 h 10000"/>
                    <a:gd name="connsiteX37" fmla="*/ 2544 w 10000"/>
                    <a:gd name="connsiteY37" fmla="*/ 2112 h 10000"/>
                    <a:gd name="connsiteX38" fmla="*/ 2632 w 10000"/>
                    <a:gd name="connsiteY38" fmla="*/ 2671 h 10000"/>
                    <a:gd name="connsiteX39" fmla="*/ 2982 w 10000"/>
                    <a:gd name="connsiteY39" fmla="*/ 3230 h 10000"/>
                    <a:gd name="connsiteX40" fmla="*/ 3421 w 10000"/>
                    <a:gd name="connsiteY40" fmla="*/ 3727 h 10000"/>
                    <a:gd name="connsiteX41" fmla="*/ 3860 w 10000"/>
                    <a:gd name="connsiteY41" fmla="*/ 4099 h 10000"/>
                    <a:gd name="connsiteX42" fmla="*/ 3860 w 10000"/>
                    <a:gd name="connsiteY42" fmla="*/ 4099 h 10000"/>
                    <a:gd name="connsiteX43" fmla="*/ 2895 w 10000"/>
                    <a:gd name="connsiteY43" fmla="*/ 4410 h 10000"/>
                    <a:gd name="connsiteX44" fmla="*/ 2105 w 10000"/>
                    <a:gd name="connsiteY44" fmla="*/ 4783 h 10000"/>
                    <a:gd name="connsiteX45" fmla="*/ 1404 w 10000"/>
                    <a:gd name="connsiteY45" fmla="*/ 5342 h 10000"/>
                    <a:gd name="connsiteX46" fmla="*/ 877 w 10000"/>
                    <a:gd name="connsiteY46" fmla="*/ 6087 h 10000"/>
                    <a:gd name="connsiteX47" fmla="*/ 439 w 10000"/>
                    <a:gd name="connsiteY47" fmla="*/ 6832 h 10000"/>
                    <a:gd name="connsiteX48" fmla="*/ 175 w 10000"/>
                    <a:gd name="connsiteY48" fmla="*/ 7702 h 10000"/>
                    <a:gd name="connsiteX49" fmla="*/ 0 w 10000"/>
                    <a:gd name="connsiteY49" fmla="*/ 8634 h 10000"/>
                    <a:gd name="connsiteX50" fmla="*/ 0 w 10000"/>
                    <a:gd name="connsiteY50" fmla="*/ 9689 h 10000"/>
                    <a:gd name="connsiteX0" fmla="*/ 4912 w 10000"/>
                    <a:gd name="connsiteY0" fmla="*/ 10000 h 10000"/>
                    <a:gd name="connsiteX1" fmla="*/ 9561 w 10000"/>
                    <a:gd name="connsiteY1" fmla="*/ 9814 h 10000"/>
                    <a:gd name="connsiteX2" fmla="*/ 9912 w 10000"/>
                    <a:gd name="connsiteY2" fmla="*/ 9752 h 10000"/>
                    <a:gd name="connsiteX3" fmla="*/ 10000 w 10000"/>
                    <a:gd name="connsiteY3" fmla="*/ 9689 h 10000"/>
                    <a:gd name="connsiteX4" fmla="*/ 10000 w 10000"/>
                    <a:gd name="connsiteY4" fmla="*/ 9689 h 10000"/>
                    <a:gd name="connsiteX5" fmla="*/ 10000 w 10000"/>
                    <a:gd name="connsiteY5" fmla="*/ 8634 h 10000"/>
                    <a:gd name="connsiteX6" fmla="*/ 9912 w 10000"/>
                    <a:gd name="connsiteY6" fmla="*/ 7702 h 10000"/>
                    <a:gd name="connsiteX7" fmla="*/ 9561 w 10000"/>
                    <a:gd name="connsiteY7" fmla="*/ 6832 h 10000"/>
                    <a:gd name="connsiteX8" fmla="*/ 9211 w 10000"/>
                    <a:gd name="connsiteY8" fmla="*/ 6087 h 10000"/>
                    <a:gd name="connsiteX9" fmla="*/ 8684 w 10000"/>
                    <a:gd name="connsiteY9" fmla="*/ 5342 h 10000"/>
                    <a:gd name="connsiteX10" fmla="*/ 7982 w 10000"/>
                    <a:gd name="connsiteY10" fmla="*/ 4783 h 10000"/>
                    <a:gd name="connsiteX11" fmla="*/ 7105 w 10000"/>
                    <a:gd name="connsiteY11" fmla="*/ 4410 h 10000"/>
                    <a:gd name="connsiteX12" fmla="*/ 6140 w 10000"/>
                    <a:gd name="connsiteY12" fmla="*/ 4099 h 10000"/>
                    <a:gd name="connsiteX13" fmla="*/ 6140 w 10000"/>
                    <a:gd name="connsiteY13" fmla="*/ 4099 h 10000"/>
                    <a:gd name="connsiteX14" fmla="*/ 6667 w 10000"/>
                    <a:gd name="connsiteY14" fmla="*/ 3727 h 10000"/>
                    <a:gd name="connsiteX15" fmla="*/ 7018 w 10000"/>
                    <a:gd name="connsiteY15" fmla="*/ 3230 h 10000"/>
                    <a:gd name="connsiteX16" fmla="*/ 7281 w 10000"/>
                    <a:gd name="connsiteY16" fmla="*/ 2671 h 10000"/>
                    <a:gd name="connsiteX17" fmla="*/ 7544 w 10000"/>
                    <a:gd name="connsiteY17" fmla="*/ 2112 h 10000"/>
                    <a:gd name="connsiteX18" fmla="*/ 7544 w 10000"/>
                    <a:gd name="connsiteY18" fmla="*/ 2112 h 10000"/>
                    <a:gd name="connsiteX19" fmla="*/ 7456 w 10000"/>
                    <a:gd name="connsiteY19" fmla="*/ 1677 h 10000"/>
                    <a:gd name="connsiteX20" fmla="*/ 7281 w 10000"/>
                    <a:gd name="connsiteY20" fmla="*/ 1242 h 10000"/>
                    <a:gd name="connsiteX21" fmla="*/ 7105 w 10000"/>
                    <a:gd name="connsiteY21" fmla="*/ 870 h 10000"/>
                    <a:gd name="connsiteX22" fmla="*/ 6754 w 10000"/>
                    <a:gd name="connsiteY22" fmla="*/ 559 h 10000"/>
                    <a:gd name="connsiteX23" fmla="*/ 6404 w 10000"/>
                    <a:gd name="connsiteY23" fmla="*/ 311 h 10000"/>
                    <a:gd name="connsiteX24" fmla="*/ 5965 w 10000"/>
                    <a:gd name="connsiteY24" fmla="*/ 186 h 10000"/>
                    <a:gd name="connsiteX25" fmla="*/ 5526 w 10000"/>
                    <a:gd name="connsiteY25" fmla="*/ 0 h 10000"/>
                    <a:gd name="connsiteX26" fmla="*/ 5000 w 10000"/>
                    <a:gd name="connsiteY26" fmla="*/ 0 h 10000"/>
                    <a:gd name="connsiteX27" fmla="*/ 5000 w 10000"/>
                    <a:gd name="connsiteY27" fmla="*/ 0 h 10000"/>
                    <a:gd name="connsiteX28" fmla="*/ 4561 w 10000"/>
                    <a:gd name="connsiteY28" fmla="*/ 0 h 10000"/>
                    <a:gd name="connsiteX29" fmla="*/ 4123 w 10000"/>
                    <a:gd name="connsiteY29" fmla="*/ 186 h 10000"/>
                    <a:gd name="connsiteX30" fmla="*/ 3684 w 10000"/>
                    <a:gd name="connsiteY30" fmla="*/ 311 h 10000"/>
                    <a:gd name="connsiteX31" fmla="*/ 3246 w 10000"/>
                    <a:gd name="connsiteY31" fmla="*/ 559 h 10000"/>
                    <a:gd name="connsiteX32" fmla="*/ 2982 w 10000"/>
                    <a:gd name="connsiteY32" fmla="*/ 870 h 10000"/>
                    <a:gd name="connsiteX33" fmla="*/ 2719 w 10000"/>
                    <a:gd name="connsiteY33" fmla="*/ 1242 h 10000"/>
                    <a:gd name="connsiteX34" fmla="*/ 2544 w 10000"/>
                    <a:gd name="connsiteY34" fmla="*/ 1677 h 10000"/>
                    <a:gd name="connsiteX35" fmla="*/ 2544 w 10000"/>
                    <a:gd name="connsiteY35" fmla="*/ 2112 h 10000"/>
                    <a:gd name="connsiteX36" fmla="*/ 2544 w 10000"/>
                    <a:gd name="connsiteY36" fmla="*/ 2112 h 10000"/>
                    <a:gd name="connsiteX37" fmla="*/ 2632 w 10000"/>
                    <a:gd name="connsiteY37" fmla="*/ 2671 h 10000"/>
                    <a:gd name="connsiteX38" fmla="*/ 2982 w 10000"/>
                    <a:gd name="connsiteY38" fmla="*/ 3230 h 10000"/>
                    <a:gd name="connsiteX39" fmla="*/ 3421 w 10000"/>
                    <a:gd name="connsiteY39" fmla="*/ 3727 h 10000"/>
                    <a:gd name="connsiteX40" fmla="*/ 3860 w 10000"/>
                    <a:gd name="connsiteY40" fmla="*/ 4099 h 10000"/>
                    <a:gd name="connsiteX41" fmla="*/ 3860 w 10000"/>
                    <a:gd name="connsiteY41" fmla="*/ 4099 h 10000"/>
                    <a:gd name="connsiteX42" fmla="*/ 2895 w 10000"/>
                    <a:gd name="connsiteY42" fmla="*/ 4410 h 10000"/>
                    <a:gd name="connsiteX43" fmla="*/ 2105 w 10000"/>
                    <a:gd name="connsiteY43" fmla="*/ 4783 h 10000"/>
                    <a:gd name="connsiteX44" fmla="*/ 1404 w 10000"/>
                    <a:gd name="connsiteY44" fmla="*/ 5342 h 10000"/>
                    <a:gd name="connsiteX45" fmla="*/ 877 w 10000"/>
                    <a:gd name="connsiteY45" fmla="*/ 6087 h 10000"/>
                    <a:gd name="connsiteX46" fmla="*/ 439 w 10000"/>
                    <a:gd name="connsiteY46" fmla="*/ 6832 h 10000"/>
                    <a:gd name="connsiteX47" fmla="*/ 175 w 10000"/>
                    <a:gd name="connsiteY47" fmla="*/ 7702 h 10000"/>
                    <a:gd name="connsiteX48" fmla="*/ 0 w 10000"/>
                    <a:gd name="connsiteY48" fmla="*/ 8634 h 10000"/>
                    <a:gd name="connsiteX49" fmla="*/ 0 w 10000"/>
                    <a:gd name="connsiteY49" fmla="*/ 9689 h 10000"/>
                    <a:gd name="connsiteX0" fmla="*/ 9561 w 10000"/>
                    <a:gd name="connsiteY0" fmla="*/ 9814 h 9814"/>
                    <a:gd name="connsiteX1" fmla="*/ 9912 w 10000"/>
                    <a:gd name="connsiteY1" fmla="*/ 9752 h 9814"/>
                    <a:gd name="connsiteX2" fmla="*/ 10000 w 10000"/>
                    <a:gd name="connsiteY2" fmla="*/ 9689 h 9814"/>
                    <a:gd name="connsiteX3" fmla="*/ 10000 w 10000"/>
                    <a:gd name="connsiteY3" fmla="*/ 9689 h 9814"/>
                    <a:gd name="connsiteX4" fmla="*/ 10000 w 10000"/>
                    <a:gd name="connsiteY4" fmla="*/ 8634 h 9814"/>
                    <a:gd name="connsiteX5" fmla="*/ 9912 w 10000"/>
                    <a:gd name="connsiteY5" fmla="*/ 7702 h 9814"/>
                    <a:gd name="connsiteX6" fmla="*/ 9561 w 10000"/>
                    <a:gd name="connsiteY6" fmla="*/ 6832 h 9814"/>
                    <a:gd name="connsiteX7" fmla="*/ 9211 w 10000"/>
                    <a:gd name="connsiteY7" fmla="*/ 6087 h 9814"/>
                    <a:gd name="connsiteX8" fmla="*/ 8684 w 10000"/>
                    <a:gd name="connsiteY8" fmla="*/ 5342 h 9814"/>
                    <a:gd name="connsiteX9" fmla="*/ 7982 w 10000"/>
                    <a:gd name="connsiteY9" fmla="*/ 4783 h 9814"/>
                    <a:gd name="connsiteX10" fmla="*/ 7105 w 10000"/>
                    <a:gd name="connsiteY10" fmla="*/ 4410 h 9814"/>
                    <a:gd name="connsiteX11" fmla="*/ 6140 w 10000"/>
                    <a:gd name="connsiteY11" fmla="*/ 4099 h 9814"/>
                    <a:gd name="connsiteX12" fmla="*/ 6140 w 10000"/>
                    <a:gd name="connsiteY12" fmla="*/ 4099 h 9814"/>
                    <a:gd name="connsiteX13" fmla="*/ 6667 w 10000"/>
                    <a:gd name="connsiteY13" fmla="*/ 3727 h 9814"/>
                    <a:gd name="connsiteX14" fmla="*/ 7018 w 10000"/>
                    <a:gd name="connsiteY14" fmla="*/ 3230 h 9814"/>
                    <a:gd name="connsiteX15" fmla="*/ 7281 w 10000"/>
                    <a:gd name="connsiteY15" fmla="*/ 2671 h 9814"/>
                    <a:gd name="connsiteX16" fmla="*/ 7544 w 10000"/>
                    <a:gd name="connsiteY16" fmla="*/ 2112 h 9814"/>
                    <a:gd name="connsiteX17" fmla="*/ 7544 w 10000"/>
                    <a:gd name="connsiteY17" fmla="*/ 2112 h 9814"/>
                    <a:gd name="connsiteX18" fmla="*/ 7456 w 10000"/>
                    <a:gd name="connsiteY18" fmla="*/ 1677 h 9814"/>
                    <a:gd name="connsiteX19" fmla="*/ 7281 w 10000"/>
                    <a:gd name="connsiteY19" fmla="*/ 1242 h 9814"/>
                    <a:gd name="connsiteX20" fmla="*/ 7105 w 10000"/>
                    <a:gd name="connsiteY20" fmla="*/ 870 h 9814"/>
                    <a:gd name="connsiteX21" fmla="*/ 6754 w 10000"/>
                    <a:gd name="connsiteY21" fmla="*/ 559 h 9814"/>
                    <a:gd name="connsiteX22" fmla="*/ 6404 w 10000"/>
                    <a:gd name="connsiteY22" fmla="*/ 311 h 9814"/>
                    <a:gd name="connsiteX23" fmla="*/ 5965 w 10000"/>
                    <a:gd name="connsiteY23" fmla="*/ 186 h 9814"/>
                    <a:gd name="connsiteX24" fmla="*/ 5526 w 10000"/>
                    <a:gd name="connsiteY24" fmla="*/ 0 h 9814"/>
                    <a:gd name="connsiteX25" fmla="*/ 5000 w 10000"/>
                    <a:gd name="connsiteY25" fmla="*/ 0 h 9814"/>
                    <a:gd name="connsiteX26" fmla="*/ 5000 w 10000"/>
                    <a:gd name="connsiteY26" fmla="*/ 0 h 9814"/>
                    <a:gd name="connsiteX27" fmla="*/ 4561 w 10000"/>
                    <a:gd name="connsiteY27" fmla="*/ 0 h 9814"/>
                    <a:gd name="connsiteX28" fmla="*/ 4123 w 10000"/>
                    <a:gd name="connsiteY28" fmla="*/ 186 h 9814"/>
                    <a:gd name="connsiteX29" fmla="*/ 3684 w 10000"/>
                    <a:gd name="connsiteY29" fmla="*/ 311 h 9814"/>
                    <a:gd name="connsiteX30" fmla="*/ 3246 w 10000"/>
                    <a:gd name="connsiteY30" fmla="*/ 559 h 9814"/>
                    <a:gd name="connsiteX31" fmla="*/ 2982 w 10000"/>
                    <a:gd name="connsiteY31" fmla="*/ 870 h 9814"/>
                    <a:gd name="connsiteX32" fmla="*/ 2719 w 10000"/>
                    <a:gd name="connsiteY32" fmla="*/ 1242 h 9814"/>
                    <a:gd name="connsiteX33" fmla="*/ 2544 w 10000"/>
                    <a:gd name="connsiteY33" fmla="*/ 1677 h 9814"/>
                    <a:gd name="connsiteX34" fmla="*/ 2544 w 10000"/>
                    <a:gd name="connsiteY34" fmla="*/ 2112 h 9814"/>
                    <a:gd name="connsiteX35" fmla="*/ 2544 w 10000"/>
                    <a:gd name="connsiteY35" fmla="*/ 2112 h 9814"/>
                    <a:gd name="connsiteX36" fmla="*/ 2632 w 10000"/>
                    <a:gd name="connsiteY36" fmla="*/ 2671 h 9814"/>
                    <a:gd name="connsiteX37" fmla="*/ 2982 w 10000"/>
                    <a:gd name="connsiteY37" fmla="*/ 3230 h 9814"/>
                    <a:gd name="connsiteX38" fmla="*/ 3421 w 10000"/>
                    <a:gd name="connsiteY38" fmla="*/ 3727 h 9814"/>
                    <a:gd name="connsiteX39" fmla="*/ 3860 w 10000"/>
                    <a:gd name="connsiteY39" fmla="*/ 4099 h 9814"/>
                    <a:gd name="connsiteX40" fmla="*/ 3860 w 10000"/>
                    <a:gd name="connsiteY40" fmla="*/ 4099 h 9814"/>
                    <a:gd name="connsiteX41" fmla="*/ 2895 w 10000"/>
                    <a:gd name="connsiteY41" fmla="*/ 4410 h 9814"/>
                    <a:gd name="connsiteX42" fmla="*/ 2105 w 10000"/>
                    <a:gd name="connsiteY42" fmla="*/ 4783 h 9814"/>
                    <a:gd name="connsiteX43" fmla="*/ 1404 w 10000"/>
                    <a:gd name="connsiteY43" fmla="*/ 5342 h 9814"/>
                    <a:gd name="connsiteX44" fmla="*/ 877 w 10000"/>
                    <a:gd name="connsiteY44" fmla="*/ 6087 h 9814"/>
                    <a:gd name="connsiteX45" fmla="*/ 439 w 10000"/>
                    <a:gd name="connsiteY45" fmla="*/ 6832 h 9814"/>
                    <a:gd name="connsiteX46" fmla="*/ 175 w 10000"/>
                    <a:gd name="connsiteY46" fmla="*/ 7702 h 9814"/>
                    <a:gd name="connsiteX47" fmla="*/ 0 w 10000"/>
                    <a:gd name="connsiteY47" fmla="*/ 8634 h 9814"/>
                    <a:gd name="connsiteX48" fmla="*/ 0 w 10000"/>
                    <a:gd name="connsiteY48" fmla="*/ 9689 h 9814"/>
                    <a:gd name="connsiteX0" fmla="*/ 9912 w 10000"/>
                    <a:gd name="connsiteY0" fmla="*/ 9937 h 9937"/>
                    <a:gd name="connsiteX1" fmla="*/ 10000 w 10000"/>
                    <a:gd name="connsiteY1" fmla="*/ 9873 h 9937"/>
                    <a:gd name="connsiteX2" fmla="*/ 10000 w 10000"/>
                    <a:gd name="connsiteY2" fmla="*/ 9873 h 9937"/>
                    <a:gd name="connsiteX3" fmla="*/ 10000 w 10000"/>
                    <a:gd name="connsiteY3" fmla="*/ 8798 h 9937"/>
                    <a:gd name="connsiteX4" fmla="*/ 9912 w 10000"/>
                    <a:gd name="connsiteY4" fmla="*/ 7848 h 9937"/>
                    <a:gd name="connsiteX5" fmla="*/ 9561 w 10000"/>
                    <a:gd name="connsiteY5" fmla="*/ 6961 h 9937"/>
                    <a:gd name="connsiteX6" fmla="*/ 9211 w 10000"/>
                    <a:gd name="connsiteY6" fmla="*/ 6202 h 9937"/>
                    <a:gd name="connsiteX7" fmla="*/ 8684 w 10000"/>
                    <a:gd name="connsiteY7" fmla="*/ 5443 h 9937"/>
                    <a:gd name="connsiteX8" fmla="*/ 7982 w 10000"/>
                    <a:gd name="connsiteY8" fmla="*/ 4874 h 9937"/>
                    <a:gd name="connsiteX9" fmla="*/ 7105 w 10000"/>
                    <a:gd name="connsiteY9" fmla="*/ 4494 h 9937"/>
                    <a:gd name="connsiteX10" fmla="*/ 6140 w 10000"/>
                    <a:gd name="connsiteY10" fmla="*/ 4177 h 9937"/>
                    <a:gd name="connsiteX11" fmla="*/ 6140 w 10000"/>
                    <a:gd name="connsiteY11" fmla="*/ 4177 h 9937"/>
                    <a:gd name="connsiteX12" fmla="*/ 6667 w 10000"/>
                    <a:gd name="connsiteY12" fmla="*/ 3798 h 9937"/>
                    <a:gd name="connsiteX13" fmla="*/ 7018 w 10000"/>
                    <a:gd name="connsiteY13" fmla="*/ 3291 h 9937"/>
                    <a:gd name="connsiteX14" fmla="*/ 7281 w 10000"/>
                    <a:gd name="connsiteY14" fmla="*/ 2722 h 9937"/>
                    <a:gd name="connsiteX15" fmla="*/ 7544 w 10000"/>
                    <a:gd name="connsiteY15" fmla="*/ 2152 h 9937"/>
                    <a:gd name="connsiteX16" fmla="*/ 7544 w 10000"/>
                    <a:gd name="connsiteY16" fmla="*/ 2152 h 9937"/>
                    <a:gd name="connsiteX17" fmla="*/ 7456 w 10000"/>
                    <a:gd name="connsiteY17" fmla="*/ 1709 h 9937"/>
                    <a:gd name="connsiteX18" fmla="*/ 7281 w 10000"/>
                    <a:gd name="connsiteY18" fmla="*/ 1266 h 9937"/>
                    <a:gd name="connsiteX19" fmla="*/ 7105 w 10000"/>
                    <a:gd name="connsiteY19" fmla="*/ 886 h 9937"/>
                    <a:gd name="connsiteX20" fmla="*/ 6754 w 10000"/>
                    <a:gd name="connsiteY20" fmla="*/ 570 h 9937"/>
                    <a:gd name="connsiteX21" fmla="*/ 6404 w 10000"/>
                    <a:gd name="connsiteY21" fmla="*/ 317 h 9937"/>
                    <a:gd name="connsiteX22" fmla="*/ 5965 w 10000"/>
                    <a:gd name="connsiteY22" fmla="*/ 190 h 9937"/>
                    <a:gd name="connsiteX23" fmla="*/ 5526 w 10000"/>
                    <a:gd name="connsiteY23" fmla="*/ 0 h 9937"/>
                    <a:gd name="connsiteX24" fmla="*/ 5000 w 10000"/>
                    <a:gd name="connsiteY24" fmla="*/ 0 h 9937"/>
                    <a:gd name="connsiteX25" fmla="*/ 5000 w 10000"/>
                    <a:gd name="connsiteY25" fmla="*/ 0 h 9937"/>
                    <a:gd name="connsiteX26" fmla="*/ 4561 w 10000"/>
                    <a:gd name="connsiteY26" fmla="*/ 0 h 9937"/>
                    <a:gd name="connsiteX27" fmla="*/ 4123 w 10000"/>
                    <a:gd name="connsiteY27" fmla="*/ 190 h 9937"/>
                    <a:gd name="connsiteX28" fmla="*/ 3684 w 10000"/>
                    <a:gd name="connsiteY28" fmla="*/ 317 h 9937"/>
                    <a:gd name="connsiteX29" fmla="*/ 3246 w 10000"/>
                    <a:gd name="connsiteY29" fmla="*/ 570 h 9937"/>
                    <a:gd name="connsiteX30" fmla="*/ 2982 w 10000"/>
                    <a:gd name="connsiteY30" fmla="*/ 886 h 9937"/>
                    <a:gd name="connsiteX31" fmla="*/ 2719 w 10000"/>
                    <a:gd name="connsiteY31" fmla="*/ 1266 h 9937"/>
                    <a:gd name="connsiteX32" fmla="*/ 2544 w 10000"/>
                    <a:gd name="connsiteY32" fmla="*/ 1709 h 9937"/>
                    <a:gd name="connsiteX33" fmla="*/ 2544 w 10000"/>
                    <a:gd name="connsiteY33" fmla="*/ 2152 h 9937"/>
                    <a:gd name="connsiteX34" fmla="*/ 2544 w 10000"/>
                    <a:gd name="connsiteY34" fmla="*/ 2152 h 9937"/>
                    <a:gd name="connsiteX35" fmla="*/ 2632 w 10000"/>
                    <a:gd name="connsiteY35" fmla="*/ 2722 h 9937"/>
                    <a:gd name="connsiteX36" fmla="*/ 2982 w 10000"/>
                    <a:gd name="connsiteY36" fmla="*/ 3291 h 9937"/>
                    <a:gd name="connsiteX37" fmla="*/ 3421 w 10000"/>
                    <a:gd name="connsiteY37" fmla="*/ 3798 h 9937"/>
                    <a:gd name="connsiteX38" fmla="*/ 3860 w 10000"/>
                    <a:gd name="connsiteY38" fmla="*/ 4177 h 9937"/>
                    <a:gd name="connsiteX39" fmla="*/ 3860 w 10000"/>
                    <a:gd name="connsiteY39" fmla="*/ 4177 h 9937"/>
                    <a:gd name="connsiteX40" fmla="*/ 2895 w 10000"/>
                    <a:gd name="connsiteY40" fmla="*/ 4494 h 9937"/>
                    <a:gd name="connsiteX41" fmla="*/ 2105 w 10000"/>
                    <a:gd name="connsiteY41" fmla="*/ 4874 h 9937"/>
                    <a:gd name="connsiteX42" fmla="*/ 1404 w 10000"/>
                    <a:gd name="connsiteY42" fmla="*/ 5443 h 9937"/>
                    <a:gd name="connsiteX43" fmla="*/ 877 w 10000"/>
                    <a:gd name="connsiteY43" fmla="*/ 6202 h 9937"/>
                    <a:gd name="connsiteX44" fmla="*/ 439 w 10000"/>
                    <a:gd name="connsiteY44" fmla="*/ 6961 h 9937"/>
                    <a:gd name="connsiteX45" fmla="*/ 175 w 10000"/>
                    <a:gd name="connsiteY45" fmla="*/ 7848 h 9937"/>
                    <a:gd name="connsiteX46" fmla="*/ 0 w 10000"/>
                    <a:gd name="connsiteY46" fmla="*/ 8798 h 9937"/>
                    <a:gd name="connsiteX47" fmla="*/ 0 w 10000"/>
                    <a:gd name="connsiteY47" fmla="*/ 9873 h 9937"/>
                    <a:gd name="connsiteX0" fmla="*/ 9912 w 10000"/>
                    <a:gd name="connsiteY0" fmla="*/ 10000 h 10000"/>
                    <a:gd name="connsiteX1" fmla="*/ 10000 w 10000"/>
                    <a:gd name="connsiteY1" fmla="*/ 9936 h 10000"/>
                    <a:gd name="connsiteX2" fmla="*/ 10000 w 10000"/>
                    <a:gd name="connsiteY2" fmla="*/ 8854 h 10000"/>
                    <a:gd name="connsiteX3" fmla="*/ 9912 w 10000"/>
                    <a:gd name="connsiteY3" fmla="*/ 7898 h 10000"/>
                    <a:gd name="connsiteX4" fmla="*/ 9561 w 10000"/>
                    <a:gd name="connsiteY4" fmla="*/ 7005 h 10000"/>
                    <a:gd name="connsiteX5" fmla="*/ 9211 w 10000"/>
                    <a:gd name="connsiteY5" fmla="*/ 6241 h 10000"/>
                    <a:gd name="connsiteX6" fmla="*/ 8684 w 10000"/>
                    <a:gd name="connsiteY6" fmla="*/ 5478 h 10000"/>
                    <a:gd name="connsiteX7" fmla="*/ 7982 w 10000"/>
                    <a:gd name="connsiteY7" fmla="*/ 4905 h 10000"/>
                    <a:gd name="connsiteX8" fmla="*/ 7105 w 10000"/>
                    <a:gd name="connsiteY8" fmla="*/ 4522 h 10000"/>
                    <a:gd name="connsiteX9" fmla="*/ 6140 w 10000"/>
                    <a:gd name="connsiteY9" fmla="*/ 4203 h 10000"/>
                    <a:gd name="connsiteX10" fmla="*/ 6140 w 10000"/>
                    <a:gd name="connsiteY10" fmla="*/ 4203 h 10000"/>
                    <a:gd name="connsiteX11" fmla="*/ 6667 w 10000"/>
                    <a:gd name="connsiteY11" fmla="*/ 3822 h 10000"/>
                    <a:gd name="connsiteX12" fmla="*/ 7018 w 10000"/>
                    <a:gd name="connsiteY12" fmla="*/ 3312 h 10000"/>
                    <a:gd name="connsiteX13" fmla="*/ 7281 w 10000"/>
                    <a:gd name="connsiteY13" fmla="*/ 2739 h 10000"/>
                    <a:gd name="connsiteX14" fmla="*/ 7544 w 10000"/>
                    <a:gd name="connsiteY14" fmla="*/ 2166 h 10000"/>
                    <a:gd name="connsiteX15" fmla="*/ 7544 w 10000"/>
                    <a:gd name="connsiteY15" fmla="*/ 2166 h 10000"/>
                    <a:gd name="connsiteX16" fmla="*/ 7456 w 10000"/>
                    <a:gd name="connsiteY16" fmla="*/ 1720 h 10000"/>
                    <a:gd name="connsiteX17" fmla="*/ 7281 w 10000"/>
                    <a:gd name="connsiteY17" fmla="*/ 1274 h 10000"/>
                    <a:gd name="connsiteX18" fmla="*/ 7105 w 10000"/>
                    <a:gd name="connsiteY18" fmla="*/ 892 h 10000"/>
                    <a:gd name="connsiteX19" fmla="*/ 6754 w 10000"/>
                    <a:gd name="connsiteY19" fmla="*/ 574 h 10000"/>
                    <a:gd name="connsiteX20" fmla="*/ 6404 w 10000"/>
                    <a:gd name="connsiteY20" fmla="*/ 319 h 10000"/>
                    <a:gd name="connsiteX21" fmla="*/ 5965 w 10000"/>
                    <a:gd name="connsiteY21" fmla="*/ 191 h 10000"/>
                    <a:gd name="connsiteX22" fmla="*/ 5526 w 10000"/>
                    <a:gd name="connsiteY22" fmla="*/ 0 h 10000"/>
                    <a:gd name="connsiteX23" fmla="*/ 5000 w 10000"/>
                    <a:gd name="connsiteY23" fmla="*/ 0 h 10000"/>
                    <a:gd name="connsiteX24" fmla="*/ 5000 w 10000"/>
                    <a:gd name="connsiteY24" fmla="*/ 0 h 10000"/>
                    <a:gd name="connsiteX25" fmla="*/ 4561 w 10000"/>
                    <a:gd name="connsiteY25" fmla="*/ 0 h 10000"/>
                    <a:gd name="connsiteX26" fmla="*/ 4123 w 10000"/>
                    <a:gd name="connsiteY26" fmla="*/ 191 h 10000"/>
                    <a:gd name="connsiteX27" fmla="*/ 3684 w 10000"/>
                    <a:gd name="connsiteY27" fmla="*/ 319 h 10000"/>
                    <a:gd name="connsiteX28" fmla="*/ 3246 w 10000"/>
                    <a:gd name="connsiteY28" fmla="*/ 574 h 10000"/>
                    <a:gd name="connsiteX29" fmla="*/ 2982 w 10000"/>
                    <a:gd name="connsiteY29" fmla="*/ 892 h 10000"/>
                    <a:gd name="connsiteX30" fmla="*/ 2719 w 10000"/>
                    <a:gd name="connsiteY30" fmla="*/ 1274 h 10000"/>
                    <a:gd name="connsiteX31" fmla="*/ 2544 w 10000"/>
                    <a:gd name="connsiteY31" fmla="*/ 1720 h 10000"/>
                    <a:gd name="connsiteX32" fmla="*/ 2544 w 10000"/>
                    <a:gd name="connsiteY32" fmla="*/ 2166 h 10000"/>
                    <a:gd name="connsiteX33" fmla="*/ 2544 w 10000"/>
                    <a:gd name="connsiteY33" fmla="*/ 2166 h 10000"/>
                    <a:gd name="connsiteX34" fmla="*/ 2632 w 10000"/>
                    <a:gd name="connsiteY34" fmla="*/ 2739 h 10000"/>
                    <a:gd name="connsiteX35" fmla="*/ 2982 w 10000"/>
                    <a:gd name="connsiteY35" fmla="*/ 3312 h 10000"/>
                    <a:gd name="connsiteX36" fmla="*/ 3421 w 10000"/>
                    <a:gd name="connsiteY36" fmla="*/ 3822 h 10000"/>
                    <a:gd name="connsiteX37" fmla="*/ 3860 w 10000"/>
                    <a:gd name="connsiteY37" fmla="*/ 4203 h 10000"/>
                    <a:gd name="connsiteX38" fmla="*/ 3860 w 10000"/>
                    <a:gd name="connsiteY38" fmla="*/ 4203 h 10000"/>
                    <a:gd name="connsiteX39" fmla="*/ 2895 w 10000"/>
                    <a:gd name="connsiteY39" fmla="*/ 4522 h 10000"/>
                    <a:gd name="connsiteX40" fmla="*/ 2105 w 10000"/>
                    <a:gd name="connsiteY40" fmla="*/ 4905 h 10000"/>
                    <a:gd name="connsiteX41" fmla="*/ 1404 w 10000"/>
                    <a:gd name="connsiteY41" fmla="*/ 5478 h 10000"/>
                    <a:gd name="connsiteX42" fmla="*/ 877 w 10000"/>
                    <a:gd name="connsiteY42" fmla="*/ 6241 h 10000"/>
                    <a:gd name="connsiteX43" fmla="*/ 439 w 10000"/>
                    <a:gd name="connsiteY43" fmla="*/ 7005 h 10000"/>
                    <a:gd name="connsiteX44" fmla="*/ 175 w 10000"/>
                    <a:gd name="connsiteY44" fmla="*/ 7898 h 10000"/>
                    <a:gd name="connsiteX45" fmla="*/ 0 w 10000"/>
                    <a:gd name="connsiteY45" fmla="*/ 8854 h 10000"/>
                    <a:gd name="connsiteX46" fmla="*/ 0 w 10000"/>
                    <a:gd name="connsiteY46" fmla="*/ 9936 h 10000"/>
                    <a:gd name="connsiteX0" fmla="*/ 9912 w 10000"/>
                    <a:gd name="connsiteY0" fmla="*/ 10000 h 10000"/>
                    <a:gd name="connsiteX1" fmla="*/ 10000 w 10000"/>
                    <a:gd name="connsiteY1" fmla="*/ 8854 h 10000"/>
                    <a:gd name="connsiteX2" fmla="*/ 9912 w 10000"/>
                    <a:gd name="connsiteY2" fmla="*/ 7898 h 10000"/>
                    <a:gd name="connsiteX3" fmla="*/ 9561 w 10000"/>
                    <a:gd name="connsiteY3" fmla="*/ 7005 h 10000"/>
                    <a:gd name="connsiteX4" fmla="*/ 9211 w 10000"/>
                    <a:gd name="connsiteY4" fmla="*/ 6241 h 10000"/>
                    <a:gd name="connsiteX5" fmla="*/ 8684 w 10000"/>
                    <a:gd name="connsiteY5" fmla="*/ 5478 h 10000"/>
                    <a:gd name="connsiteX6" fmla="*/ 7982 w 10000"/>
                    <a:gd name="connsiteY6" fmla="*/ 4905 h 10000"/>
                    <a:gd name="connsiteX7" fmla="*/ 7105 w 10000"/>
                    <a:gd name="connsiteY7" fmla="*/ 4522 h 10000"/>
                    <a:gd name="connsiteX8" fmla="*/ 6140 w 10000"/>
                    <a:gd name="connsiteY8" fmla="*/ 4203 h 10000"/>
                    <a:gd name="connsiteX9" fmla="*/ 6140 w 10000"/>
                    <a:gd name="connsiteY9" fmla="*/ 4203 h 10000"/>
                    <a:gd name="connsiteX10" fmla="*/ 6667 w 10000"/>
                    <a:gd name="connsiteY10" fmla="*/ 3822 h 10000"/>
                    <a:gd name="connsiteX11" fmla="*/ 7018 w 10000"/>
                    <a:gd name="connsiteY11" fmla="*/ 3312 h 10000"/>
                    <a:gd name="connsiteX12" fmla="*/ 7281 w 10000"/>
                    <a:gd name="connsiteY12" fmla="*/ 2739 h 10000"/>
                    <a:gd name="connsiteX13" fmla="*/ 7544 w 10000"/>
                    <a:gd name="connsiteY13" fmla="*/ 2166 h 10000"/>
                    <a:gd name="connsiteX14" fmla="*/ 7544 w 10000"/>
                    <a:gd name="connsiteY14" fmla="*/ 2166 h 10000"/>
                    <a:gd name="connsiteX15" fmla="*/ 7456 w 10000"/>
                    <a:gd name="connsiteY15" fmla="*/ 1720 h 10000"/>
                    <a:gd name="connsiteX16" fmla="*/ 7281 w 10000"/>
                    <a:gd name="connsiteY16" fmla="*/ 1274 h 10000"/>
                    <a:gd name="connsiteX17" fmla="*/ 7105 w 10000"/>
                    <a:gd name="connsiteY17" fmla="*/ 892 h 10000"/>
                    <a:gd name="connsiteX18" fmla="*/ 6754 w 10000"/>
                    <a:gd name="connsiteY18" fmla="*/ 574 h 10000"/>
                    <a:gd name="connsiteX19" fmla="*/ 6404 w 10000"/>
                    <a:gd name="connsiteY19" fmla="*/ 319 h 10000"/>
                    <a:gd name="connsiteX20" fmla="*/ 5965 w 10000"/>
                    <a:gd name="connsiteY20" fmla="*/ 191 h 10000"/>
                    <a:gd name="connsiteX21" fmla="*/ 5526 w 10000"/>
                    <a:gd name="connsiteY21" fmla="*/ 0 h 10000"/>
                    <a:gd name="connsiteX22" fmla="*/ 5000 w 10000"/>
                    <a:gd name="connsiteY22" fmla="*/ 0 h 10000"/>
                    <a:gd name="connsiteX23" fmla="*/ 5000 w 10000"/>
                    <a:gd name="connsiteY23" fmla="*/ 0 h 10000"/>
                    <a:gd name="connsiteX24" fmla="*/ 4561 w 10000"/>
                    <a:gd name="connsiteY24" fmla="*/ 0 h 10000"/>
                    <a:gd name="connsiteX25" fmla="*/ 4123 w 10000"/>
                    <a:gd name="connsiteY25" fmla="*/ 191 h 10000"/>
                    <a:gd name="connsiteX26" fmla="*/ 3684 w 10000"/>
                    <a:gd name="connsiteY26" fmla="*/ 319 h 10000"/>
                    <a:gd name="connsiteX27" fmla="*/ 3246 w 10000"/>
                    <a:gd name="connsiteY27" fmla="*/ 574 h 10000"/>
                    <a:gd name="connsiteX28" fmla="*/ 2982 w 10000"/>
                    <a:gd name="connsiteY28" fmla="*/ 892 h 10000"/>
                    <a:gd name="connsiteX29" fmla="*/ 2719 w 10000"/>
                    <a:gd name="connsiteY29" fmla="*/ 1274 h 10000"/>
                    <a:gd name="connsiteX30" fmla="*/ 2544 w 10000"/>
                    <a:gd name="connsiteY30" fmla="*/ 1720 h 10000"/>
                    <a:gd name="connsiteX31" fmla="*/ 2544 w 10000"/>
                    <a:gd name="connsiteY31" fmla="*/ 2166 h 10000"/>
                    <a:gd name="connsiteX32" fmla="*/ 2544 w 10000"/>
                    <a:gd name="connsiteY32" fmla="*/ 2166 h 10000"/>
                    <a:gd name="connsiteX33" fmla="*/ 2632 w 10000"/>
                    <a:gd name="connsiteY33" fmla="*/ 2739 h 10000"/>
                    <a:gd name="connsiteX34" fmla="*/ 2982 w 10000"/>
                    <a:gd name="connsiteY34" fmla="*/ 3312 h 10000"/>
                    <a:gd name="connsiteX35" fmla="*/ 3421 w 10000"/>
                    <a:gd name="connsiteY35" fmla="*/ 3822 h 10000"/>
                    <a:gd name="connsiteX36" fmla="*/ 3860 w 10000"/>
                    <a:gd name="connsiteY36" fmla="*/ 4203 h 10000"/>
                    <a:gd name="connsiteX37" fmla="*/ 3860 w 10000"/>
                    <a:gd name="connsiteY37" fmla="*/ 4203 h 10000"/>
                    <a:gd name="connsiteX38" fmla="*/ 2895 w 10000"/>
                    <a:gd name="connsiteY38" fmla="*/ 4522 h 10000"/>
                    <a:gd name="connsiteX39" fmla="*/ 2105 w 10000"/>
                    <a:gd name="connsiteY39" fmla="*/ 4905 h 10000"/>
                    <a:gd name="connsiteX40" fmla="*/ 1404 w 10000"/>
                    <a:gd name="connsiteY40" fmla="*/ 5478 h 10000"/>
                    <a:gd name="connsiteX41" fmla="*/ 877 w 10000"/>
                    <a:gd name="connsiteY41" fmla="*/ 6241 h 10000"/>
                    <a:gd name="connsiteX42" fmla="*/ 439 w 10000"/>
                    <a:gd name="connsiteY42" fmla="*/ 7005 h 10000"/>
                    <a:gd name="connsiteX43" fmla="*/ 175 w 10000"/>
                    <a:gd name="connsiteY43" fmla="*/ 7898 h 10000"/>
                    <a:gd name="connsiteX44" fmla="*/ 0 w 10000"/>
                    <a:gd name="connsiteY44" fmla="*/ 8854 h 10000"/>
                    <a:gd name="connsiteX45" fmla="*/ 0 w 10000"/>
                    <a:gd name="connsiteY45" fmla="*/ 9936 h 10000"/>
                    <a:gd name="connsiteX0" fmla="*/ 10000 w 10000"/>
                    <a:gd name="connsiteY0" fmla="*/ 8854 h 9936"/>
                    <a:gd name="connsiteX1" fmla="*/ 9912 w 10000"/>
                    <a:gd name="connsiteY1" fmla="*/ 7898 h 9936"/>
                    <a:gd name="connsiteX2" fmla="*/ 9561 w 10000"/>
                    <a:gd name="connsiteY2" fmla="*/ 7005 h 9936"/>
                    <a:gd name="connsiteX3" fmla="*/ 9211 w 10000"/>
                    <a:gd name="connsiteY3" fmla="*/ 6241 h 9936"/>
                    <a:gd name="connsiteX4" fmla="*/ 8684 w 10000"/>
                    <a:gd name="connsiteY4" fmla="*/ 5478 h 9936"/>
                    <a:gd name="connsiteX5" fmla="*/ 7982 w 10000"/>
                    <a:gd name="connsiteY5" fmla="*/ 4905 h 9936"/>
                    <a:gd name="connsiteX6" fmla="*/ 7105 w 10000"/>
                    <a:gd name="connsiteY6" fmla="*/ 4522 h 9936"/>
                    <a:gd name="connsiteX7" fmla="*/ 6140 w 10000"/>
                    <a:gd name="connsiteY7" fmla="*/ 4203 h 9936"/>
                    <a:gd name="connsiteX8" fmla="*/ 6140 w 10000"/>
                    <a:gd name="connsiteY8" fmla="*/ 4203 h 9936"/>
                    <a:gd name="connsiteX9" fmla="*/ 6667 w 10000"/>
                    <a:gd name="connsiteY9" fmla="*/ 3822 h 9936"/>
                    <a:gd name="connsiteX10" fmla="*/ 7018 w 10000"/>
                    <a:gd name="connsiteY10" fmla="*/ 3312 h 9936"/>
                    <a:gd name="connsiteX11" fmla="*/ 7281 w 10000"/>
                    <a:gd name="connsiteY11" fmla="*/ 2739 h 9936"/>
                    <a:gd name="connsiteX12" fmla="*/ 7544 w 10000"/>
                    <a:gd name="connsiteY12" fmla="*/ 2166 h 9936"/>
                    <a:gd name="connsiteX13" fmla="*/ 7544 w 10000"/>
                    <a:gd name="connsiteY13" fmla="*/ 2166 h 9936"/>
                    <a:gd name="connsiteX14" fmla="*/ 7456 w 10000"/>
                    <a:gd name="connsiteY14" fmla="*/ 1720 h 9936"/>
                    <a:gd name="connsiteX15" fmla="*/ 7281 w 10000"/>
                    <a:gd name="connsiteY15" fmla="*/ 1274 h 9936"/>
                    <a:gd name="connsiteX16" fmla="*/ 7105 w 10000"/>
                    <a:gd name="connsiteY16" fmla="*/ 892 h 9936"/>
                    <a:gd name="connsiteX17" fmla="*/ 6754 w 10000"/>
                    <a:gd name="connsiteY17" fmla="*/ 574 h 9936"/>
                    <a:gd name="connsiteX18" fmla="*/ 6404 w 10000"/>
                    <a:gd name="connsiteY18" fmla="*/ 319 h 9936"/>
                    <a:gd name="connsiteX19" fmla="*/ 5965 w 10000"/>
                    <a:gd name="connsiteY19" fmla="*/ 191 h 9936"/>
                    <a:gd name="connsiteX20" fmla="*/ 5526 w 10000"/>
                    <a:gd name="connsiteY20" fmla="*/ 0 h 9936"/>
                    <a:gd name="connsiteX21" fmla="*/ 5000 w 10000"/>
                    <a:gd name="connsiteY21" fmla="*/ 0 h 9936"/>
                    <a:gd name="connsiteX22" fmla="*/ 5000 w 10000"/>
                    <a:gd name="connsiteY22" fmla="*/ 0 h 9936"/>
                    <a:gd name="connsiteX23" fmla="*/ 4561 w 10000"/>
                    <a:gd name="connsiteY23" fmla="*/ 0 h 9936"/>
                    <a:gd name="connsiteX24" fmla="*/ 4123 w 10000"/>
                    <a:gd name="connsiteY24" fmla="*/ 191 h 9936"/>
                    <a:gd name="connsiteX25" fmla="*/ 3684 w 10000"/>
                    <a:gd name="connsiteY25" fmla="*/ 319 h 9936"/>
                    <a:gd name="connsiteX26" fmla="*/ 3246 w 10000"/>
                    <a:gd name="connsiteY26" fmla="*/ 574 h 9936"/>
                    <a:gd name="connsiteX27" fmla="*/ 2982 w 10000"/>
                    <a:gd name="connsiteY27" fmla="*/ 892 h 9936"/>
                    <a:gd name="connsiteX28" fmla="*/ 2719 w 10000"/>
                    <a:gd name="connsiteY28" fmla="*/ 1274 h 9936"/>
                    <a:gd name="connsiteX29" fmla="*/ 2544 w 10000"/>
                    <a:gd name="connsiteY29" fmla="*/ 1720 h 9936"/>
                    <a:gd name="connsiteX30" fmla="*/ 2544 w 10000"/>
                    <a:gd name="connsiteY30" fmla="*/ 2166 h 9936"/>
                    <a:gd name="connsiteX31" fmla="*/ 2544 w 10000"/>
                    <a:gd name="connsiteY31" fmla="*/ 2166 h 9936"/>
                    <a:gd name="connsiteX32" fmla="*/ 2632 w 10000"/>
                    <a:gd name="connsiteY32" fmla="*/ 2739 h 9936"/>
                    <a:gd name="connsiteX33" fmla="*/ 2982 w 10000"/>
                    <a:gd name="connsiteY33" fmla="*/ 3312 h 9936"/>
                    <a:gd name="connsiteX34" fmla="*/ 3421 w 10000"/>
                    <a:gd name="connsiteY34" fmla="*/ 3822 h 9936"/>
                    <a:gd name="connsiteX35" fmla="*/ 3860 w 10000"/>
                    <a:gd name="connsiteY35" fmla="*/ 4203 h 9936"/>
                    <a:gd name="connsiteX36" fmla="*/ 3860 w 10000"/>
                    <a:gd name="connsiteY36" fmla="*/ 4203 h 9936"/>
                    <a:gd name="connsiteX37" fmla="*/ 2895 w 10000"/>
                    <a:gd name="connsiteY37" fmla="*/ 4522 h 9936"/>
                    <a:gd name="connsiteX38" fmla="*/ 2105 w 10000"/>
                    <a:gd name="connsiteY38" fmla="*/ 4905 h 9936"/>
                    <a:gd name="connsiteX39" fmla="*/ 1404 w 10000"/>
                    <a:gd name="connsiteY39" fmla="*/ 5478 h 9936"/>
                    <a:gd name="connsiteX40" fmla="*/ 877 w 10000"/>
                    <a:gd name="connsiteY40" fmla="*/ 6241 h 9936"/>
                    <a:gd name="connsiteX41" fmla="*/ 439 w 10000"/>
                    <a:gd name="connsiteY41" fmla="*/ 7005 h 9936"/>
                    <a:gd name="connsiteX42" fmla="*/ 175 w 10000"/>
                    <a:gd name="connsiteY42" fmla="*/ 7898 h 9936"/>
                    <a:gd name="connsiteX43" fmla="*/ 0 w 10000"/>
                    <a:gd name="connsiteY43" fmla="*/ 8854 h 9936"/>
                    <a:gd name="connsiteX44" fmla="*/ 0 w 10000"/>
                    <a:gd name="connsiteY44" fmla="*/ 9936 h 9936"/>
                    <a:gd name="connsiteX0" fmla="*/ 9912 w 9912"/>
                    <a:gd name="connsiteY0" fmla="*/ 7949 h 10000"/>
                    <a:gd name="connsiteX1" fmla="*/ 9561 w 9912"/>
                    <a:gd name="connsiteY1" fmla="*/ 7050 h 10000"/>
                    <a:gd name="connsiteX2" fmla="*/ 9211 w 9912"/>
                    <a:gd name="connsiteY2" fmla="*/ 6281 h 10000"/>
                    <a:gd name="connsiteX3" fmla="*/ 8684 w 9912"/>
                    <a:gd name="connsiteY3" fmla="*/ 5513 h 10000"/>
                    <a:gd name="connsiteX4" fmla="*/ 7982 w 9912"/>
                    <a:gd name="connsiteY4" fmla="*/ 4937 h 10000"/>
                    <a:gd name="connsiteX5" fmla="*/ 7105 w 9912"/>
                    <a:gd name="connsiteY5" fmla="*/ 4551 h 10000"/>
                    <a:gd name="connsiteX6" fmla="*/ 6140 w 9912"/>
                    <a:gd name="connsiteY6" fmla="*/ 4230 h 10000"/>
                    <a:gd name="connsiteX7" fmla="*/ 6140 w 9912"/>
                    <a:gd name="connsiteY7" fmla="*/ 4230 h 10000"/>
                    <a:gd name="connsiteX8" fmla="*/ 6667 w 9912"/>
                    <a:gd name="connsiteY8" fmla="*/ 3847 h 10000"/>
                    <a:gd name="connsiteX9" fmla="*/ 7018 w 9912"/>
                    <a:gd name="connsiteY9" fmla="*/ 3333 h 10000"/>
                    <a:gd name="connsiteX10" fmla="*/ 7281 w 9912"/>
                    <a:gd name="connsiteY10" fmla="*/ 2757 h 10000"/>
                    <a:gd name="connsiteX11" fmla="*/ 7544 w 9912"/>
                    <a:gd name="connsiteY11" fmla="*/ 2180 h 10000"/>
                    <a:gd name="connsiteX12" fmla="*/ 7544 w 9912"/>
                    <a:gd name="connsiteY12" fmla="*/ 2180 h 10000"/>
                    <a:gd name="connsiteX13" fmla="*/ 7456 w 9912"/>
                    <a:gd name="connsiteY13" fmla="*/ 1731 h 10000"/>
                    <a:gd name="connsiteX14" fmla="*/ 7281 w 9912"/>
                    <a:gd name="connsiteY14" fmla="*/ 1282 h 10000"/>
                    <a:gd name="connsiteX15" fmla="*/ 7105 w 9912"/>
                    <a:gd name="connsiteY15" fmla="*/ 898 h 10000"/>
                    <a:gd name="connsiteX16" fmla="*/ 6754 w 9912"/>
                    <a:gd name="connsiteY16" fmla="*/ 578 h 10000"/>
                    <a:gd name="connsiteX17" fmla="*/ 6404 w 9912"/>
                    <a:gd name="connsiteY17" fmla="*/ 321 h 10000"/>
                    <a:gd name="connsiteX18" fmla="*/ 5965 w 9912"/>
                    <a:gd name="connsiteY18" fmla="*/ 192 h 10000"/>
                    <a:gd name="connsiteX19" fmla="*/ 5526 w 9912"/>
                    <a:gd name="connsiteY19" fmla="*/ 0 h 10000"/>
                    <a:gd name="connsiteX20" fmla="*/ 5000 w 9912"/>
                    <a:gd name="connsiteY20" fmla="*/ 0 h 10000"/>
                    <a:gd name="connsiteX21" fmla="*/ 5000 w 9912"/>
                    <a:gd name="connsiteY21" fmla="*/ 0 h 10000"/>
                    <a:gd name="connsiteX22" fmla="*/ 4561 w 9912"/>
                    <a:gd name="connsiteY22" fmla="*/ 0 h 10000"/>
                    <a:gd name="connsiteX23" fmla="*/ 4123 w 9912"/>
                    <a:gd name="connsiteY23" fmla="*/ 192 h 10000"/>
                    <a:gd name="connsiteX24" fmla="*/ 3684 w 9912"/>
                    <a:gd name="connsiteY24" fmla="*/ 321 h 10000"/>
                    <a:gd name="connsiteX25" fmla="*/ 3246 w 9912"/>
                    <a:gd name="connsiteY25" fmla="*/ 578 h 10000"/>
                    <a:gd name="connsiteX26" fmla="*/ 2982 w 9912"/>
                    <a:gd name="connsiteY26" fmla="*/ 898 h 10000"/>
                    <a:gd name="connsiteX27" fmla="*/ 2719 w 9912"/>
                    <a:gd name="connsiteY27" fmla="*/ 1282 h 10000"/>
                    <a:gd name="connsiteX28" fmla="*/ 2544 w 9912"/>
                    <a:gd name="connsiteY28" fmla="*/ 1731 h 10000"/>
                    <a:gd name="connsiteX29" fmla="*/ 2544 w 9912"/>
                    <a:gd name="connsiteY29" fmla="*/ 2180 h 10000"/>
                    <a:gd name="connsiteX30" fmla="*/ 2544 w 9912"/>
                    <a:gd name="connsiteY30" fmla="*/ 2180 h 10000"/>
                    <a:gd name="connsiteX31" fmla="*/ 2632 w 9912"/>
                    <a:gd name="connsiteY31" fmla="*/ 2757 h 10000"/>
                    <a:gd name="connsiteX32" fmla="*/ 2982 w 9912"/>
                    <a:gd name="connsiteY32" fmla="*/ 3333 h 10000"/>
                    <a:gd name="connsiteX33" fmla="*/ 3421 w 9912"/>
                    <a:gd name="connsiteY33" fmla="*/ 3847 h 10000"/>
                    <a:gd name="connsiteX34" fmla="*/ 3860 w 9912"/>
                    <a:gd name="connsiteY34" fmla="*/ 4230 h 10000"/>
                    <a:gd name="connsiteX35" fmla="*/ 3860 w 9912"/>
                    <a:gd name="connsiteY35" fmla="*/ 4230 h 10000"/>
                    <a:gd name="connsiteX36" fmla="*/ 2895 w 9912"/>
                    <a:gd name="connsiteY36" fmla="*/ 4551 h 10000"/>
                    <a:gd name="connsiteX37" fmla="*/ 2105 w 9912"/>
                    <a:gd name="connsiteY37" fmla="*/ 4937 h 10000"/>
                    <a:gd name="connsiteX38" fmla="*/ 1404 w 9912"/>
                    <a:gd name="connsiteY38" fmla="*/ 5513 h 10000"/>
                    <a:gd name="connsiteX39" fmla="*/ 877 w 9912"/>
                    <a:gd name="connsiteY39" fmla="*/ 6281 h 10000"/>
                    <a:gd name="connsiteX40" fmla="*/ 439 w 9912"/>
                    <a:gd name="connsiteY40" fmla="*/ 7050 h 10000"/>
                    <a:gd name="connsiteX41" fmla="*/ 175 w 9912"/>
                    <a:gd name="connsiteY41" fmla="*/ 7949 h 10000"/>
                    <a:gd name="connsiteX42" fmla="*/ 0 w 9912"/>
                    <a:gd name="connsiteY42" fmla="*/ 8911 h 10000"/>
                    <a:gd name="connsiteX43" fmla="*/ 0 w 9912"/>
                    <a:gd name="connsiteY43" fmla="*/ 10000 h 10000"/>
                    <a:gd name="connsiteX0" fmla="*/ 9646 w 9646"/>
                    <a:gd name="connsiteY0" fmla="*/ 7050 h 10000"/>
                    <a:gd name="connsiteX1" fmla="*/ 9293 w 9646"/>
                    <a:gd name="connsiteY1" fmla="*/ 6281 h 10000"/>
                    <a:gd name="connsiteX2" fmla="*/ 8761 w 9646"/>
                    <a:gd name="connsiteY2" fmla="*/ 5513 h 10000"/>
                    <a:gd name="connsiteX3" fmla="*/ 8053 w 9646"/>
                    <a:gd name="connsiteY3" fmla="*/ 4937 h 10000"/>
                    <a:gd name="connsiteX4" fmla="*/ 7168 w 9646"/>
                    <a:gd name="connsiteY4" fmla="*/ 4551 h 10000"/>
                    <a:gd name="connsiteX5" fmla="*/ 6195 w 9646"/>
                    <a:gd name="connsiteY5" fmla="*/ 4230 h 10000"/>
                    <a:gd name="connsiteX6" fmla="*/ 6195 w 9646"/>
                    <a:gd name="connsiteY6" fmla="*/ 4230 h 10000"/>
                    <a:gd name="connsiteX7" fmla="*/ 6726 w 9646"/>
                    <a:gd name="connsiteY7" fmla="*/ 3847 h 10000"/>
                    <a:gd name="connsiteX8" fmla="*/ 7080 w 9646"/>
                    <a:gd name="connsiteY8" fmla="*/ 3333 h 10000"/>
                    <a:gd name="connsiteX9" fmla="*/ 7346 w 9646"/>
                    <a:gd name="connsiteY9" fmla="*/ 2757 h 10000"/>
                    <a:gd name="connsiteX10" fmla="*/ 7611 w 9646"/>
                    <a:gd name="connsiteY10" fmla="*/ 2180 h 10000"/>
                    <a:gd name="connsiteX11" fmla="*/ 7611 w 9646"/>
                    <a:gd name="connsiteY11" fmla="*/ 2180 h 10000"/>
                    <a:gd name="connsiteX12" fmla="*/ 7522 w 9646"/>
                    <a:gd name="connsiteY12" fmla="*/ 1731 h 10000"/>
                    <a:gd name="connsiteX13" fmla="*/ 7346 w 9646"/>
                    <a:gd name="connsiteY13" fmla="*/ 1282 h 10000"/>
                    <a:gd name="connsiteX14" fmla="*/ 7168 w 9646"/>
                    <a:gd name="connsiteY14" fmla="*/ 898 h 10000"/>
                    <a:gd name="connsiteX15" fmla="*/ 6814 w 9646"/>
                    <a:gd name="connsiteY15" fmla="*/ 578 h 10000"/>
                    <a:gd name="connsiteX16" fmla="*/ 6461 w 9646"/>
                    <a:gd name="connsiteY16" fmla="*/ 321 h 10000"/>
                    <a:gd name="connsiteX17" fmla="*/ 6018 w 9646"/>
                    <a:gd name="connsiteY17" fmla="*/ 192 h 10000"/>
                    <a:gd name="connsiteX18" fmla="*/ 5575 w 9646"/>
                    <a:gd name="connsiteY18" fmla="*/ 0 h 10000"/>
                    <a:gd name="connsiteX19" fmla="*/ 5044 w 9646"/>
                    <a:gd name="connsiteY19" fmla="*/ 0 h 10000"/>
                    <a:gd name="connsiteX20" fmla="*/ 5044 w 9646"/>
                    <a:gd name="connsiteY20" fmla="*/ 0 h 10000"/>
                    <a:gd name="connsiteX21" fmla="*/ 4601 w 9646"/>
                    <a:gd name="connsiteY21" fmla="*/ 0 h 10000"/>
                    <a:gd name="connsiteX22" fmla="*/ 4160 w 9646"/>
                    <a:gd name="connsiteY22" fmla="*/ 192 h 10000"/>
                    <a:gd name="connsiteX23" fmla="*/ 3717 w 9646"/>
                    <a:gd name="connsiteY23" fmla="*/ 321 h 10000"/>
                    <a:gd name="connsiteX24" fmla="*/ 3275 w 9646"/>
                    <a:gd name="connsiteY24" fmla="*/ 578 h 10000"/>
                    <a:gd name="connsiteX25" fmla="*/ 3008 w 9646"/>
                    <a:gd name="connsiteY25" fmla="*/ 898 h 10000"/>
                    <a:gd name="connsiteX26" fmla="*/ 2743 w 9646"/>
                    <a:gd name="connsiteY26" fmla="*/ 1282 h 10000"/>
                    <a:gd name="connsiteX27" fmla="*/ 2567 w 9646"/>
                    <a:gd name="connsiteY27" fmla="*/ 1731 h 10000"/>
                    <a:gd name="connsiteX28" fmla="*/ 2567 w 9646"/>
                    <a:gd name="connsiteY28" fmla="*/ 2180 h 10000"/>
                    <a:gd name="connsiteX29" fmla="*/ 2567 w 9646"/>
                    <a:gd name="connsiteY29" fmla="*/ 2180 h 10000"/>
                    <a:gd name="connsiteX30" fmla="*/ 2655 w 9646"/>
                    <a:gd name="connsiteY30" fmla="*/ 2757 h 10000"/>
                    <a:gd name="connsiteX31" fmla="*/ 3008 w 9646"/>
                    <a:gd name="connsiteY31" fmla="*/ 3333 h 10000"/>
                    <a:gd name="connsiteX32" fmla="*/ 3451 w 9646"/>
                    <a:gd name="connsiteY32" fmla="*/ 3847 h 10000"/>
                    <a:gd name="connsiteX33" fmla="*/ 3894 w 9646"/>
                    <a:gd name="connsiteY33" fmla="*/ 4230 h 10000"/>
                    <a:gd name="connsiteX34" fmla="*/ 3894 w 9646"/>
                    <a:gd name="connsiteY34" fmla="*/ 4230 h 10000"/>
                    <a:gd name="connsiteX35" fmla="*/ 2921 w 9646"/>
                    <a:gd name="connsiteY35" fmla="*/ 4551 h 10000"/>
                    <a:gd name="connsiteX36" fmla="*/ 2124 w 9646"/>
                    <a:gd name="connsiteY36" fmla="*/ 4937 h 10000"/>
                    <a:gd name="connsiteX37" fmla="*/ 1416 w 9646"/>
                    <a:gd name="connsiteY37" fmla="*/ 5513 h 10000"/>
                    <a:gd name="connsiteX38" fmla="*/ 885 w 9646"/>
                    <a:gd name="connsiteY38" fmla="*/ 6281 h 10000"/>
                    <a:gd name="connsiteX39" fmla="*/ 443 w 9646"/>
                    <a:gd name="connsiteY39" fmla="*/ 7050 h 10000"/>
                    <a:gd name="connsiteX40" fmla="*/ 177 w 9646"/>
                    <a:gd name="connsiteY40" fmla="*/ 7949 h 10000"/>
                    <a:gd name="connsiteX41" fmla="*/ 0 w 9646"/>
                    <a:gd name="connsiteY41" fmla="*/ 8911 h 10000"/>
                    <a:gd name="connsiteX42" fmla="*/ 0 w 9646"/>
                    <a:gd name="connsiteY42" fmla="*/ 10000 h 10000"/>
                    <a:gd name="connsiteX0" fmla="*/ 9634 w 9634"/>
                    <a:gd name="connsiteY0" fmla="*/ 6281 h 10000"/>
                    <a:gd name="connsiteX1" fmla="*/ 9083 w 9634"/>
                    <a:gd name="connsiteY1" fmla="*/ 5513 h 10000"/>
                    <a:gd name="connsiteX2" fmla="*/ 8349 w 9634"/>
                    <a:gd name="connsiteY2" fmla="*/ 4937 h 10000"/>
                    <a:gd name="connsiteX3" fmla="*/ 7431 w 9634"/>
                    <a:gd name="connsiteY3" fmla="*/ 4551 h 10000"/>
                    <a:gd name="connsiteX4" fmla="*/ 6422 w 9634"/>
                    <a:gd name="connsiteY4" fmla="*/ 4230 h 10000"/>
                    <a:gd name="connsiteX5" fmla="*/ 6422 w 9634"/>
                    <a:gd name="connsiteY5" fmla="*/ 4230 h 10000"/>
                    <a:gd name="connsiteX6" fmla="*/ 6973 w 9634"/>
                    <a:gd name="connsiteY6" fmla="*/ 3847 h 10000"/>
                    <a:gd name="connsiteX7" fmla="*/ 7340 w 9634"/>
                    <a:gd name="connsiteY7" fmla="*/ 3333 h 10000"/>
                    <a:gd name="connsiteX8" fmla="*/ 7616 w 9634"/>
                    <a:gd name="connsiteY8" fmla="*/ 2757 h 10000"/>
                    <a:gd name="connsiteX9" fmla="*/ 7890 w 9634"/>
                    <a:gd name="connsiteY9" fmla="*/ 2180 h 10000"/>
                    <a:gd name="connsiteX10" fmla="*/ 7890 w 9634"/>
                    <a:gd name="connsiteY10" fmla="*/ 2180 h 10000"/>
                    <a:gd name="connsiteX11" fmla="*/ 7798 w 9634"/>
                    <a:gd name="connsiteY11" fmla="*/ 1731 h 10000"/>
                    <a:gd name="connsiteX12" fmla="*/ 7616 w 9634"/>
                    <a:gd name="connsiteY12" fmla="*/ 1282 h 10000"/>
                    <a:gd name="connsiteX13" fmla="*/ 7431 w 9634"/>
                    <a:gd name="connsiteY13" fmla="*/ 898 h 10000"/>
                    <a:gd name="connsiteX14" fmla="*/ 7064 w 9634"/>
                    <a:gd name="connsiteY14" fmla="*/ 578 h 10000"/>
                    <a:gd name="connsiteX15" fmla="*/ 6698 w 9634"/>
                    <a:gd name="connsiteY15" fmla="*/ 321 h 10000"/>
                    <a:gd name="connsiteX16" fmla="*/ 6239 w 9634"/>
                    <a:gd name="connsiteY16" fmla="*/ 192 h 10000"/>
                    <a:gd name="connsiteX17" fmla="*/ 5780 w 9634"/>
                    <a:gd name="connsiteY17" fmla="*/ 0 h 10000"/>
                    <a:gd name="connsiteX18" fmla="*/ 5229 w 9634"/>
                    <a:gd name="connsiteY18" fmla="*/ 0 h 10000"/>
                    <a:gd name="connsiteX19" fmla="*/ 5229 w 9634"/>
                    <a:gd name="connsiteY19" fmla="*/ 0 h 10000"/>
                    <a:gd name="connsiteX20" fmla="*/ 4770 w 9634"/>
                    <a:gd name="connsiteY20" fmla="*/ 0 h 10000"/>
                    <a:gd name="connsiteX21" fmla="*/ 4313 w 9634"/>
                    <a:gd name="connsiteY21" fmla="*/ 192 h 10000"/>
                    <a:gd name="connsiteX22" fmla="*/ 3853 w 9634"/>
                    <a:gd name="connsiteY22" fmla="*/ 321 h 10000"/>
                    <a:gd name="connsiteX23" fmla="*/ 3395 w 9634"/>
                    <a:gd name="connsiteY23" fmla="*/ 578 h 10000"/>
                    <a:gd name="connsiteX24" fmla="*/ 3118 w 9634"/>
                    <a:gd name="connsiteY24" fmla="*/ 898 h 10000"/>
                    <a:gd name="connsiteX25" fmla="*/ 2844 w 9634"/>
                    <a:gd name="connsiteY25" fmla="*/ 1282 h 10000"/>
                    <a:gd name="connsiteX26" fmla="*/ 2661 w 9634"/>
                    <a:gd name="connsiteY26" fmla="*/ 1731 h 10000"/>
                    <a:gd name="connsiteX27" fmla="*/ 2661 w 9634"/>
                    <a:gd name="connsiteY27" fmla="*/ 2180 h 10000"/>
                    <a:gd name="connsiteX28" fmla="*/ 2661 w 9634"/>
                    <a:gd name="connsiteY28" fmla="*/ 2180 h 10000"/>
                    <a:gd name="connsiteX29" fmla="*/ 2752 w 9634"/>
                    <a:gd name="connsiteY29" fmla="*/ 2757 h 10000"/>
                    <a:gd name="connsiteX30" fmla="*/ 3118 w 9634"/>
                    <a:gd name="connsiteY30" fmla="*/ 3333 h 10000"/>
                    <a:gd name="connsiteX31" fmla="*/ 3578 w 9634"/>
                    <a:gd name="connsiteY31" fmla="*/ 3847 h 10000"/>
                    <a:gd name="connsiteX32" fmla="*/ 4037 w 9634"/>
                    <a:gd name="connsiteY32" fmla="*/ 4230 h 10000"/>
                    <a:gd name="connsiteX33" fmla="*/ 4037 w 9634"/>
                    <a:gd name="connsiteY33" fmla="*/ 4230 h 10000"/>
                    <a:gd name="connsiteX34" fmla="*/ 3028 w 9634"/>
                    <a:gd name="connsiteY34" fmla="*/ 4551 h 10000"/>
                    <a:gd name="connsiteX35" fmla="*/ 2202 w 9634"/>
                    <a:gd name="connsiteY35" fmla="*/ 4937 h 10000"/>
                    <a:gd name="connsiteX36" fmla="*/ 1468 w 9634"/>
                    <a:gd name="connsiteY36" fmla="*/ 5513 h 10000"/>
                    <a:gd name="connsiteX37" fmla="*/ 917 w 9634"/>
                    <a:gd name="connsiteY37" fmla="*/ 6281 h 10000"/>
                    <a:gd name="connsiteX38" fmla="*/ 459 w 9634"/>
                    <a:gd name="connsiteY38" fmla="*/ 7050 h 10000"/>
                    <a:gd name="connsiteX39" fmla="*/ 183 w 9634"/>
                    <a:gd name="connsiteY39" fmla="*/ 7949 h 10000"/>
                    <a:gd name="connsiteX40" fmla="*/ 0 w 9634"/>
                    <a:gd name="connsiteY40" fmla="*/ 8911 h 10000"/>
                    <a:gd name="connsiteX41" fmla="*/ 0 w 9634"/>
                    <a:gd name="connsiteY41" fmla="*/ 1000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9634" h="10000">
                      <a:moveTo>
                        <a:pt x="9634" y="6281"/>
                      </a:moveTo>
                      <a:lnTo>
                        <a:pt x="9083" y="5513"/>
                      </a:lnTo>
                      <a:lnTo>
                        <a:pt x="8349" y="4937"/>
                      </a:lnTo>
                      <a:lnTo>
                        <a:pt x="7431" y="4551"/>
                      </a:lnTo>
                      <a:lnTo>
                        <a:pt x="6422" y="4230"/>
                      </a:lnTo>
                      <a:lnTo>
                        <a:pt x="6422" y="4230"/>
                      </a:lnTo>
                      <a:lnTo>
                        <a:pt x="6973" y="3847"/>
                      </a:lnTo>
                      <a:lnTo>
                        <a:pt x="7340" y="3333"/>
                      </a:lnTo>
                      <a:cubicBezTo>
                        <a:pt x="7432" y="3142"/>
                        <a:pt x="7523" y="2948"/>
                        <a:pt x="7616" y="2757"/>
                      </a:cubicBezTo>
                      <a:lnTo>
                        <a:pt x="7890" y="2180"/>
                      </a:lnTo>
                      <a:lnTo>
                        <a:pt x="7890" y="2180"/>
                      </a:lnTo>
                      <a:cubicBezTo>
                        <a:pt x="7860" y="2030"/>
                        <a:pt x="7828" y="1881"/>
                        <a:pt x="7798" y="1731"/>
                      </a:cubicBezTo>
                      <a:cubicBezTo>
                        <a:pt x="7738" y="1581"/>
                        <a:pt x="7676" y="1431"/>
                        <a:pt x="7616" y="1282"/>
                      </a:cubicBezTo>
                      <a:cubicBezTo>
                        <a:pt x="7553" y="1154"/>
                        <a:pt x="7493" y="1026"/>
                        <a:pt x="7431" y="898"/>
                      </a:cubicBezTo>
                      <a:lnTo>
                        <a:pt x="7064" y="578"/>
                      </a:lnTo>
                      <a:lnTo>
                        <a:pt x="6698" y="321"/>
                      </a:lnTo>
                      <a:lnTo>
                        <a:pt x="6239" y="192"/>
                      </a:lnTo>
                      <a:lnTo>
                        <a:pt x="5780" y="0"/>
                      </a:lnTo>
                      <a:lnTo>
                        <a:pt x="5229" y="0"/>
                      </a:lnTo>
                      <a:lnTo>
                        <a:pt x="5229" y="0"/>
                      </a:lnTo>
                      <a:lnTo>
                        <a:pt x="4770" y="0"/>
                      </a:lnTo>
                      <a:lnTo>
                        <a:pt x="4313" y="192"/>
                      </a:lnTo>
                      <a:lnTo>
                        <a:pt x="3853" y="321"/>
                      </a:lnTo>
                      <a:lnTo>
                        <a:pt x="3395" y="578"/>
                      </a:lnTo>
                      <a:lnTo>
                        <a:pt x="3118" y="898"/>
                      </a:lnTo>
                      <a:lnTo>
                        <a:pt x="2844" y="1282"/>
                      </a:lnTo>
                      <a:cubicBezTo>
                        <a:pt x="2784" y="1431"/>
                        <a:pt x="2721" y="1581"/>
                        <a:pt x="2661" y="1731"/>
                      </a:cubicBezTo>
                      <a:lnTo>
                        <a:pt x="2661" y="2180"/>
                      </a:lnTo>
                      <a:lnTo>
                        <a:pt x="2661" y="2180"/>
                      </a:lnTo>
                      <a:cubicBezTo>
                        <a:pt x="2691" y="2372"/>
                        <a:pt x="2722" y="2564"/>
                        <a:pt x="2752" y="2757"/>
                      </a:cubicBezTo>
                      <a:lnTo>
                        <a:pt x="3118" y="3333"/>
                      </a:lnTo>
                      <a:lnTo>
                        <a:pt x="3578" y="3847"/>
                      </a:lnTo>
                      <a:lnTo>
                        <a:pt x="4037" y="4230"/>
                      </a:lnTo>
                      <a:lnTo>
                        <a:pt x="4037" y="4230"/>
                      </a:lnTo>
                      <a:lnTo>
                        <a:pt x="3028" y="4551"/>
                      </a:lnTo>
                      <a:lnTo>
                        <a:pt x="2202" y="4937"/>
                      </a:lnTo>
                      <a:lnTo>
                        <a:pt x="1468" y="5513"/>
                      </a:lnTo>
                      <a:lnTo>
                        <a:pt x="917" y="6281"/>
                      </a:lnTo>
                      <a:lnTo>
                        <a:pt x="459" y="7050"/>
                      </a:lnTo>
                      <a:lnTo>
                        <a:pt x="183" y="7949"/>
                      </a:lnTo>
                      <a:lnTo>
                        <a:pt x="0" y="8911"/>
                      </a:lnTo>
                      <a:lnTo>
                        <a:pt x="0" y="10000"/>
                      </a:lnTo>
                    </a:path>
                  </a:pathLst>
                </a:custGeom>
                <a:noFill/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>
                    <a:defRPr/>
                  </a:pPr>
                  <a:endParaRPr lang="en-US" sz="1800">
                    <a:solidFill>
                      <a:srgbClr val="263147"/>
                    </a:solidFill>
                    <a:cs typeface="Arial" charset="0"/>
                  </a:endParaRPr>
                </a:p>
              </p:txBody>
            </p:sp>
            <p:cxnSp>
              <p:nvCxnSpPr>
                <p:cNvPr id="25" name="Connecteur droit 325"/>
                <p:cNvCxnSpPr/>
                <p:nvPr/>
              </p:nvCxnSpPr>
              <p:spPr>
                <a:xfrm flipV="1">
                  <a:off x="4476193" y="4957472"/>
                  <a:ext cx="87297" cy="4115"/>
                </a:xfrm>
                <a:prstGeom prst="line">
                  <a:avLst/>
                </a:prstGeom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0" name="Groupe 32"/>
            <p:cNvGrpSpPr>
              <a:grpSpLocks/>
            </p:cNvGrpSpPr>
            <p:nvPr userDrawn="1"/>
          </p:nvGrpSpPr>
          <p:grpSpPr bwMode="auto">
            <a:xfrm>
              <a:off x="8691235" y="2740981"/>
              <a:ext cx="389203" cy="362534"/>
              <a:chOff x="4999013" y="3508177"/>
              <a:chExt cx="228601" cy="217487"/>
            </a:xfrm>
          </p:grpSpPr>
          <p:sp>
            <p:nvSpPr>
              <p:cNvPr id="16" name="Freeform 213"/>
              <p:cNvSpPr>
                <a:spLocks/>
              </p:cNvSpPr>
              <p:nvPr/>
            </p:nvSpPr>
            <p:spPr bwMode="auto">
              <a:xfrm>
                <a:off x="4999361" y="3508591"/>
                <a:ext cx="85862" cy="83804"/>
              </a:xfrm>
              <a:custGeom>
                <a:avLst/>
                <a:gdLst/>
                <a:ahLst/>
                <a:cxnLst>
                  <a:cxn ang="0">
                    <a:pos x="54" y="42"/>
                  </a:cxn>
                  <a:cxn ang="0">
                    <a:pos x="54" y="42"/>
                  </a:cxn>
                  <a:cxn ang="0">
                    <a:pos x="54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2" y="53"/>
                  </a:cxn>
                  <a:cxn ang="0">
                    <a:pos x="12" y="53"/>
                  </a:cxn>
                  <a:cxn ang="0">
                    <a:pos x="7" y="53"/>
                  </a:cxn>
                  <a:cxn ang="0">
                    <a:pos x="3" y="51"/>
                  </a:cxn>
                  <a:cxn ang="0">
                    <a:pos x="0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7"/>
                  </a:cxn>
                  <a:cxn ang="0">
                    <a:pos x="3" y="3"/>
                  </a:cxn>
                  <a:cxn ang="0">
                    <a:pos x="7" y="0"/>
                  </a:cxn>
                  <a:cxn ang="0">
                    <a:pos x="12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4" y="7"/>
                  </a:cxn>
                  <a:cxn ang="0">
                    <a:pos x="54" y="12"/>
                  </a:cxn>
                  <a:cxn ang="0">
                    <a:pos x="54" y="42"/>
                  </a:cxn>
                </a:cxnLst>
                <a:rect l="0" t="0" r="r" b="b"/>
                <a:pathLst>
                  <a:path w="54" h="53">
                    <a:moveTo>
                      <a:pt x="54" y="42"/>
                    </a:moveTo>
                    <a:lnTo>
                      <a:pt x="54" y="42"/>
                    </a:lnTo>
                    <a:lnTo>
                      <a:pt x="54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2" y="53"/>
                    </a:lnTo>
                    <a:lnTo>
                      <a:pt x="12" y="53"/>
                    </a:lnTo>
                    <a:lnTo>
                      <a:pt x="7" y="53"/>
                    </a:lnTo>
                    <a:lnTo>
                      <a:pt x="3" y="51"/>
                    </a:lnTo>
                    <a:lnTo>
                      <a:pt x="0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7" y="0"/>
                    </a:lnTo>
                    <a:lnTo>
                      <a:pt x="1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4" y="7"/>
                    </a:lnTo>
                    <a:lnTo>
                      <a:pt x="54" y="12"/>
                    </a:lnTo>
                    <a:lnTo>
                      <a:pt x="54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7" name="Freeform 214"/>
              <p:cNvSpPr>
                <a:spLocks/>
              </p:cNvSpPr>
              <p:nvPr/>
            </p:nvSpPr>
            <p:spPr bwMode="auto">
              <a:xfrm>
                <a:off x="5139770" y="3508591"/>
                <a:ext cx="87881" cy="83804"/>
              </a:xfrm>
              <a:custGeom>
                <a:avLst/>
                <a:gdLst/>
                <a:ahLst/>
                <a:cxnLst>
                  <a:cxn ang="0">
                    <a:pos x="55" y="42"/>
                  </a:cxn>
                  <a:cxn ang="0">
                    <a:pos x="55" y="42"/>
                  </a:cxn>
                  <a:cxn ang="0">
                    <a:pos x="53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1" y="53"/>
                  </a:cxn>
                  <a:cxn ang="0">
                    <a:pos x="11" y="53"/>
                  </a:cxn>
                  <a:cxn ang="0">
                    <a:pos x="8" y="53"/>
                  </a:cxn>
                  <a:cxn ang="0">
                    <a:pos x="4" y="51"/>
                  </a:cxn>
                  <a:cxn ang="0">
                    <a:pos x="1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4" y="3"/>
                  </a:cxn>
                  <a:cxn ang="0">
                    <a:pos x="8" y="0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3" y="7"/>
                  </a:cxn>
                  <a:cxn ang="0">
                    <a:pos x="55" y="12"/>
                  </a:cxn>
                  <a:cxn ang="0">
                    <a:pos x="55" y="42"/>
                  </a:cxn>
                </a:cxnLst>
                <a:rect l="0" t="0" r="r" b="b"/>
                <a:pathLst>
                  <a:path w="55" h="53">
                    <a:moveTo>
                      <a:pt x="55" y="42"/>
                    </a:moveTo>
                    <a:lnTo>
                      <a:pt x="55" y="42"/>
                    </a:lnTo>
                    <a:lnTo>
                      <a:pt x="53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1" y="53"/>
                    </a:lnTo>
                    <a:lnTo>
                      <a:pt x="11" y="53"/>
                    </a:lnTo>
                    <a:lnTo>
                      <a:pt x="8" y="53"/>
                    </a:lnTo>
                    <a:lnTo>
                      <a:pt x="4" y="51"/>
                    </a:lnTo>
                    <a:lnTo>
                      <a:pt x="1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4" y="3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3" y="7"/>
                    </a:lnTo>
                    <a:lnTo>
                      <a:pt x="55" y="12"/>
                    </a:lnTo>
                    <a:lnTo>
                      <a:pt x="55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8" name="Freeform 215"/>
              <p:cNvSpPr>
                <a:spLocks/>
              </p:cNvSpPr>
              <p:nvPr/>
            </p:nvSpPr>
            <p:spPr bwMode="auto">
              <a:xfrm>
                <a:off x="5071081" y="3640011"/>
                <a:ext cx="84851" cy="85709"/>
              </a:xfrm>
              <a:custGeom>
                <a:avLst/>
                <a:gdLst/>
                <a:ahLst/>
                <a:cxnLst>
                  <a:cxn ang="0">
                    <a:pos x="36" y="54"/>
                  </a:cxn>
                  <a:cxn ang="0">
                    <a:pos x="29" y="54"/>
                  </a:cxn>
                  <a:cxn ang="0">
                    <a:pos x="11" y="54"/>
                  </a:cxn>
                  <a:cxn ang="0">
                    <a:pos x="11" y="54"/>
                  </a:cxn>
                  <a:cxn ang="0">
                    <a:pos x="7" y="53"/>
                  </a:cxn>
                  <a:cxn ang="0">
                    <a:pos x="3" y="50"/>
                  </a:cxn>
                  <a:cxn ang="0">
                    <a:pos x="1" y="46"/>
                  </a:cxn>
                  <a:cxn ang="0">
                    <a:pos x="0" y="43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3" y="3"/>
                  </a:cxn>
                  <a:cxn ang="0">
                    <a:pos x="7" y="1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1"/>
                  </a:cxn>
                  <a:cxn ang="0">
                    <a:pos x="50" y="3"/>
                  </a:cxn>
                  <a:cxn ang="0">
                    <a:pos x="53" y="7"/>
                  </a:cxn>
                  <a:cxn ang="0">
                    <a:pos x="54" y="12"/>
                  </a:cxn>
                  <a:cxn ang="0">
                    <a:pos x="54" y="43"/>
                  </a:cxn>
                </a:cxnLst>
                <a:rect l="0" t="0" r="r" b="b"/>
                <a:pathLst>
                  <a:path w="54" h="54">
                    <a:moveTo>
                      <a:pt x="36" y="54"/>
                    </a:moveTo>
                    <a:lnTo>
                      <a:pt x="29" y="54"/>
                    </a:lnTo>
                    <a:lnTo>
                      <a:pt x="11" y="54"/>
                    </a:lnTo>
                    <a:lnTo>
                      <a:pt x="11" y="54"/>
                    </a:lnTo>
                    <a:lnTo>
                      <a:pt x="7" y="53"/>
                    </a:lnTo>
                    <a:lnTo>
                      <a:pt x="3" y="50"/>
                    </a:lnTo>
                    <a:lnTo>
                      <a:pt x="1" y="46"/>
                    </a:lnTo>
                    <a:lnTo>
                      <a:pt x="0" y="43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3" y="3"/>
                    </a:lnTo>
                    <a:lnTo>
                      <a:pt x="7" y="1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1"/>
                    </a:lnTo>
                    <a:lnTo>
                      <a:pt x="50" y="3"/>
                    </a:lnTo>
                    <a:lnTo>
                      <a:pt x="53" y="7"/>
                    </a:lnTo>
                    <a:lnTo>
                      <a:pt x="54" y="12"/>
                    </a:lnTo>
                    <a:lnTo>
                      <a:pt x="54" y="43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9" name="Freeform 216"/>
              <p:cNvSpPr>
                <a:spLocks/>
              </p:cNvSpPr>
              <p:nvPr/>
            </p:nvSpPr>
            <p:spPr bwMode="auto">
              <a:xfrm>
                <a:off x="5037746" y="3596204"/>
                <a:ext cx="148490" cy="17142"/>
              </a:xfrm>
              <a:custGeom>
                <a:avLst/>
                <a:gdLst/>
                <a:ahLst/>
                <a:cxnLst>
                  <a:cxn ang="0">
                    <a:pos x="94" y="0"/>
                  </a:cxn>
                  <a:cxn ang="0">
                    <a:pos x="94" y="0"/>
                  </a:cxn>
                  <a:cxn ang="0">
                    <a:pos x="94" y="5"/>
                  </a:cxn>
                  <a:cxn ang="0">
                    <a:pos x="92" y="9"/>
                  </a:cxn>
                  <a:cxn ang="0">
                    <a:pos x="88" y="10"/>
                  </a:cxn>
                  <a:cxn ang="0">
                    <a:pos x="83" y="11"/>
                  </a:cxn>
                  <a:cxn ang="0">
                    <a:pos x="47" y="11"/>
                  </a:cxn>
                  <a:cxn ang="0">
                    <a:pos x="12" y="11"/>
                  </a:cxn>
                  <a:cxn ang="0">
                    <a:pos x="12" y="11"/>
                  </a:cxn>
                  <a:cxn ang="0">
                    <a:pos x="8" y="10"/>
                  </a:cxn>
                  <a:cxn ang="0">
                    <a:pos x="4" y="9"/>
                  </a:cxn>
                  <a:cxn ang="0">
                    <a:pos x="2" y="5"/>
                  </a:cxn>
                  <a:cxn ang="0">
                    <a:pos x="0" y="0"/>
                  </a:cxn>
                </a:cxnLst>
                <a:rect l="0" t="0" r="r" b="b"/>
                <a:pathLst>
                  <a:path w="94" h="11">
                    <a:moveTo>
                      <a:pt x="94" y="0"/>
                    </a:moveTo>
                    <a:lnTo>
                      <a:pt x="94" y="0"/>
                    </a:lnTo>
                    <a:lnTo>
                      <a:pt x="94" y="5"/>
                    </a:lnTo>
                    <a:lnTo>
                      <a:pt x="92" y="9"/>
                    </a:lnTo>
                    <a:lnTo>
                      <a:pt x="88" y="10"/>
                    </a:lnTo>
                    <a:lnTo>
                      <a:pt x="83" y="11"/>
                    </a:lnTo>
                    <a:lnTo>
                      <a:pt x="47" y="11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8" y="10"/>
                    </a:lnTo>
                    <a:lnTo>
                      <a:pt x="4" y="9"/>
                    </a:lnTo>
                    <a:lnTo>
                      <a:pt x="2" y="5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0" name="Line 217"/>
              <p:cNvSpPr>
                <a:spLocks noChangeShapeType="1"/>
              </p:cNvSpPr>
              <p:nvPr/>
            </p:nvSpPr>
            <p:spPr bwMode="auto">
              <a:xfrm flipV="1">
                <a:off x="5112496" y="3613346"/>
                <a:ext cx="2020" cy="26665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23" name="Groupe 281"/>
            <p:cNvGrpSpPr>
              <a:grpSpLocks/>
            </p:cNvGrpSpPr>
            <p:nvPr userDrawn="1"/>
          </p:nvGrpSpPr>
          <p:grpSpPr bwMode="auto">
            <a:xfrm>
              <a:off x="5543115" y="3570780"/>
              <a:ext cx="562532" cy="335672"/>
              <a:chOff x="3909988" y="7116564"/>
              <a:chExt cx="268288" cy="163512"/>
            </a:xfrm>
          </p:grpSpPr>
          <p:sp>
            <p:nvSpPr>
              <p:cNvPr id="12" name="Line 326"/>
              <p:cNvSpPr>
                <a:spLocks noChangeShapeType="1"/>
              </p:cNvSpPr>
              <p:nvPr/>
            </p:nvSpPr>
            <p:spPr bwMode="auto">
              <a:xfrm>
                <a:off x="3909880" y="7120976"/>
                <a:ext cx="1640" cy="1577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3" name="Line 327"/>
              <p:cNvSpPr>
                <a:spLocks noChangeShapeType="1"/>
              </p:cNvSpPr>
              <p:nvPr/>
            </p:nvSpPr>
            <p:spPr bwMode="auto">
              <a:xfrm>
                <a:off x="3911520" y="7278723"/>
                <a:ext cx="266571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4" name="Freeform 328"/>
              <p:cNvSpPr>
                <a:spLocks/>
              </p:cNvSpPr>
              <p:nvPr/>
            </p:nvSpPr>
            <p:spPr bwMode="auto">
              <a:xfrm>
                <a:off x="3936127" y="7143401"/>
                <a:ext cx="179628" cy="115991"/>
              </a:xfrm>
              <a:custGeom>
                <a:avLst/>
                <a:gdLst/>
                <a:ahLst/>
                <a:cxnLst>
                  <a:cxn ang="0">
                    <a:pos x="0" y="73"/>
                  </a:cxn>
                  <a:cxn ang="0">
                    <a:pos x="34" y="39"/>
                  </a:cxn>
                  <a:cxn ang="0">
                    <a:pos x="55" y="59"/>
                  </a:cxn>
                  <a:cxn ang="0">
                    <a:pos x="114" y="0"/>
                  </a:cxn>
                </a:cxnLst>
                <a:rect l="0" t="0" r="r" b="b"/>
                <a:pathLst>
                  <a:path w="114" h="73">
                    <a:moveTo>
                      <a:pt x="0" y="73"/>
                    </a:moveTo>
                    <a:lnTo>
                      <a:pt x="34" y="39"/>
                    </a:lnTo>
                    <a:lnTo>
                      <a:pt x="55" y="59"/>
                    </a:lnTo>
                    <a:lnTo>
                      <a:pt x="114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5" name="Freeform 329"/>
              <p:cNvSpPr>
                <a:spLocks/>
              </p:cNvSpPr>
              <p:nvPr/>
            </p:nvSpPr>
            <p:spPr bwMode="auto">
              <a:xfrm>
                <a:off x="4087867" y="7116337"/>
                <a:ext cx="50854" cy="556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2" y="0"/>
                  </a:cxn>
                  <a:cxn ang="0">
                    <a:pos x="32" y="35"/>
                  </a:cxn>
                </a:cxnLst>
                <a:rect l="0" t="0" r="r" b="b"/>
                <a:pathLst>
                  <a:path w="32" h="35">
                    <a:moveTo>
                      <a:pt x="0" y="0"/>
                    </a:moveTo>
                    <a:lnTo>
                      <a:pt x="32" y="0"/>
                    </a:lnTo>
                    <a:lnTo>
                      <a:pt x="32" y="3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sp>
          <p:nvSpPr>
            <p:cNvPr id="11" name="Freeform 72"/>
            <p:cNvSpPr>
              <a:spLocks/>
            </p:cNvSpPr>
            <p:nvPr userDrawn="1"/>
          </p:nvSpPr>
          <p:spPr bwMode="auto">
            <a:xfrm>
              <a:off x="2579688" y="3656035"/>
              <a:ext cx="581290" cy="349236"/>
            </a:xfrm>
            <a:custGeom>
              <a:avLst/>
              <a:gdLst/>
              <a:ahLst/>
              <a:cxnLst>
                <a:cxn ang="0">
                  <a:pos x="180" y="132"/>
                </a:cxn>
                <a:cxn ang="0">
                  <a:pos x="193" y="129"/>
                </a:cxn>
                <a:cxn ang="0">
                  <a:pos x="204" y="121"/>
                </a:cxn>
                <a:cxn ang="0">
                  <a:pos x="212" y="110"/>
                </a:cxn>
                <a:cxn ang="0">
                  <a:pos x="215" y="97"/>
                </a:cxn>
                <a:cxn ang="0">
                  <a:pos x="215" y="90"/>
                </a:cxn>
                <a:cxn ang="0">
                  <a:pos x="208" y="77"/>
                </a:cxn>
                <a:cxn ang="0">
                  <a:pos x="199" y="68"/>
                </a:cxn>
                <a:cxn ang="0">
                  <a:pos x="187" y="63"/>
                </a:cxn>
                <a:cxn ang="0">
                  <a:pos x="180" y="62"/>
                </a:cxn>
                <a:cxn ang="0">
                  <a:pos x="179" y="62"/>
                </a:cxn>
                <a:cxn ang="0">
                  <a:pos x="179" y="61"/>
                </a:cxn>
                <a:cxn ang="0">
                  <a:pos x="174" y="36"/>
                </a:cxn>
                <a:cxn ang="0">
                  <a:pos x="161" y="17"/>
                </a:cxn>
                <a:cxn ang="0">
                  <a:pos x="142" y="5"/>
                </a:cxn>
                <a:cxn ang="0">
                  <a:pos x="120" y="0"/>
                </a:cxn>
                <a:cxn ang="0">
                  <a:pos x="109" y="1"/>
                </a:cxn>
                <a:cxn ang="0">
                  <a:pos x="92" y="6"/>
                </a:cxn>
                <a:cxn ang="0">
                  <a:pos x="78" y="17"/>
                </a:cxn>
                <a:cxn ang="0">
                  <a:pos x="66" y="31"/>
                </a:cxn>
                <a:cxn ang="0">
                  <a:pos x="62" y="39"/>
                </a:cxn>
                <a:cxn ang="0">
                  <a:pos x="47" y="36"/>
                </a:cxn>
                <a:cxn ang="0">
                  <a:pos x="38" y="38"/>
                </a:cxn>
                <a:cxn ang="0">
                  <a:pos x="21" y="45"/>
                </a:cxn>
                <a:cxn ang="0">
                  <a:pos x="8" y="58"/>
                </a:cxn>
                <a:cxn ang="0">
                  <a:pos x="2" y="75"/>
                </a:cxn>
                <a:cxn ang="0">
                  <a:pos x="0" y="85"/>
                </a:cxn>
                <a:cxn ang="0">
                  <a:pos x="4" y="102"/>
                </a:cxn>
                <a:cxn ang="0">
                  <a:pos x="14" y="118"/>
                </a:cxn>
                <a:cxn ang="0">
                  <a:pos x="30" y="128"/>
                </a:cxn>
                <a:cxn ang="0">
                  <a:pos x="47" y="132"/>
                </a:cxn>
                <a:cxn ang="0">
                  <a:pos x="147" y="132"/>
                </a:cxn>
              </a:cxnLst>
              <a:rect l="0" t="0" r="r" b="b"/>
              <a:pathLst>
                <a:path w="215" h="132">
                  <a:moveTo>
                    <a:pt x="180" y="132"/>
                  </a:moveTo>
                  <a:lnTo>
                    <a:pt x="180" y="132"/>
                  </a:lnTo>
                  <a:lnTo>
                    <a:pt x="187" y="132"/>
                  </a:lnTo>
                  <a:lnTo>
                    <a:pt x="193" y="129"/>
                  </a:lnTo>
                  <a:lnTo>
                    <a:pt x="199" y="125"/>
                  </a:lnTo>
                  <a:lnTo>
                    <a:pt x="204" y="121"/>
                  </a:lnTo>
                  <a:lnTo>
                    <a:pt x="208" y="116"/>
                  </a:lnTo>
                  <a:lnTo>
                    <a:pt x="212" y="110"/>
                  </a:lnTo>
                  <a:lnTo>
                    <a:pt x="215" y="104"/>
                  </a:lnTo>
                  <a:lnTo>
                    <a:pt x="215" y="97"/>
                  </a:lnTo>
                  <a:lnTo>
                    <a:pt x="215" y="97"/>
                  </a:lnTo>
                  <a:lnTo>
                    <a:pt x="215" y="90"/>
                  </a:lnTo>
                  <a:lnTo>
                    <a:pt x="212" y="83"/>
                  </a:lnTo>
                  <a:lnTo>
                    <a:pt x="208" y="77"/>
                  </a:lnTo>
                  <a:lnTo>
                    <a:pt x="204" y="72"/>
                  </a:lnTo>
                  <a:lnTo>
                    <a:pt x="199" y="68"/>
                  </a:lnTo>
                  <a:lnTo>
                    <a:pt x="193" y="64"/>
                  </a:lnTo>
                  <a:lnTo>
                    <a:pt x="187" y="63"/>
                  </a:lnTo>
                  <a:lnTo>
                    <a:pt x="180" y="62"/>
                  </a:lnTo>
                  <a:lnTo>
                    <a:pt x="180" y="62"/>
                  </a:lnTo>
                  <a:lnTo>
                    <a:pt x="179" y="62"/>
                  </a:lnTo>
                  <a:lnTo>
                    <a:pt x="179" y="62"/>
                  </a:lnTo>
                  <a:lnTo>
                    <a:pt x="179" y="61"/>
                  </a:lnTo>
                  <a:lnTo>
                    <a:pt x="179" y="61"/>
                  </a:lnTo>
                  <a:lnTo>
                    <a:pt x="178" y="48"/>
                  </a:lnTo>
                  <a:lnTo>
                    <a:pt x="174" y="36"/>
                  </a:lnTo>
                  <a:lnTo>
                    <a:pt x="169" y="26"/>
                  </a:lnTo>
                  <a:lnTo>
                    <a:pt x="161" y="17"/>
                  </a:lnTo>
                  <a:lnTo>
                    <a:pt x="152" y="10"/>
                  </a:lnTo>
                  <a:lnTo>
                    <a:pt x="142" y="5"/>
                  </a:lnTo>
                  <a:lnTo>
                    <a:pt x="131" y="1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09" y="1"/>
                  </a:lnTo>
                  <a:lnTo>
                    <a:pt x="101" y="2"/>
                  </a:lnTo>
                  <a:lnTo>
                    <a:pt x="92" y="6"/>
                  </a:lnTo>
                  <a:lnTo>
                    <a:pt x="84" y="11"/>
                  </a:lnTo>
                  <a:lnTo>
                    <a:pt x="78" y="17"/>
                  </a:lnTo>
                  <a:lnTo>
                    <a:pt x="71" y="24"/>
                  </a:lnTo>
                  <a:lnTo>
                    <a:pt x="66" y="31"/>
                  </a:lnTo>
                  <a:lnTo>
                    <a:pt x="62" y="39"/>
                  </a:lnTo>
                  <a:lnTo>
                    <a:pt x="62" y="39"/>
                  </a:lnTo>
                  <a:lnTo>
                    <a:pt x="55" y="38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38" y="38"/>
                  </a:lnTo>
                  <a:lnTo>
                    <a:pt x="30" y="40"/>
                  </a:lnTo>
                  <a:lnTo>
                    <a:pt x="21" y="45"/>
                  </a:lnTo>
                  <a:lnTo>
                    <a:pt x="14" y="50"/>
                  </a:lnTo>
                  <a:lnTo>
                    <a:pt x="8" y="58"/>
                  </a:lnTo>
                  <a:lnTo>
                    <a:pt x="4" y="66"/>
                  </a:lnTo>
                  <a:lnTo>
                    <a:pt x="2" y="7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2" y="94"/>
                  </a:lnTo>
                  <a:lnTo>
                    <a:pt x="4" y="102"/>
                  </a:lnTo>
                  <a:lnTo>
                    <a:pt x="8" y="111"/>
                  </a:lnTo>
                  <a:lnTo>
                    <a:pt x="14" y="118"/>
                  </a:lnTo>
                  <a:lnTo>
                    <a:pt x="21" y="124"/>
                  </a:lnTo>
                  <a:lnTo>
                    <a:pt x="30" y="128"/>
                  </a:lnTo>
                  <a:lnTo>
                    <a:pt x="38" y="130"/>
                  </a:lnTo>
                  <a:lnTo>
                    <a:pt x="47" y="132"/>
                  </a:lnTo>
                  <a:lnTo>
                    <a:pt x="47" y="132"/>
                  </a:lnTo>
                  <a:lnTo>
                    <a:pt x="147" y="132"/>
                  </a:lnTo>
                </a:path>
              </a:pathLst>
            </a:custGeom>
            <a:noFill/>
            <a:ln w="1905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lIns="83969" tIns="41985" rIns="83969" bIns="41985"/>
            <a:lstStyle/>
            <a:p>
              <a:pPr defTabSz="914400">
                <a:defRPr/>
              </a:pPr>
              <a:endParaRPr lang="en-US" sz="1800">
                <a:solidFill>
                  <a:srgbClr val="263147"/>
                </a:solidFill>
                <a:cs typeface="Arial" charset="0"/>
              </a:endParaRPr>
            </a:p>
          </p:txBody>
        </p:sp>
      </p:grpSp>
      <p:graphicFrame>
        <p:nvGraphicFramePr>
          <p:cNvPr id="42" name="Object 2" hidden="1"/>
          <p:cNvGraphicFramePr>
            <a:graphicFrameLocks noChangeAspect="1"/>
          </p:cNvGraphicFramePr>
          <p:nvPr/>
        </p:nvGraphicFramePr>
        <p:xfrm>
          <a:off x="0" y="0"/>
          <a:ext cx="158222" cy="158750"/>
        </p:xfrm>
        <a:graphic>
          <a:graphicData uri="http://schemas.openxmlformats.org/presentationml/2006/ole">
            <p:oleObj spid="_x0000_s504835" name="think-cell Slide" r:id="rId6" imgW="360" imgH="360" progId="">
              <p:embed/>
            </p:oleObj>
          </a:graphicData>
        </a:graphic>
      </p:graphicFrame>
      <p:sp>
        <p:nvSpPr>
          <p:cNvPr id="43" name="Rectangle 7"/>
          <p:cNvSpPr/>
          <p:nvPr>
            <p:custDataLst>
              <p:tags r:id="rId2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xmlns="" val="414389464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 descr="mw2.jpg"/>
          <p:cNvPicPr>
            <a:picLocks noChangeAspect="1"/>
          </p:cNvPicPr>
          <p:nvPr userDrawn="1"/>
        </p:nvPicPr>
        <p:blipFill>
          <a:blip r:embed="rId4" cstate="email"/>
          <a:stretch>
            <a:fillRect/>
          </a:stretch>
        </p:blipFill>
        <p:spPr>
          <a:xfrm>
            <a:off x="0" y="2"/>
            <a:ext cx="9906000" cy="5325133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222" cy="158750"/>
        </p:xfrm>
        <a:graphic>
          <a:graphicData uri="http://schemas.openxmlformats.org/presentationml/2006/ole">
            <p:oleObj spid="_x0000_s505858" name="think-cell Slide" r:id="rId5" imgW="360" imgH="360" progId="">
              <p:embed/>
            </p:oleObj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/>
        </p:nvGraphicFramePr>
        <p:xfrm>
          <a:off x="0" y="0"/>
          <a:ext cx="158222" cy="158750"/>
        </p:xfrm>
        <a:graphic>
          <a:graphicData uri="http://schemas.openxmlformats.org/presentationml/2006/ole">
            <p:oleObj spid="_x0000_s505859" name="think-cell Slide" r:id="rId6" imgW="360" imgH="360" progId="">
              <p:embed/>
            </p:oleObj>
          </a:graphicData>
        </a:graphic>
      </p:graphicFrame>
      <p:sp>
        <p:nvSpPr>
          <p:cNvPr id="43" name="Rectangle 7"/>
          <p:cNvSpPr/>
          <p:nvPr>
            <p:custDataLst>
              <p:tags r:id="rId2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xmlns="" val="414389464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7701" name="Picture 5" descr="http://talent.capgemini.com/media_library/Medias/News_Illustrations/mobile_transformation.jpg"/>
          <p:cNvPicPr>
            <a:picLocks noChangeAspect="1" noChangeArrowheads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" y="0"/>
            <a:ext cx="9905999" cy="48006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222" cy="158750"/>
        </p:xfrm>
        <a:graphic>
          <a:graphicData uri="http://schemas.openxmlformats.org/presentationml/2006/ole">
            <p:oleObj spid="_x0000_s506882" name="think-cell Slide" r:id="rId5" imgW="360" imgH="360" progId="">
              <p:embed/>
            </p:oleObj>
          </a:graphicData>
        </a:graphic>
      </p:graphicFrame>
      <p:grpSp>
        <p:nvGrpSpPr>
          <p:cNvPr id="4" name="Group 18"/>
          <p:cNvGrpSpPr>
            <a:grpSpLocks/>
          </p:cNvGrpSpPr>
          <p:nvPr/>
        </p:nvGrpSpPr>
        <p:grpSpPr bwMode="auto">
          <a:xfrm>
            <a:off x="2579688" y="700734"/>
            <a:ext cx="6500750" cy="1502721"/>
            <a:chOff x="2579688" y="2502608"/>
            <a:chExt cx="6500750" cy="1502663"/>
          </a:xfrm>
        </p:grpSpPr>
        <p:grpSp>
          <p:nvGrpSpPr>
            <p:cNvPr id="5" name="Groupe 709"/>
            <p:cNvGrpSpPr>
              <a:grpSpLocks/>
            </p:cNvGrpSpPr>
            <p:nvPr userDrawn="1"/>
          </p:nvGrpSpPr>
          <p:grpSpPr bwMode="auto">
            <a:xfrm>
              <a:off x="8084783" y="2883520"/>
              <a:ext cx="386117" cy="518177"/>
              <a:chOff x="2344714" y="4924226"/>
              <a:chExt cx="184150" cy="252413"/>
            </a:xfrm>
          </p:grpSpPr>
          <p:sp>
            <p:nvSpPr>
              <p:cNvPr id="40" name="Freeform 449"/>
              <p:cNvSpPr>
                <a:spLocks/>
              </p:cNvSpPr>
              <p:nvPr/>
            </p:nvSpPr>
            <p:spPr bwMode="auto">
              <a:xfrm>
                <a:off x="2344694" y="4923950"/>
                <a:ext cx="184548" cy="252859"/>
              </a:xfrm>
              <a:custGeom>
                <a:avLst/>
                <a:gdLst/>
                <a:ahLst/>
                <a:cxnLst>
                  <a:cxn ang="0">
                    <a:pos x="97" y="159"/>
                  </a:cxn>
                  <a:cxn ang="0">
                    <a:pos x="20" y="159"/>
                  </a:cxn>
                  <a:cxn ang="0">
                    <a:pos x="20" y="159"/>
                  </a:cxn>
                  <a:cxn ang="0">
                    <a:pos x="15" y="159"/>
                  </a:cxn>
                  <a:cxn ang="0">
                    <a:pos x="13" y="157"/>
                  </a:cxn>
                  <a:cxn ang="0">
                    <a:pos x="6" y="154"/>
                  </a:cxn>
                  <a:cxn ang="0">
                    <a:pos x="1" y="147"/>
                  </a:cxn>
                  <a:cxn ang="0">
                    <a:pos x="0" y="143"/>
                  </a:cxn>
                  <a:cxn ang="0">
                    <a:pos x="0" y="140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15"/>
                  </a:cxn>
                  <a:cxn ang="0">
                    <a:pos x="1" y="12"/>
                  </a:cxn>
                  <a:cxn ang="0">
                    <a:pos x="6" y="5"/>
                  </a:cxn>
                  <a:cxn ang="0">
                    <a:pos x="13" y="2"/>
                  </a:cxn>
                  <a:cxn ang="0">
                    <a:pos x="15" y="0"/>
                  </a:cxn>
                  <a:cxn ang="0">
                    <a:pos x="20" y="0"/>
                  </a:cxn>
                  <a:cxn ang="0">
                    <a:pos x="97" y="0"/>
                  </a:cxn>
                  <a:cxn ang="0">
                    <a:pos x="97" y="0"/>
                  </a:cxn>
                  <a:cxn ang="0">
                    <a:pos x="101" y="0"/>
                  </a:cxn>
                  <a:cxn ang="0">
                    <a:pos x="105" y="2"/>
                  </a:cxn>
                  <a:cxn ang="0">
                    <a:pos x="111" y="5"/>
                  </a:cxn>
                  <a:cxn ang="0">
                    <a:pos x="115" y="12"/>
                  </a:cxn>
                  <a:cxn ang="0">
                    <a:pos x="116" y="15"/>
                  </a:cxn>
                  <a:cxn ang="0">
                    <a:pos x="116" y="19"/>
                  </a:cxn>
                  <a:cxn ang="0">
                    <a:pos x="116" y="159"/>
                  </a:cxn>
                </a:cxnLst>
                <a:rect l="0" t="0" r="r" b="b"/>
                <a:pathLst>
                  <a:path w="116" h="159">
                    <a:moveTo>
                      <a:pt x="97" y="159"/>
                    </a:moveTo>
                    <a:lnTo>
                      <a:pt x="20" y="159"/>
                    </a:lnTo>
                    <a:lnTo>
                      <a:pt x="20" y="159"/>
                    </a:lnTo>
                    <a:lnTo>
                      <a:pt x="15" y="159"/>
                    </a:lnTo>
                    <a:lnTo>
                      <a:pt x="13" y="157"/>
                    </a:lnTo>
                    <a:lnTo>
                      <a:pt x="6" y="154"/>
                    </a:lnTo>
                    <a:lnTo>
                      <a:pt x="1" y="147"/>
                    </a:lnTo>
                    <a:lnTo>
                      <a:pt x="0" y="143"/>
                    </a:lnTo>
                    <a:lnTo>
                      <a:pt x="0" y="140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5"/>
                    </a:lnTo>
                    <a:lnTo>
                      <a:pt x="1" y="12"/>
                    </a:lnTo>
                    <a:lnTo>
                      <a:pt x="6" y="5"/>
                    </a:lnTo>
                    <a:lnTo>
                      <a:pt x="13" y="2"/>
                    </a:lnTo>
                    <a:lnTo>
                      <a:pt x="15" y="0"/>
                    </a:lnTo>
                    <a:lnTo>
                      <a:pt x="20" y="0"/>
                    </a:lnTo>
                    <a:lnTo>
                      <a:pt x="97" y="0"/>
                    </a:lnTo>
                    <a:lnTo>
                      <a:pt x="97" y="0"/>
                    </a:lnTo>
                    <a:lnTo>
                      <a:pt x="101" y="0"/>
                    </a:lnTo>
                    <a:lnTo>
                      <a:pt x="105" y="2"/>
                    </a:lnTo>
                    <a:lnTo>
                      <a:pt x="111" y="5"/>
                    </a:lnTo>
                    <a:lnTo>
                      <a:pt x="115" y="12"/>
                    </a:lnTo>
                    <a:lnTo>
                      <a:pt x="116" y="15"/>
                    </a:lnTo>
                    <a:lnTo>
                      <a:pt x="116" y="19"/>
                    </a:lnTo>
                    <a:lnTo>
                      <a:pt x="116" y="15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41" name="Freeform 450"/>
              <p:cNvSpPr>
                <a:spLocks/>
              </p:cNvSpPr>
              <p:nvPr/>
            </p:nvSpPr>
            <p:spPr bwMode="auto">
              <a:xfrm>
                <a:off x="2365199" y="4944828"/>
                <a:ext cx="145178" cy="231981"/>
              </a:xfrm>
              <a:custGeom>
                <a:avLst/>
                <a:gdLst/>
                <a:ahLst/>
                <a:cxnLst>
                  <a:cxn ang="0">
                    <a:pos x="32" y="129"/>
                  </a:cxn>
                  <a:cxn ang="0">
                    <a:pos x="32" y="129"/>
                  </a:cxn>
                  <a:cxn ang="0">
                    <a:pos x="34" y="133"/>
                  </a:cxn>
                  <a:cxn ang="0">
                    <a:pos x="35" y="136"/>
                  </a:cxn>
                  <a:cxn ang="0">
                    <a:pos x="39" y="137"/>
                  </a:cxn>
                  <a:cxn ang="0">
                    <a:pos x="41" y="138"/>
                  </a:cxn>
                  <a:cxn ang="0">
                    <a:pos x="41" y="138"/>
                  </a:cxn>
                  <a:cxn ang="0">
                    <a:pos x="45" y="137"/>
                  </a:cxn>
                  <a:cxn ang="0">
                    <a:pos x="48" y="136"/>
                  </a:cxn>
                  <a:cxn ang="0">
                    <a:pos x="49" y="133"/>
                  </a:cxn>
                  <a:cxn ang="0">
                    <a:pos x="50" y="129"/>
                  </a:cxn>
                  <a:cxn ang="0">
                    <a:pos x="50" y="129"/>
                  </a:cxn>
                  <a:cxn ang="0">
                    <a:pos x="49" y="125"/>
                  </a:cxn>
                  <a:cxn ang="0">
                    <a:pos x="48" y="123"/>
                  </a:cxn>
                  <a:cxn ang="0">
                    <a:pos x="45" y="122"/>
                  </a:cxn>
                  <a:cxn ang="0">
                    <a:pos x="41" y="120"/>
                  </a:cxn>
                  <a:cxn ang="0">
                    <a:pos x="7" y="120"/>
                  </a:cxn>
                  <a:cxn ang="0">
                    <a:pos x="7" y="120"/>
                  </a:cxn>
                  <a:cxn ang="0">
                    <a:pos x="5" y="120"/>
                  </a:cxn>
                  <a:cxn ang="0">
                    <a:pos x="2" y="119"/>
                  </a:cxn>
                  <a:cxn ang="0">
                    <a:pos x="1" y="117"/>
                  </a:cxn>
                  <a:cxn ang="0">
                    <a:pos x="0" y="11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1" y="4"/>
                  </a:cxn>
                  <a:cxn ang="0">
                    <a:pos x="2" y="2"/>
                  </a:cxn>
                  <a:cxn ang="0">
                    <a:pos x="5" y="1"/>
                  </a:cxn>
                  <a:cxn ang="0">
                    <a:pos x="7" y="0"/>
                  </a:cxn>
                  <a:cxn ang="0">
                    <a:pos x="84" y="0"/>
                  </a:cxn>
                  <a:cxn ang="0">
                    <a:pos x="84" y="0"/>
                  </a:cxn>
                  <a:cxn ang="0">
                    <a:pos x="87" y="1"/>
                  </a:cxn>
                  <a:cxn ang="0">
                    <a:pos x="88" y="2"/>
                  </a:cxn>
                  <a:cxn ang="0">
                    <a:pos x="89" y="4"/>
                  </a:cxn>
                  <a:cxn ang="0">
                    <a:pos x="91" y="6"/>
                  </a:cxn>
                  <a:cxn ang="0">
                    <a:pos x="91" y="139"/>
                  </a:cxn>
                  <a:cxn ang="0">
                    <a:pos x="91" y="139"/>
                  </a:cxn>
                  <a:cxn ang="0">
                    <a:pos x="89" y="142"/>
                  </a:cxn>
                  <a:cxn ang="0">
                    <a:pos x="88" y="144"/>
                  </a:cxn>
                  <a:cxn ang="0">
                    <a:pos x="87" y="146"/>
                  </a:cxn>
                  <a:cxn ang="0">
                    <a:pos x="84" y="146"/>
                  </a:cxn>
                </a:cxnLst>
                <a:rect l="0" t="0" r="r" b="b"/>
                <a:pathLst>
                  <a:path w="91" h="146">
                    <a:moveTo>
                      <a:pt x="32" y="129"/>
                    </a:moveTo>
                    <a:lnTo>
                      <a:pt x="32" y="129"/>
                    </a:lnTo>
                    <a:lnTo>
                      <a:pt x="34" y="133"/>
                    </a:lnTo>
                    <a:lnTo>
                      <a:pt x="35" y="136"/>
                    </a:lnTo>
                    <a:lnTo>
                      <a:pt x="39" y="137"/>
                    </a:lnTo>
                    <a:lnTo>
                      <a:pt x="41" y="138"/>
                    </a:lnTo>
                    <a:lnTo>
                      <a:pt x="41" y="138"/>
                    </a:lnTo>
                    <a:lnTo>
                      <a:pt x="45" y="137"/>
                    </a:lnTo>
                    <a:lnTo>
                      <a:pt x="48" y="136"/>
                    </a:lnTo>
                    <a:lnTo>
                      <a:pt x="49" y="133"/>
                    </a:lnTo>
                    <a:lnTo>
                      <a:pt x="50" y="129"/>
                    </a:lnTo>
                    <a:lnTo>
                      <a:pt x="50" y="129"/>
                    </a:lnTo>
                    <a:lnTo>
                      <a:pt x="49" y="125"/>
                    </a:lnTo>
                    <a:lnTo>
                      <a:pt x="48" y="123"/>
                    </a:lnTo>
                    <a:lnTo>
                      <a:pt x="45" y="122"/>
                    </a:lnTo>
                    <a:lnTo>
                      <a:pt x="41" y="120"/>
                    </a:lnTo>
                    <a:lnTo>
                      <a:pt x="7" y="120"/>
                    </a:lnTo>
                    <a:lnTo>
                      <a:pt x="7" y="120"/>
                    </a:lnTo>
                    <a:lnTo>
                      <a:pt x="5" y="120"/>
                    </a:lnTo>
                    <a:lnTo>
                      <a:pt x="2" y="119"/>
                    </a:lnTo>
                    <a:lnTo>
                      <a:pt x="1" y="117"/>
                    </a:lnTo>
                    <a:lnTo>
                      <a:pt x="0" y="11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5" y="1"/>
                    </a:lnTo>
                    <a:lnTo>
                      <a:pt x="7" y="0"/>
                    </a:lnTo>
                    <a:lnTo>
                      <a:pt x="84" y="0"/>
                    </a:lnTo>
                    <a:lnTo>
                      <a:pt x="84" y="0"/>
                    </a:lnTo>
                    <a:lnTo>
                      <a:pt x="87" y="1"/>
                    </a:lnTo>
                    <a:lnTo>
                      <a:pt x="88" y="2"/>
                    </a:lnTo>
                    <a:lnTo>
                      <a:pt x="89" y="4"/>
                    </a:lnTo>
                    <a:lnTo>
                      <a:pt x="91" y="6"/>
                    </a:lnTo>
                    <a:lnTo>
                      <a:pt x="91" y="139"/>
                    </a:lnTo>
                    <a:lnTo>
                      <a:pt x="91" y="139"/>
                    </a:lnTo>
                    <a:lnTo>
                      <a:pt x="89" y="142"/>
                    </a:lnTo>
                    <a:lnTo>
                      <a:pt x="88" y="144"/>
                    </a:lnTo>
                    <a:lnTo>
                      <a:pt x="87" y="146"/>
                    </a:lnTo>
                    <a:lnTo>
                      <a:pt x="84" y="146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6" name="Groupe 836"/>
            <p:cNvGrpSpPr>
              <a:grpSpLocks/>
            </p:cNvGrpSpPr>
            <p:nvPr userDrawn="1"/>
          </p:nvGrpSpPr>
          <p:grpSpPr bwMode="auto">
            <a:xfrm>
              <a:off x="6165033" y="2867225"/>
              <a:ext cx="722304" cy="534472"/>
              <a:chOff x="1163614" y="7062589"/>
              <a:chExt cx="344488" cy="260350"/>
            </a:xfrm>
          </p:grpSpPr>
          <p:sp>
            <p:nvSpPr>
              <p:cNvPr id="26" name="Freeform 578"/>
              <p:cNvSpPr>
                <a:spLocks/>
              </p:cNvSpPr>
              <p:nvPr/>
            </p:nvSpPr>
            <p:spPr bwMode="auto">
              <a:xfrm>
                <a:off x="1477958" y="7108914"/>
                <a:ext cx="30348" cy="166252"/>
              </a:xfrm>
              <a:custGeom>
                <a:avLst/>
                <a:gdLst/>
                <a:ahLst/>
                <a:cxnLst>
                  <a:cxn ang="0">
                    <a:pos x="0" y="105"/>
                  </a:cxn>
                  <a:cxn ang="0">
                    <a:pos x="0" y="105"/>
                  </a:cxn>
                  <a:cxn ang="0">
                    <a:pos x="7" y="94"/>
                  </a:cxn>
                  <a:cxn ang="0">
                    <a:pos x="14" y="81"/>
                  </a:cxn>
                  <a:cxn ang="0">
                    <a:pos x="17" y="67"/>
                  </a:cxn>
                  <a:cxn ang="0">
                    <a:pos x="19" y="52"/>
                  </a:cxn>
                  <a:cxn ang="0">
                    <a:pos x="19" y="52"/>
                  </a:cxn>
                  <a:cxn ang="0">
                    <a:pos x="17" y="38"/>
                  </a:cxn>
                  <a:cxn ang="0">
                    <a:pos x="14" y="24"/>
                  </a:cxn>
                  <a:cxn ang="0">
                    <a:pos x="7" y="12"/>
                  </a:cxn>
                  <a:cxn ang="0">
                    <a:pos x="0" y="0"/>
                  </a:cxn>
                </a:cxnLst>
                <a:rect l="0" t="0" r="r" b="b"/>
                <a:pathLst>
                  <a:path w="19" h="105">
                    <a:moveTo>
                      <a:pt x="0" y="105"/>
                    </a:moveTo>
                    <a:lnTo>
                      <a:pt x="0" y="105"/>
                    </a:lnTo>
                    <a:lnTo>
                      <a:pt x="7" y="94"/>
                    </a:lnTo>
                    <a:lnTo>
                      <a:pt x="14" y="81"/>
                    </a:lnTo>
                    <a:lnTo>
                      <a:pt x="17" y="67"/>
                    </a:lnTo>
                    <a:lnTo>
                      <a:pt x="19" y="52"/>
                    </a:lnTo>
                    <a:lnTo>
                      <a:pt x="19" y="52"/>
                    </a:lnTo>
                    <a:lnTo>
                      <a:pt x="17" y="38"/>
                    </a:lnTo>
                    <a:lnTo>
                      <a:pt x="14" y="24"/>
                    </a:lnTo>
                    <a:lnTo>
                      <a:pt x="7" y="12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7" name="Freeform 579"/>
              <p:cNvSpPr>
                <a:spLocks/>
              </p:cNvSpPr>
              <p:nvPr/>
            </p:nvSpPr>
            <p:spPr bwMode="auto">
              <a:xfrm>
                <a:off x="1277825" y="7273619"/>
                <a:ext cx="10170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7" y="7"/>
                  </a:cxn>
                  <a:cxn ang="0">
                    <a:pos x="13" y="13"/>
                  </a:cxn>
                  <a:cxn ang="0">
                    <a:pos x="21" y="18"/>
                  </a:cxn>
                  <a:cxn ang="0">
                    <a:pos x="28" y="22"/>
                  </a:cxn>
                  <a:cxn ang="0">
                    <a:pos x="36" y="26"/>
                  </a:cxn>
                  <a:cxn ang="0">
                    <a:pos x="45" y="28"/>
                  </a:cxn>
                  <a:cxn ang="0">
                    <a:pos x="54" y="29"/>
                  </a:cxn>
                  <a:cxn ang="0">
                    <a:pos x="64" y="31"/>
                  </a:cxn>
                </a:cxnLst>
                <a:rect l="0" t="0" r="r" b="b"/>
                <a:pathLst>
                  <a:path w="64" h="31">
                    <a:moveTo>
                      <a:pt x="0" y="0"/>
                    </a:moveTo>
                    <a:lnTo>
                      <a:pt x="0" y="0"/>
                    </a:lnTo>
                    <a:lnTo>
                      <a:pt x="7" y="7"/>
                    </a:lnTo>
                    <a:lnTo>
                      <a:pt x="13" y="13"/>
                    </a:lnTo>
                    <a:lnTo>
                      <a:pt x="21" y="18"/>
                    </a:lnTo>
                    <a:lnTo>
                      <a:pt x="28" y="22"/>
                    </a:lnTo>
                    <a:lnTo>
                      <a:pt x="36" y="26"/>
                    </a:lnTo>
                    <a:lnTo>
                      <a:pt x="45" y="28"/>
                    </a:lnTo>
                    <a:lnTo>
                      <a:pt x="54" y="29"/>
                    </a:lnTo>
                    <a:lnTo>
                      <a:pt x="64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8" name="Line 580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9" name="Line 581"/>
              <p:cNvSpPr>
                <a:spLocks noChangeShapeType="1"/>
              </p:cNvSpPr>
              <p:nvPr/>
            </p:nvSpPr>
            <p:spPr bwMode="auto">
              <a:xfrm>
                <a:off x="1277825" y="7108914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0" name="Freeform 582"/>
              <p:cNvSpPr>
                <a:spLocks/>
              </p:cNvSpPr>
              <p:nvPr/>
            </p:nvSpPr>
            <p:spPr bwMode="auto">
              <a:xfrm>
                <a:off x="1277825" y="7062518"/>
                <a:ext cx="200134" cy="46396"/>
              </a:xfrm>
              <a:custGeom>
                <a:avLst/>
                <a:gdLst/>
                <a:ahLst/>
                <a:cxnLst>
                  <a:cxn ang="0">
                    <a:pos x="0" y="29"/>
                  </a:cxn>
                  <a:cxn ang="0">
                    <a:pos x="0" y="29"/>
                  </a:cxn>
                  <a:cxn ang="0">
                    <a:pos x="7" y="23"/>
                  </a:cxn>
                  <a:cxn ang="0">
                    <a:pos x="13" y="17"/>
                  </a:cxn>
                  <a:cxn ang="0">
                    <a:pos x="21" y="12"/>
                  </a:cxn>
                  <a:cxn ang="0">
                    <a:pos x="28" y="8"/>
                  </a:cxn>
                  <a:cxn ang="0">
                    <a:pos x="37" y="4"/>
                  </a:cxn>
                  <a:cxn ang="0">
                    <a:pos x="45" y="3"/>
                  </a:cxn>
                  <a:cxn ang="0">
                    <a:pos x="54" y="0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73" y="0"/>
                  </a:cxn>
                  <a:cxn ang="0">
                    <a:pos x="81" y="3"/>
                  </a:cxn>
                  <a:cxn ang="0">
                    <a:pos x="90" y="4"/>
                  </a:cxn>
                  <a:cxn ang="0">
                    <a:pos x="98" y="8"/>
                  </a:cxn>
                  <a:cxn ang="0">
                    <a:pos x="105" y="12"/>
                  </a:cxn>
                  <a:cxn ang="0">
                    <a:pos x="113" y="17"/>
                  </a:cxn>
                  <a:cxn ang="0">
                    <a:pos x="119" y="23"/>
                  </a:cxn>
                  <a:cxn ang="0">
                    <a:pos x="126" y="29"/>
                  </a:cxn>
                </a:cxnLst>
                <a:rect l="0" t="0" r="r" b="b"/>
                <a:pathLst>
                  <a:path w="126" h="29">
                    <a:moveTo>
                      <a:pt x="0" y="29"/>
                    </a:moveTo>
                    <a:lnTo>
                      <a:pt x="0" y="29"/>
                    </a:lnTo>
                    <a:lnTo>
                      <a:pt x="7" y="23"/>
                    </a:lnTo>
                    <a:lnTo>
                      <a:pt x="13" y="17"/>
                    </a:lnTo>
                    <a:lnTo>
                      <a:pt x="21" y="12"/>
                    </a:lnTo>
                    <a:lnTo>
                      <a:pt x="28" y="8"/>
                    </a:lnTo>
                    <a:lnTo>
                      <a:pt x="37" y="4"/>
                    </a:lnTo>
                    <a:lnTo>
                      <a:pt x="45" y="3"/>
                    </a:lnTo>
                    <a:lnTo>
                      <a:pt x="5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73" y="0"/>
                    </a:lnTo>
                    <a:lnTo>
                      <a:pt x="81" y="3"/>
                    </a:lnTo>
                    <a:lnTo>
                      <a:pt x="90" y="4"/>
                    </a:lnTo>
                    <a:lnTo>
                      <a:pt x="98" y="8"/>
                    </a:lnTo>
                    <a:lnTo>
                      <a:pt x="105" y="12"/>
                    </a:lnTo>
                    <a:lnTo>
                      <a:pt x="113" y="17"/>
                    </a:lnTo>
                    <a:lnTo>
                      <a:pt x="119" y="23"/>
                    </a:lnTo>
                    <a:lnTo>
                      <a:pt x="126" y="2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1" name="Freeform 583"/>
              <p:cNvSpPr>
                <a:spLocks/>
              </p:cNvSpPr>
              <p:nvPr/>
            </p:nvSpPr>
            <p:spPr bwMode="auto">
              <a:xfrm>
                <a:off x="1277825" y="7108914"/>
                <a:ext cx="200134" cy="2165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3" y="7"/>
                  </a:cxn>
                  <a:cxn ang="0">
                    <a:pos x="28" y="10"/>
                  </a:cxn>
                  <a:cxn ang="0">
                    <a:pos x="45" y="13"/>
                  </a:cxn>
                  <a:cxn ang="0">
                    <a:pos x="62" y="14"/>
                  </a:cxn>
                  <a:cxn ang="0">
                    <a:pos x="62" y="14"/>
                  </a:cxn>
                  <a:cxn ang="0">
                    <a:pos x="81" y="13"/>
                  </a:cxn>
                  <a:cxn ang="0">
                    <a:pos x="98" y="10"/>
                  </a:cxn>
                  <a:cxn ang="0">
                    <a:pos x="113" y="5"/>
                  </a:cxn>
                  <a:cxn ang="0">
                    <a:pos x="126" y="0"/>
                  </a:cxn>
                </a:cxnLst>
                <a:rect l="0" t="0" r="r" b="b"/>
                <a:pathLst>
                  <a:path w="126" h="14">
                    <a:moveTo>
                      <a:pt x="0" y="0"/>
                    </a:moveTo>
                    <a:lnTo>
                      <a:pt x="0" y="0"/>
                    </a:lnTo>
                    <a:lnTo>
                      <a:pt x="13" y="7"/>
                    </a:lnTo>
                    <a:lnTo>
                      <a:pt x="28" y="10"/>
                    </a:lnTo>
                    <a:lnTo>
                      <a:pt x="45" y="13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1" y="13"/>
                    </a:lnTo>
                    <a:lnTo>
                      <a:pt x="98" y="10"/>
                    </a:lnTo>
                    <a:lnTo>
                      <a:pt x="113" y="5"/>
                    </a:lnTo>
                    <a:lnTo>
                      <a:pt x="126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2" name="Freeform 584"/>
              <p:cNvSpPr>
                <a:spLocks/>
              </p:cNvSpPr>
              <p:nvPr/>
            </p:nvSpPr>
            <p:spPr bwMode="auto">
              <a:xfrm>
                <a:off x="1277825" y="7251968"/>
                <a:ext cx="200134" cy="23198"/>
              </a:xfrm>
              <a:custGeom>
                <a:avLst/>
                <a:gdLst/>
                <a:ahLst/>
                <a:cxnLst>
                  <a:cxn ang="0">
                    <a:pos x="126" y="14"/>
                  </a:cxn>
                  <a:cxn ang="0">
                    <a:pos x="126" y="14"/>
                  </a:cxn>
                  <a:cxn ang="0">
                    <a:pos x="113" y="9"/>
                  </a:cxn>
                  <a:cxn ang="0">
                    <a:pos x="98" y="4"/>
                  </a:cxn>
                  <a:cxn ang="0">
                    <a:pos x="81" y="2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45" y="2"/>
                  </a:cxn>
                  <a:cxn ang="0">
                    <a:pos x="28" y="4"/>
                  </a:cxn>
                  <a:cxn ang="0">
                    <a:pos x="13" y="9"/>
                  </a:cxn>
                  <a:cxn ang="0">
                    <a:pos x="0" y="15"/>
                  </a:cxn>
                </a:cxnLst>
                <a:rect l="0" t="0" r="r" b="b"/>
                <a:pathLst>
                  <a:path w="126" h="15">
                    <a:moveTo>
                      <a:pt x="126" y="14"/>
                    </a:moveTo>
                    <a:lnTo>
                      <a:pt x="126" y="14"/>
                    </a:lnTo>
                    <a:lnTo>
                      <a:pt x="113" y="9"/>
                    </a:lnTo>
                    <a:lnTo>
                      <a:pt x="98" y="4"/>
                    </a:lnTo>
                    <a:lnTo>
                      <a:pt x="81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45" y="2"/>
                    </a:lnTo>
                    <a:lnTo>
                      <a:pt x="28" y="4"/>
                    </a:lnTo>
                    <a:lnTo>
                      <a:pt x="13" y="9"/>
                    </a:lnTo>
                    <a:lnTo>
                      <a:pt x="0" y="1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3" name="Freeform 585"/>
              <p:cNvSpPr>
                <a:spLocks/>
              </p:cNvSpPr>
              <p:nvPr/>
            </p:nvSpPr>
            <p:spPr bwMode="auto">
              <a:xfrm>
                <a:off x="1308173" y="7062518"/>
                <a:ext cx="141078" cy="260591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81"/>
                  </a:cxn>
                  <a:cxn ang="0">
                    <a:pos x="2" y="65"/>
                  </a:cxn>
                  <a:cxn ang="0">
                    <a:pos x="4" y="50"/>
                  </a:cxn>
                  <a:cxn ang="0">
                    <a:pos x="8" y="36"/>
                  </a:cxn>
                  <a:cxn ang="0">
                    <a:pos x="13" y="24"/>
                  </a:cxn>
                  <a:cxn ang="0">
                    <a:pos x="19" y="14"/>
                  </a:cxn>
                  <a:cxn ang="0">
                    <a:pos x="27" y="7"/>
                  </a:cxn>
                  <a:cxn ang="0">
                    <a:pos x="36" y="1"/>
                  </a:cxn>
                  <a:cxn ang="0">
                    <a:pos x="40" y="0"/>
                  </a:cxn>
                  <a:cxn ang="0">
                    <a:pos x="45" y="0"/>
                  </a:cxn>
                  <a:cxn ang="0">
                    <a:pos x="45" y="0"/>
                  </a:cxn>
                  <a:cxn ang="0">
                    <a:pos x="48" y="0"/>
                  </a:cxn>
                  <a:cxn ang="0">
                    <a:pos x="54" y="1"/>
                  </a:cxn>
                  <a:cxn ang="0">
                    <a:pos x="61" y="7"/>
                  </a:cxn>
                  <a:cxn ang="0">
                    <a:pos x="69" y="14"/>
                  </a:cxn>
                  <a:cxn ang="0">
                    <a:pos x="75" y="24"/>
                  </a:cxn>
                  <a:cxn ang="0">
                    <a:pos x="81" y="36"/>
                  </a:cxn>
                  <a:cxn ang="0">
                    <a:pos x="85" y="50"/>
                  </a:cxn>
                  <a:cxn ang="0">
                    <a:pos x="88" y="65"/>
                  </a:cxn>
                  <a:cxn ang="0">
                    <a:pos x="89" y="81"/>
                  </a:cxn>
                  <a:cxn ang="0">
                    <a:pos x="89" y="81"/>
                  </a:cxn>
                  <a:cxn ang="0">
                    <a:pos x="88" y="98"/>
                  </a:cxn>
                  <a:cxn ang="0">
                    <a:pos x="85" y="113"/>
                  </a:cxn>
                  <a:cxn ang="0">
                    <a:pos x="81" y="127"/>
                  </a:cxn>
                  <a:cxn ang="0">
                    <a:pos x="75" y="140"/>
                  </a:cxn>
                  <a:cxn ang="0">
                    <a:pos x="69" y="150"/>
                  </a:cxn>
                  <a:cxn ang="0">
                    <a:pos x="61" y="157"/>
                  </a:cxn>
                  <a:cxn ang="0">
                    <a:pos x="54" y="161"/>
                  </a:cxn>
                  <a:cxn ang="0">
                    <a:pos x="48" y="162"/>
                  </a:cxn>
                  <a:cxn ang="0">
                    <a:pos x="45" y="164"/>
                  </a:cxn>
                  <a:cxn ang="0">
                    <a:pos x="45" y="164"/>
                  </a:cxn>
                  <a:cxn ang="0">
                    <a:pos x="38" y="162"/>
                  </a:cxn>
                  <a:cxn ang="0">
                    <a:pos x="33" y="160"/>
                  </a:cxn>
                  <a:cxn ang="0">
                    <a:pos x="27" y="157"/>
                  </a:cxn>
                  <a:cxn ang="0">
                    <a:pos x="22" y="152"/>
                  </a:cxn>
                  <a:cxn ang="0">
                    <a:pos x="18" y="147"/>
                  </a:cxn>
                  <a:cxn ang="0">
                    <a:pos x="13" y="140"/>
                  </a:cxn>
                  <a:cxn ang="0">
                    <a:pos x="9" y="132"/>
                  </a:cxn>
                  <a:cxn ang="0">
                    <a:pos x="7" y="124"/>
                  </a:cxn>
                </a:cxnLst>
                <a:rect l="0" t="0" r="r" b="b"/>
                <a:pathLst>
                  <a:path w="89" h="164">
                    <a:moveTo>
                      <a:pt x="0" y="81"/>
                    </a:moveTo>
                    <a:lnTo>
                      <a:pt x="0" y="81"/>
                    </a:lnTo>
                    <a:lnTo>
                      <a:pt x="2" y="65"/>
                    </a:lnTo>
                    <a:lnTo>
                      <a:pt x="4" y="50"/>
                    </a:lnTo>
                    <a:lnTo>
                      <a:pt x="8" y="36"/>
                    </a:lnTo>
                    <a:lnTo>
                      <a:pt x="13" y="24"/>
                    </a:lnTo>
                    <a:lnTo>
                      <a:pt x="19" y="14"/>
                    </a:lnTo>
                    <a:lnTo>
                      <a:pt x="27" y="7"/>
                    </a:lnTo>
                    <a:lnTo>
                      <a:pt x="36" y="1"/>
                    </a:lnTo>
                    <a:lnTo>
                      <a:pt x="40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8" y="0"/>
                    </a:lnTo>
                    <a:lnTo>
                      <a:pt x="54" y="1"/>
                    </a:lnTo>
                    <a:lnTo>
                      <a:pt x="61" y="7"/>
                    </a:lnTo>
                    <a:lnTo>
                      <a:pt x="69" y="14"/>
                    </a:lnTo>
                    <a:lnTo>
                      <a:pt x="75" y="24"/>
                    </a:lnTo>
                    <a:lnTo>
                      <a:pt x="81" y="36"/>
                    </a:lnTo>
                    <a:lnTo>
                      <a:pt x="85" y="50"/>
                    </a:lnTo>
                    <a:lnTo>
                      <a:pt x="88" y="65"/>
                    </a:lnTo>
                    <a:lnTo>
                      <a:pt x="89" y="81"/>
                    </a:lnTo>
                    <a:lnTo>
                      <a:pt x="89" y="81"/>
                    </a:lnTo>
                    <a:lnTo>
                      <a:pt x="88" y="98"/>
                    </a:lnTo>
                    <a:lnTo>
                      <a:pt x="85" y="113"/>
                    </a:lnTo>
                    <a:lnTo>
                      <a:pt x="81" y="127"/>
                    </a:lnTo>
                    <a:lnTo>
                      <a:pt x="75" y="140"/>
                    </a:lnTo>
                    <a:lnTo>
                      <a:pt x="69" y="150"/>
                    </a:lnTo>
                    <a:lnTo>
                      <a:pt x="61" y="157"/>
                    </a:lnTo>
                    <a:lnTo>
                      <a:pt x="54" y="161"/>
                    </a:lnTo>
                    <a:lnTo>
                      <a:pt x="48" y="162"/>
                    </a:lnTo>
                    <a:lnTo>
                      <a:pt x="45" y="164"/>
                    </a:lnTo>
                    <a:lnTo>
                      <a:pt x="45" y="164"/>
                    </a:lnTo>
                    <a:lnTo>
                      <a:pt x="38" y="162"/>
                    </a:lnTo>
                    <a:lnTo>
                      <a:pt x="33" y="160"/>
                    </a:lnTo>
                    <a:lnTo>
                      <a:pt x="27" y="157"/>
                    </a:lnTo>
                    <a:lnTo>
                      <a:pt x="22" y="152"/>
                    </a:lnTo>
                    <a:lnTo>
                      <a:pt x="18" y="147"/>
                    </a:lnTo>
                    <a:lnTo>
                      <a:pt x="13" y="140"/>
                    </a:lnTo>
                    <a:lnTo>
                      <a:pt x="9" y="132"/>
                    </a:lnTo>
                    <a:lnTo>
                      <a:pt x="7" y="124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4" name="Line 586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26083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5" name="Line 587"/>
              <p:cNvSpPr>
                <a:spLocks noChangeShapeType="1"/>
              </p:cNvSpPr>
              <p:nvPr/>
            </p:nvSpPr>
            <p:spPr bwMode="auto">
              <a:xfrm flipV="1">
                <a:off x="1379532" y="7062518"/>
                <a:ext cx="820" cy="260591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6" name="Line 588"/>
              <p:cNvSpPr>
                <a:spLocks noChangeShapeType="1"/>
              </p:cNvSpPr>
              <p:nvPr/>
            </p:nvSpPr>
            <p:spPr bwMode="auto">
              <a:xfrm>
                <a:off x="1163814" y="7167682"/>
                <a:ext cx="83662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7" name="Freeform 589"/>
              <p:cNvSpPr>
                <a:spLocks/>
              </p:cNvSpPr>
              <p:nvPr/>
            </p:nvSpPr>
            <p:spPr bwMode="auto">
              <a:xfrm>
                <a:off x="1247477" y="7143711"/>
                <a:ext cx="25427" cy="4717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" y="15"/>
                  </a:cxn>
                  <a:cxn ang="0">
                    <a:pos x="0" y="30"/>
                  </a:cxn>
                </a:cxnLst>
                <a:rect l="0" t="0" r="r" b="b"/>
                <a:pathLst>
                  <a:path w="16" h="30">
                    <a:moveTo>
                      <a:pt x="0" y="0"/>
                    </a:moveTo>
                    <a:lnTo>
                      <a:pt x="16" y="15"/>
                    </a:lnTo>
                    <a:lnTo>
                      <a:pt x="0" y="3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8" name="Line 590"/>
              <p:cNvSpPr>
                <a:spLocks noChangeShapeType="1"/>
              </p:cNvSpPr>
              <p:nvPr/>
            </p:nvSpPr>
            <p:spPr bwMode="auto">
              <a:xfrm>
                <a:off x="1231892" y="7235730"/>
                <a:ext cx="86943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9" name="Freeform 591"/>
              <p:cNvSpPr>
                <a:spLocks/>
              </p:cNvSpPr>
              <p:nvPr/>
            </p:nvSpPr>
            <p:spPr bwMode="auto">
              <a:xfrm>
                <a:off x="1318836" y="7210212"/>
                <a:ext cx="2378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" y="16"/>
                  </a:cxn>
                  <a:cxn ang="0">
                    <a:pos x="0" y="31"/>
                  </a:cxn>
                </a:cxnLst>
                <a:rect l="0" t="0" r="r" b="b"/>
                <a:pathLst>
                  <a:path w="15" h="31">
                    <a:moveTo>
                      <a:pt x="0" y="0"/>
                    </a:moveTo>
                    <a:lnTo>
                      <a:pt x="15" y="16"/>
                    </a:lnTo>
                    <a:lnTo>
                      <a:pt x="0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7" name="Groupe 320"/>
            <p:cNvGrpSpPr>
              <a:grpSpLocks/>
            </p:cNvGrpSpPr>
            <p:nvPr userDrawn="1"/>
          </p:nvGrpSpPr>
          <p:grpSpPr bwMode="auto">
            <a:xfrm>
              <a:off x="4610305" y="2502608"/>
              <a:ext cx="442816" cy="482367"/>
              <a:chOff x="4430703" y="4715239"/>
              <a:chExt cx="374626" cy="416805"/>
            </a:xfrm>
          </p:grpSpPr>
          <p:sp>
            <p:nvSpPr>
              <p:cNvPr id="21" name="Freeform 897"/>
              <p:cNvSpPr>
                <a:spLocks/>
              </p:cNvSpPr>
              <p:nvPr/>
            </p:nvSpPr>
            <p:spPr bwMode="auto">
              <a:xfrm>
                <a:off x="4649334" y="4788757"/>
                <a:ext cx="155680" cy="256503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4912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0" fmla="*/ 4737 w 9825"/>
                  <a:gd name="connsiteY0" fmla="*/ 10000 h 10000"/>
                  <a:gd name="connsiteX1" fmla="*/ 4737 w 9825"/>
                  <a:gd name="connsiteY1" fmla="*/ 10000 h 10000"/>
                  <a:gd name="connsiteX2" fmla="*/ 6579 w 9825"/>
                  <a:gd name="connsiteY2" fmla="*/ 10000 h 10000"/>
                  <a:gd name="connsiteX3" fmla="*/ 8246 w 9825"/>
                  <a:gd name="connsiteY3" fmla="*/ 9938 h 10000"/>
                  <a:gd name="connsiteX4" fmla="*/ 9386 w 9825"/>
                  <a:gd name="connsiteY4" fmla="*/ 9814 h 10000"/>
                  <a:gd name="connsiteX5" fmla="*/ 9737 w 9825"/>
                  <a:gd name="connsiteY5" fmla="*/ 9752 h 10000"/>
                  <a:gd name="connsiteX6" fmla="*/ 9825 w 9825"/>
                  <a:gd name="connsiteY6" fmla="*/ 9689 h 10000"/>
                  <a:gd name="connsiteX7" fmla="*/ 9825 w 9825"/>
                  <a:gd name="connsiteY7" fmla="*/ 9689 h 10000"/>
                  <a:gd name="connsiteX8" fmla="*/ 9825 w 9825"/>
                  <a:gd name="connsiteY8" fmla="*/ 8634 h 10000"/>
                  <a:gd name="connsiteX9" fmla="*/ 9737 w 9825"/>
                  <a:gd name="connsiteY9" fmla="*/ 7702 h 10000"/>
                  <a:gd name="connsiteX10" fmla="*/ 9386 w 9825"/>
                  <a:gd name="connsiteY10" fmla="*/ 6832 h 10000"/>
                  <a:gd name="connsiteX11" fmla="*/ 9036 w 9825"/>
                  <a:gd name="connsiteY11" fmla="*/ 6087 h 10000"/>
                  <a:gd name="connsiteX12" fmla="*/ 8509 w 9825"/>
                  <a:gd name="connsiteY12" fmla="*/ 5342 h 10000"/>
                  <a:gd name="connsiteX13" fmla="*/ 7807 w 9825"/>
                  <a:gd name="connsiteY13" fmla="*/ 4783 h 10000"/>
                  <a:gd name="connsiteX14" fmla="*/ 6930 w 9825"/>
                  <a:gd name="connsiteY14" fmla="*/ 4410 h 10000"/>
                  <a:gd name="connsiteX15" fmla="*/ 5965 w 9825"/>
                  <a:gd name="connsiteY15" fmla="*/ 4099 h 10000"/>
                  <a:gd name="connsiteX16" fmla="*/ 5965 w 9825"/>
                  <a:gd name="connsiteY16" fmla="*/ 4099 h 10000"/>
                  <a:gd name="connsiteX17" fmla="*/ 6492 w 9825"/>
                  <a:gd name="connsiteY17" fmla="*/ 3727 h 10000"/>
                  <a:gd name="connsiteX18" fmla="*/ 6843 w 9825"/>
                  <a:gd name="connsiteY18" fmla="*/ 3230 h 10000"/>
                  <a:gd name="connsiteX19" fmla="*/ 7106 w 9825"/>
                  <a:gd name="connsiteY19" fmla="*/ 2671 h 10000"/>
                  <a:gd name="connsiteX20" fmla="*/ 7369 w 9825"/>
                  <a:gd name="connsiteY20" fmla="*/ 2112 h 10000"/>
                  <a:gd name="connsiteX21" fmla="*/ 7369 w 9825"/>
                  <a:gd name="connsiteY21" fmla="*/ 2112 h 10000"/>
                  <a:gd name="connsiteX22" fmla="*/ 7281 w 9825"/>
                  <a:gd name="connsiteY22" fmla="*/ 1677 h 10000"/>
                  <a:gd name="connsiteX23" fmla="*/ 7106 w 9825"/>
                  <a:gd name="connsiteY23" fmla="*/ 1242 h 10000"/>
                  <a:gd name="connsiteX24" fmla="*/ 6930 w 9825"/>
                  <a:gd name="connsiteY24" fmla="*/ 870 h 10000"/>
                  <a:gd name="connsiteX25" fmla="*/ 6579 w 9825"/>
                  <a:gd name="connsiteY25" fmla="*/ 559 h 10000"/>
                  <a:gd name="connsiteX26" fmla="*/ 6229 w 9825"/>
                  <a:gd name="connsiteY26" fmla="*/ 311 h 10000"/>
                  <a:gd name="connsiteX27" fmla="*/ 5790 w 9825"/>
                  <a:gd name="connsiteY27" fmla="*/ 186 h 10000"/>
                  <a:gd name="connsiteX28" fmla="*/ 5351 w 9825"/>
                  <a:gd name="connsiteY28" fmla="*/ 0 h 10000"/>
                  <a:gd name="connsiteX29" fmla="*/ 4825 w 9825"/>
                  <a:gd name="connsiteY29" fmla="*/ 0 h 10000"/>
                  <a:gd name="connsiteX30" fmla="*/ 4825 w 9825"/>
                  <a:gd name="connsiteY30" fmla="*/ 0 h 10000"/>
                  <a:gd name="connsiteX31" fmla="*/ 4386 w 9825"/>
                  <a:gd name="connsiteY31" fmla="*/ 0 h 10000"/>
                  <a:gd name="connsiteX32" fmla="*/ 3948 w 9825"/>
                  <a:gd name="connsiteY32" fmla="*/ 186 h 10000"/>
                  <a:gd name="connsiteX33" fmla="*/ 3509 w 9825"/>
                  <a:gd name="connsiteY33" fmla="*/ 311 h 10000"/>
                  <a:gd name="connsiteX34" fmla="*/ 3071 w 9825"/>
                  <a:gd name="connsiteY34" fmla="*/ 559 h 10000"/>
                  <a:gd name="connsiteX35" fmla="*/ 2807 w 9825"/>
                  <a:gd name="connsiteY35" fmla="*/ 870 h 10000"/>
                  <a:gd name="connsiteX36" fmla="*/ 2544 w 9825"/>
                  <a:gd name="connsiteY36" fmla="*/ 1242 h 10000"/>
                  <a:gd name="connsiteX37" fmla="*/ 2369 w 9825"/>
                  <a:gd name="connsiteY37" fmla="*/ 1677 h 10000"/>
                  <a:gd name="connsiteX38" fmla="*/ 2369 w 9825"/>
                  <a:gd name="connsiteY38" fmla="*/ 2112 h 10000"/>
                  <a:gd name="connsiteX39" fmla="*/ 2369 w 9825"/>
                  <a:gd name="connsiteY39" fmla="*/ 2112 h 10000"/>
                  <a:gd name="connsiteX40" fmla="*/ 2457 w 9825"/>
                  <a:gd name="connsiteY40" fmla="*/ 2671 h 10000"/>
                  <a:gd name="connsiteX41" fmla="*/ 2807 w 9825"/>
                  <a:gd name="connsiteY41" fmla="*/ 3230 h 10000"/>
                  <a:gd name="connsiteX42" fmla="*/ 3246 w 9825"/>
                  <a:gd name="connsiteY42" fmla="*/ 3727 h 10000"/>
                  <a:gd name="connsiteX43" fmla="*/ 3685 w 9825"/>
                  <a:gd name="connsiteY43" fmla="*/ 4099 h 10000"/>
                  <a:gd name="connsiteX44" fmla="*/ 3685 w 9825"/>
                  <a:gd name="connsiteY44" fmla="*/ 4099 h 10000"/>
                  <a:gd name="connsiteX45" fmla="*/ 2720 w 9825"/>
                  <a:gd name="connsiteY45" fmla="*/ 4410 h 10000"/>
                  <a:gd name="connsiteX46" fmla="*/ 1930 w 9825"/>
                  <a:gd name="connsiteY46" fmla="*/ 4783 h 10000"/>
                  <a:gd name="connsiteX47" fmla="*/ 1229 w 9825"/>
                  <a:gd name="connsiteY47" fmla="*/ 5342 h 10000"/>
                  <a:gd name="connsiteX48" fmla="*/ 702 w 9825"/>
                  <a:gd name="connsiteY48" fmla="*/ 6087 h 10000"/>
                  <a:gd name="connsiteX49" fmla="*/ 264 w 9825"/>
                  <a:gd name="connsiteY49" fmla="*/ 6832 h 10000"/>
                  <a:gd name="connsiteX50" fmla="*/ 0 w 9825"/>
                  <a:gd name="connsiteY50" fmla="*/ 7702 h 10000"/>
                  <a:gd name="connsiteX0" fmla="*/ 4552 w 9731"/>
                  <a:gd name="connsiteY0" fmla="*/ 10000 h 10000"/>
                  <a:gd name="connsiteX1" fmla="*/ 4552 w 9731"/>
                  <a:gd name="connsiteY1" fmla="*/ 10000 h 10000"/>
                  <a:gd name="connsiteX2" fmla="*/ 6427 w 9731"/>
                  <a:gd name="connsiteY2" fmla="*/ 10000 h 10000"/>
                  <a:gd name="connsiteX3" fmla="*/ 8124 w 9731"/>
                  <a:gd name="connsiteY3" fmla="*/ 9938 h 10000"/>
                  <a:gd name="connsiteX4" fmla="*/ 9284 w 9731"/>
                  <a:gd name="connsiteY4" fmla="*/ 9814 h 10000"/>
                  <a:gd name="connsiteX5" fmla="*/ 9641 w 9731"/>
                  <a:gd name="connsiteY5" fmla="*/ 9752 h 10000"/>
                  <a:gd name="connsiteX6" fmla="*/ 9731 w 9731"/>
                  <a:gd name="connsiteY6" fmla="*/ 9689 h 10000"/>
                  <a:gd name="connsiteX7" fmla="*/ 9731 w 9731"/>
                  <a:gd name="connsiteY7" fmla="*/ 9689 h 10000"/>
                  <a:gd name="connsiteX8" fmla="*/ 9731 w 9731"/>
                  <a:gd name="connsiteY8" fmla="*/ 8634 h 10000"/>
                  <a:gd name="connsiteX9" fmla="*/ 9641 w 9731"/>
                  <a:gd name="connsiteY9" fmla="*/ 7702 h 10000"/>
                  <a:gd name="connsiteX10" fmla="*/ 9284 w 9731"/>
                  <a:gd name="connsiteY10" fmla="*/ 6832 h 10000"/>
                  <a:gd name="connsiteX11" fmla="*/ 8928 w 9731"/>
                  <a:gd name="connsiteY11" fmla="*/ 6087 h 10000"/>
                  <a:gd name="connsiteX12" fmla="*/ 8392 w 9731"/>
                  <a:gd name="connsiteY12" fmla="*/ 5342 h 10000"/>
                  <a:gd name="connsiteX13" fmla="*/ 7677 w 9731"/>
                  <a:gd name="connsiteY13" fmla="*/ 4783 h 10000"/>
                  <a:gd name="connsiteX14" fmla="*/ 6784 w 9731"/>
                  <a:gd name="connsiteY14" fmla="*/ 4410 h 10000"/>
                  <a:gd name="connsiteX15" fmla="*/ 5802 w 9731"/>
                  <a:gd name="connsiteY15" fmla="*/ 4099 h 10000"/>
                  <a:gd name="connsiteX16" fmla="*/ 5802 w 9731"/>
                  <a:gd name="connsiteY16" fmla="*/ 4099 h 10000"/>
                  <a:gd name="connsiteX17" fmla="*/ 6339 w 9731"/>
                  <a:gd name="connsiteY17" fmla="*/ 3727 h 10000"/>
                  <a:gd name="connsiteX18" fmla="*/ 6696 w 9731"/>
                  <a:gd name="connsiteY18" fmla="*/ 3230 h 10000"/>
                  <a:gd name="connsiteX19" fmla="*/ 6964 w 9731"/>
                  <a:gd name="connsiteY19" fmla="*/ 2671 h 10000"/>
                  <a:gd name="connsiteX20" fmla="*/ 7231 w 9731"/>
                  <a:gd name="connsiteY20" fmla="*/ 2112 h 10000"/>
                  <a:gd name="connsiteX21" fmla="*/ 7231 w 9731"/>
                  <a:gd name="connsiteY21" fmla="*/ 2112 h 10000"/>
                  <a:gd name="connsiteX22" fmla="*/ 7142 w 9731"/>
                  <a:gd name="connsiteY22" fmla="*/ 1677 h 10000"/>
                  <a:gd name="connsiteX23" fmla="*/ 6964 w 9731"/>
                  <a:gd name="connsiteY23" fmla="*/ 1242 h 10000"/>
                  <a:gd name="connsiteX24" fmla="*/ 6784 w 9731"/>
                  <a:gd name="connsiteY24" fmla="*/ 870 h 10000"/>
                  <a:gd name="connsiteX25" fmla="*/ 6427 w 9731"/>
                  <a:gd name="connsiteY25" fmla="*/ 559 h 10000"/>
                  <a:gd name="connsiteX26" fmla="*/ 6071 w 9731"/>
                  <a:gd name="connsiteY26" fmla="*/ 311 h 10000"/>
                  <a:gd name="connsiteX27" fmla="*/ 5624 w 9731"/>
                  <a:gd name="connsiteY27" fmla="*/ 186 h 10000"/>
                  <a:gd name="connsiteX28" fmla="*/ 5177 w 9731"/>
                  <a:gd name="connsiteY28" fmla="*/ 0 h 10000"/>
                  <a:gd name="connsiteX29" fmla="*/ 4642 w 9731"/>
                  <a:gd name="connsiteY29" fmla="*/ 0 h 10000"/>
                  <a:gd name="connsiteX30" fmla="*/ 4642 w 9731"/>
                  <a:gd name="connsiteY30" fmla="*/ 0 h 10000"/>
                  <a:gd name="connsiteX31" fmla="*/ 4195 w 9731"/>
                  <a:gd name="connsiteY31" fmla="*/ 0 h 10000"/>
                  <a:gd name="connsiteX32" fmla="*/ 3749 w 9731"/>
                  <a:gd name="connsiteY32" fmla="*/ 186 h 10000"/>
                  <a:gd name="connsiteX33" fmla="*/ 3303 w 9731"/>
                  <a:gd name="connsiteY33" fmla="*/ 311 h 10000"/>
                  <a:gd name="connsiteX34" fmla="*/ 2857 w 9731"/>
                  <a:gd name="connsiteY34" fmla="*/ 559 h 10000"/>
                  <a:gd name="connsiteX35" fmla="*/ 2588 w 9731"/>
                  <a:gd name="connsiteY35" fmla="*/ 870 h 10000"/>
                  <a:gd name="connsiteX36" fmla="*/ 2320 w 9731"/>
                  <a:gd name="connsiteY36" fmla="*/ 1242 h 10000"/>
                  <a:gd name="connsiteX37" fmla="*/ 2142 w 9731"/>
                  <a:gd name="connsiteY37" fmla="*/ 1677 h 10000"/>
                  <a:gd name="connsiteX38" fmla="*/ 2142 w 9731"/>
                  <a:gd name="connsiteY38" fmla="*/ 2112 h 10000"/>
                  <a:gd name="connsiteX39" fmla="*/ 2142 w 9731"/>
                  <a:gd name="connsiteY39" fmla="*/ 2112 h 10000"/>
                  <a:gd name="connsiteX40" fmla="*/ 2232 w 9731"/>
                  <a:gd name="connsiteY40" fmla="*/ 2671 h 10000"/>
                  <a:gd name="connsiteX41" fmla="*/ 2588 w 9731"/>
                  <a:gd name="connsiteY41" fmla="*/ 3230 h 10000"/>
                  <a:gd name="connsiteX42" fmla="*/ 3035 w 9731"/>
                  <a:gd name="connsiteY42" fmla="*/ 3727 h 10000"/>
                  <a:gd name="connsiteX43" fmla="*/ 3482 w 9731"/>
                  <a:gd name="connsiteY43" fmla="*/ 4099 h 10000"/>
                  <a:gd name="connsiteX44" fmla="*/ 3482 w 9731"/>
                  <a:gd name="connsiteY44" fmla="*/ 4099 h 10000"/>
                  <a:gd name="connsiteX45" fmla="*/ 2499 w 9731"/>
                  <a:gd name="connsiteY45" fmla="*/ 4410 h 10000"/>
                  <a:gd name="connsiteX46" fmla="*/ 1695 w 9731"/>
                  <a:gd name="connsiteY46" fmla="*/ 4783 h 10000"/>
                  <a:gd name="connsiteX47" fmla="*/ 982 w 9731"/>
                  <a:gd name="connsiteY47" fmla="*/ 5342 h 10000"/>
                  <a:gd name="connsiteX48" fmla="*/ 446 w 9731"/>
                  <a:gd name="connsiteY48" fmla="*/ 6087 h 10000"/>
                  <a:gd name="connsiteX49" fmla="*/ 0 w 9731"/>
                  <a:gd name="connsiteY49" fmla="*/ 6832 h 10000"/>
                  <a:gd name="connsiteX0" fmla="*/ 4220 w 9542"/>
                  <a:gd name="connsiteY0" fmla="*/ 10000 h 10000"/>
                  <a:gd name="connsiteX1" fmla="*/ 4220 w 9542"/>
                  <a:gd name="connsiteY1" fmla="*/ 10000 h 10000"/>
                  <a:gd name="connsiteX2" fmla="*/ 6147 w 9542"/>
                  <a:gd name="connsiteY2" fmla="*/ 10000 h 10000"/>
                  <a:gd name="connsiteX3" fmla="*/ 7891 w 9542"/>
                  <a:gd name="connsiteY3" fmla="*/ 9938 h 10000"/>
                  <a:gd name="connsiteX4" fmla="*/ 9083 w 9542"/>
                  <a:gd name="connsiteY4" fmla="*/ 9814 h 10000"/>
                  <a:gd name="connsiteX5" fmla="*/ 9450 w 9542"/>
                  <a:gd name="connsiteY5" fmla="*/ 9752 h 10000"/>
                  <a:gd name="connsiteX6" fmla="*/ 9542 w 9542"/>
                  <a:gd name="connsiteY6" fmla="*/ 9689 h 10000"/>
                  <a:gd name="connsiteX7" fmla="*/ 9542 w 9542"/>
                  <a:gd name="connsiteY7" fmla="*/ 9689 h 10000"/>
                  <a:gd name="connsiteX8" fmla="*/ 9542 w 9542"/>
                  <a:gd name="connsiteY8" fmla="*/ 8634 h 10000"/>
                  <a:gd name="connsiteX9" fmla="*/ 9450 w 9542"/>
                  <a:gd name="connsiteY9" fmla="*/ 7702 h 10000"/>
                  <a:gd name="connsiteX10" fmla="*/ 9083 w 9542"/>
                  <a:gd name="connsiteY10" fmla="*/ 6832 h 10000"/>
                  <a:gd name="connsiteX11" fmla="*/ 8717 w 9542"/>
                  <a:gd name="connsiteY11" fmla="*/ 6087 h 10000"/>
                  <a:gd name="connsiteX12" fmla="*/ 8166 w 9542"/>
                  <a:gd name="connsiteY12" fmla="*/ 5342 h 10000"/>
                  <a:gd name="connsiteX13" fmla="*/ 7431 w 9542"/>
                  <a:gd name="connsiteY13" fmla="*/ 4783 h 10000"/>
                  <a:gd name="connsiteX14" fmla="*/ 6514 w 9542"/>
                  <a:gd name="connsiteY14" fmla="*/ 4410 h 10000"/>
                  <a:gd name="connsiteX15" fmla="*/ 5504 w 9542"/>
                  <a:gd name="connsiteY15" fmla="*/ 4099 h 10000"/>
                  <a:gd name="connsiteX16" fmla="*/ 5504 w 9542"/>
                  <a:gd name="connsiteY16" fmla="*/ 4099 h 10000"/>
                  <a:gd name="connsiteX17" fmla="*/ 6056 w 9542"/>
                  <a:gd name="connsiteY17" fmla="*/ 3727 h 10000"/>
                  <a:gd name="connsiteX18" fmla="*/ 6423 w 9542"/>
                  <a:gd name="connsiteY18" fmla="*/ 3230 h 10000"/>
                  <a:gd name="connsiteX19" fmla="*/ 6699 w 9542"/>
                  <a:gd name="connsiteY19" fmla="*/ 2671 h 10000"/>
                  <a:gd name="connsiteX20" fmla="*/ 6973 w 9542"/>
                  <a:gd name="connsiteY20" fmla="*/ 2112 h 10000"/>
                  <a:gd name="connsiteX21" fmla="*/ 6973 w 9542"/>
                  <a:gd name="connsiteY21" fmla="*/ 2112 h 10000"/>
                  <a:gd name="connsiteX22" fmla="*/ 6881 w 9542"/>
                  <a:gd name="connsiteY22" fmla="*/ 1677 h 10000"/>
                  <a:gd name="connsiteX23" fmla="*/ 6699 w 9542"/>
                  <a:gd name="connsiteY23" fmla="*/ 1242 h 10000"/>
                  <a:gd name="connsiteX24" fmla="*/ 6514 w 9542"/>
                  <a:gd name="connsiteY24" fmla="*/ 870 h 10000"/>
                  <a:gd name="connsiteX25" fmla="*/ 6147 w 9542"/>
                  <a:gd name="connsiteY25" fmla="*/ 559 h 10000"/>
                  <a:gd name="connsiteX26" fmla="*/ 5781 w 9542"/>
                  <a:gd name="connsiteY26" fmla="*/ 311 h 10000"/>
                  <a:gd name="connsiteX27" fmla="*/ 5321 w 9542"/>
                  <a:gd name="connsiteY27" fmla="*/ 186 h 10000"/>
                  <a:gd name="connsiteX28" fmla="*/ 4862 w 9542"/>
                  <a:gd name="connsiteY28" fmla="*/ 0 h 10000"/>
                  <a:gd name="connsiteX29" fmla="*/ 4312 w 9542"/>
                  <a:gd name="connsiteY29" fmla="*/ 0 h 10000"/>
                  <a:gd name="connsiteX30" fmla="*/ 4312 w 9542"/>
                  <a:gd name="connsiteY30" fmla="*/ 0 h 10000"/>
                  <a:gd name="connsiteX31" fmla="*/ 3853 w 9542"/>
                  <a:gd name="connsiteY31" fmla="*/ 0 h 10000"/>
                  <a:gd name="connsiteX32" fmla="*/ 3395 w 9542"/>
                  <a:gd name="connsiteY32" fmla="*/ 186 h 10000"/>
                  <a:gd name="connsiteX33" fmla="*/ 2936 w 9542"/>
                  <a:gd name="connsiteY33" fmla="*/ 311 h 10000"/>
                  <a:gd name="connsiteX34" fmla="*/ 2478 w 9542"/>
                  <a:gd name="connsiteY34" fmla="*/ 559 h 10000"/>
                  <a:gd name="connsiteX35" fmla="*/ 2202 w 9542"/>
                  <a:gd name="connsiteY35" fmla="*/ 870 h 10000"/>
                  <a:gd name="connsiteX36" fmla="*/ 1926 w 9542"/>
                  <a:gd name="connsiteY36" fmla="*/ 1242 h 10000"/>
                  <a:gd name="connsiteX37" fmla="*/ 1743 w 9542"/>
                  <a:gd name="connsiteY37" fmla="*/ 1677 h 10000"/>
                  <a:gd name="connsiteX38" fmla="*/ 1743 w 9542"/>
                  <a:gd name="connsiteY38" fmla="*/ 2112 h 10000"/>
                  <a:gd name="connsiteX39" fmla="*/ 1743 w 9542"/>
                  <a:gd name="connsiteY39" fmla="*/ 2112 h 10000"/>
                  <a:gd name="connsiteX40" fmla="*/ 1836 w 9542"/>
                  <a:gd name="connsiteY40" fmla="*/ 2671 h 10000"/>
                  <a:gd name="connsiteX41" fmla="*/ 2202 w 9542"/>
                  <a:gd name="connsiteY41" fmla="*/ 3230 h 10000"/>
                  <a:gd name="connsiteX42" fmla="*/ 2661 w 9542"/>
                  <a:gd name="connsiteY42" fmla="*/ 3727 h 10000"/>
                  <a:gd name="connsiteX43" fmla="*/ 3120 w 9542"/>
                  <a:gd name="connsiteY43" fmla="*/ 4099 h 10000"/>
                  <a:gd name="connsiteX44" fmla="*/ 3120 w 9542"/>
                  <a:gd name="connsiteY44" fmla="*/ 4099 h 10000"/>
                  <a:gd name="connsiteX45" fmla="*/ 2110 w 9542"/>
                  <a:gd name="connsiteY45" fmla="*/ 4410 h 10000"/>
                  <a:gd name="connsiteX46" fmla="*/ 1284 w 9542"/>
                  <a:gd name="connsiteY46" fmla="*/ 4783 h 10000"/>
                  <a:gd name="connsiteX47" fmla="*/ 551 w 9542"/>
                  <a:gd name="connsiteY47" fmla="*/ 5342 h 10000"/>
                  <a:gd name="connsiteX48" fmla="*/ 0 w 9542"/>
                  <a:gd name="connsiteY48" fmla="*/ 6087 h 10000"/>
                  <a:gd name="connsiteX0" fmla="*/ 3846 w 9423"/>
                  <a:gd name="connsiteY0" fmla="*/ 10000 h 10000"/>
                  <a:gd name="connsiteX1" fmla="*/ 3846 w 9423"/>
                  <a:gd name="connsiteY1" fmla="*/ 10000 h 10000"/>
                  <a:gd name="connsiteX2" fmla="*/ 5865 w 9423"/>
                  <a:gd name="connsiteY2" fmla="*/ 10000 h 10000"/>
                  <a:gd name="connsiteX3" fmla="*/ 7693 w 9423"/>
                  <a:gd name="connsiteY3" fmla="*/ 9938 h 10000"/>
                  <a:gd name="connsiteX4" fmla="*/ 8942 w 9423"/>
                  <a:gd name="connsiteY4" fmla="*/ 9814 h 10000"/>
                  <a:gd name="connsiteX5" fmla="*/ 9327 w 9423"/>
                  <a:gd name="connsiteY5" fmla="*/ 9752 h 10000"/>
                  <a:gd name="connsiteX6" fmla="*/ 9423 w 9423"/>
                  <a:gd name="connsiteY6" fmla="*/ 9689 h 10000"/>
                  <a:gd name="connsiteX7" fmla="*/ 9423 w 9423"/>
                  <a:gd name="connsiteY7" fmla="*/ 9689 h 10000"/>
                  <a:gd name="connsiteX8" fmla="*/ 9423 w 9423"/>
                  <a:gd name="connsiteY8" fmla="*/ 8634 h 10000"/>
                  <a:gd name="connsiteX9" fmla="*/ 9327 w 9423"/>
                  <a:gd name="connsiteY9" fmla="*/ 7702 h 10000"/>
                  <a:gd name="connsiteX10" fmla="*/ 8942 w 9423"/>
                  <a:gd name="connsiteY10" fmla="*/ 6832 h 10000"/>
                  <a:gd name="connsiteX11" fmla="*/ 8558 w 9423"/>
                  <a:gd name="connsiteY11" fmla="*/ 6087 h 10000"/>
                  <a:gd name="connsiteX12" fmla="*/ 7981 w 9423"/>
                  <a:gd name="connsiteY12" fmla="*/ 5342 h 10000"/>
                  <a:gd name="connsiteX13" fmla="*/ 7211 w 9423"/>
                  <a:gd name="connsiteY13" fmla="*/ 4783 h 10000"/>
                  <a:gd name="connsiteX14" fmla="*/ 6250 w 9423"/>
                  <a:gd name="connsiteY14" fmla="*/ 4410 h 10000"/>
                  <a:gd name="connsiteX15" fmla="*/ 5191 w 9423"/>
                  <a:gd name="connsiteY15" fmla="*/ 4099 h 10000"/>
                  <a:gd name="connsiteX16" fmla="*/ 5191 w 9423"/>
                  <a:gd name="connsiteY16" fmla="*/ 4099 h 10000"/>
                  <a:gd name="connsiteX17" fmla="*/ 5770 w 9423"/>
                  <a:gd name="connsiteY17" fmla="*/ 3727 h 10000"/>
                  <a:gd name="connsiteX18" fmla="*/ 6154 w 9423"/>
                  <a:gd name="connsiteY18" fmla="*/ 3230 h 10000"/>
                  <a:gd name="connsiteX19" fmla="*/ 6444 w 9423"/>
                  <a:gd name="connsiteY19" fmla="*/ 2671 h 10000"/>
                  <a:gd name="connsiteX20" fmla="*/ 6731 w 9423"/>
                  <a:gd name="connsiteY20" fmla="*/ 2112 h 10000"/>
                  <a:gd name="connsiteX21" fmla="*/ 6731 w 9423"/>
                  <a:gd name="connsiteY21" fmla="*/ 2112 h 10000"/>
                  <a:gd name="connsiteX22" fmla="*/ 6634 w 9423"/>
                  <a:gd name="connsiteY22" fmla="*/ 1677 h 10000"/>
                  <a:gd name="connsiteX23" fmla="*/ 6444 w 9423"/>
                  <a:gd name="connsiteY23" fmla="*/ 1242 h 10000"/>
                  <a:gd name="connsiteX24" fmla="*/ 6250 w 9423"/>
                  <a:gd name="connsiteY24" fmla="*/ 870 h 10000"/>
                  <a:gd name="connsiteX25" fmla="*/ 5865 w 9423"/>
                  <a:gd name="connsiteY25" fmla="*/ 559 h 10000"/>
                  <a:gd name="connsiteX26" fmla="*/ 5481 w 9423"/>
                  <a:gd name="connsiteY26" fmla="*/ 311 h 10000"/>
                  <a:gd name="connsiteX27" fmla="*/ 4999 w 9423"/>
                  <a:gd name="connsiteY27" fmla="*/ 186 h 10000"/>
                  <a:gd name="connsiteX28" fmla="*/ 4518 w 9423"/>
                  <a:gd name="connsiteY28" fmla="*/ 0 h 10000"/>
                  <a:gd name="connsiteX29" fmla="*/ 3942 w 9423"/>
                  <a:gd name="connsiteY29" fmla="*/ 0 h 10000"/>
                  <a:gd name="connsiteX30" fmla="*/ 3942 w 9423"/>
                  <a:gd name="connsiteY30" fmla="*/ 0 h 10000"/>
                  <a:gd name="connsiteX31" fmla="*/ 3461 w 9423"/>
                  <a:gd name="connsiteY31" fmla="*/ 0 h 10000"/>
                  <a:gd name="connsiteX32" fmla="*/ 2981 w 9423"/>
                  <a:gd name="connsiteY32" fmla="*/ 186 h 10000"/>
                  <a:gd name="connsiteX33" fmla="*/ 2500 w 9423"/>
                  <a:gd name="connsiteY33" fmla="*/ 311 h 10000"/>
                  <a:gd name="connsiteX34" fmla="*/ 2020 w 9423"/>
                  <a:gd name="connsiteY34" fmla="*/ 559 h 10000"/>
                  <a:gd name="connsiteX35" fmla="*/ 1731 w 9423"/>
                  <a:gd name="connsiteY35" fmla="*/ 870 h 10000"/>
                  <a:gd name="connsiteX36" fmla="*/ 1441 w 9423"/>
                  <a:gd name="connsiteY36" fmla="*/ 1242 h 10000"/>
                  <a:gd name="connsiteX37" fmla="*/ 1250 w 9423"/>
                  <a:gd name="connsiteY37" fmla="*/ 1677 h 10000"/>
                  <a:gd name="connsiteX38" fmla="*/ 1250 w 9423"/>
                  <a:gd name="connsiteY38" fmla="*/ 2112 h 10000"/>
                  <a:gd name="connsiteX39" fmla="*/ 1250 w 9423"/>
                  <a:gd name="connsiteY39" fmla="*/ 2112 h 10000"/>
                  <a:gd name="connsiteX40" fmla="*/ 1347 w 9423"/>
                  <a:gd name="connsiteY40" fmla="*/ 2671 h 10000"/>
                  <a:gd name="connsiteX41" fmla="*/ 1731 w 9423"/>
                  <a:gd name="connsiteY41" fmla="*/ 3230 h 10000"/>
                  <a:gd name="connsiteX42" fmla="*/ 2212 w 9423"/>
                  <a:gd name="connsiteY42" fmla="*/ 3727 h 10000"/>
                  <a:gd name="connsiteX43" fmla="*/ 2693 w 9423"/>
                  <a:gd name="connsiteY43" fmla="*/ 4099 h 10000"/>
                  <a:gd name="connsiteX44" fmla="*/ 2693 w 9423"/>
                  <a:gd name="connsiteY44" fmla="*/ 4099 h 10000"/>
                  <a:gd name="connsiteX45" fmla="*/ 1634 w 9423"/>
                  <a:gd name="connsiteY45" fmla="*/ 4410 h 10000"/>
                  <a:gd name="connsiteX46" fmla="*/ 769 w 9423"/>
                  <a:gd name="connsiteY46" fmla="*/ 4783 h 10000"/>
                  <a:gd name="connsiteX47" fmla="*/ 0 w 9423"/>
                  <a:gd name="connsiteY47" fmla="*/ 5342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9423" h="10000">
                    <a:moveTo>
                      <a:pt x="3846" y="10000"/>
                    </a:moveTo>
                    <a:lnTo>
                      <a:pt x="3846" y="10000"/>
                    </a:lnTo>
                    <a:lnTo>
                      <a:pt x="5865" y="10000"/>
                    </a:lnTo>
                    <a:lnTo>
                      <a:pt x="7693" y="9938"/>
                    </a:lnTo>
                    <a:lnTo>
                      <a:pt x="8942" y="9814"/>
                    </a:lnTo>
                    <a:lnTo>
                      <a:pt x="9327" y="9752"/>
                    </a:lnTo>
                    <a:lnTo>
                      <a:pt x="9423" y="9689"/>
                    </a:lnTo>
                    <a:lnTo>
                      <a:pt x="9423" y="9689"/>
                    </a:lnTo>
                    <a:lnTo>
                      <a:pt x="9423" y="8634"/>
                    </a:lnTo>
                    <a:cubicBezTo>
                      <a:pt x="9391" y="8323"/>
                      <a:pt x="9358" y="8013"/>
                      <a:pt x="9327" y="7702"/>
                    </a:cubicBezTo>
                    <a:lnTo>
                      <a:pt x="8942" y="6832"/>
                    </a:lnTo>
                    <a:lnTo>
                      <a:pt x="8558" y="6087"/>
                    </a:lnTo>
                    <a:lnTo>
                      <a:pt x="7981" y="5342"/>
                    </a:lnTo>
                    <a:lnTo>
                      <a:pt x="7211" y="4783"/>
                    </a:lnTo>
                    <a:lnTo>
                      <a:pt x="6250" y="4410"/>
                    </a:lnTo>
                    <a:lnTo>
                      <a:pt x="5191" y="4099"/>
                    </a:lnTo>
                    <a:lnTo>
                      <a:pt x="5191" y="4099"/>
                    </a:lnTo>
                    <a:lnTo>
                      <a:pt x="5770" y="3727"/>
                    </a:lnTo>
                    <a:lnTo>
                      <a:pt x="6154" y="3230"/>
                    </a:lnTo>
                    <a:cubicBezTo>
                      <a:pt x="6251" y="3044"/>
                      <a:pt x="6347" y="2857"/>
                      <a:pt x="6444" y="2671"/>
                    </a:cubicBezTo>
                    <a:cubicBezTo>
                      <a:pt x="6540" y="2485"/>
                      <a:pt x="6635" y="2298"/>
                      <a:pt x="6731" y="2112"/>
                    </a:cubicBezTo>
                    <a:lnTo>
                      <a:pt x="6731" y="2112"/>
                    </a:lnTo>
                    <a:cubicBezTo>
                      <a:pt x="6699" y="1967"/>
                      <a:pt x="6666" y="1822"/>
                      <a:pt x="6634" y="1677"/>
                    </a:cubicBezTo>
                    <a:cubicBezTo>
                      <a:pt x="6571" y="1532"/>
                      <a:pt x="6506" y="1387"/>
                      <a:pt x="6444" y="1242"/>
                    </a:cubicBezTo>
                    <a:lnTo>
                      <a:pt x="6250" y="870"/>
                    </a:lnTo>
                    <a:lnTo>
                      <a:pt x="5865" y="559"/>
                    </a:lnTo>
                    <a:lnTo>
                      <a:pt x="5481" y="311"/>
                    </a:lnTo>
                    <a:lnTo>
                      <a:pt x="4999" y="186"/>
                    </a:lnTo>
                    <a:lnTo>
                      <a:pt x="4518" y="0"/>
                    </a:lnTo>
                    <a:lnTo>
                      <a:pt x="3942" y="0"/>
                    </a:lnTo>
                    <a:lnTo>
                      <a:pt x="3942" y="0"/>
                    </a:lnTo>
                    <a:lnTo>
                      <a:pt x="3461" y="0"/>
                    </a:lnTo>
                    <a:lnTo>
                      <a:pt x="2981" y="186"/>
                    </a:lnTo>
                    <a:lnTo>
                      <a:pt x="2500" y="311"/>
                    </a:lnTo>
                    <a:lnTo>
                      <a:pt x="2020" y="559"/>
                    </a:lnTo>
                    <a:lnTo>
                      <a:pt x="1731" y="870"/>
                    </a:lnTo>
                    <a:lnTo>
                      <a:pt x="1441" y="1242"/>
                    </a:lnTo>
                    <a:cubicBezTo>
                      <a:pt x="1379" y="1387"/>
                      <a:pt x="1314" y="1532"/>
                      <a:pt x="1250" y="1677"/>
                    </a:cubicBezTo>
                    <a:lnTo>
                      <a:pt x="1250" y="2112"/>
                    </a:lnTo>
                    <a:lnTo>
                      <a:pt x="1250" y="2112"/>
                    </a:lnTo>
                    <a:cubicBezTo>
                      <a:pt x="1282" y="2298"/>
                      <a:pt x="1315" y="2485"/>
                      <a:pt x="1347" y="2671"/>
                    </a:cubicBezTo>
                    <a:lnTo>
                      <a:pt x="1731" y="3230"/>
                    </a:lnTo>
                    <a:lnTo>
                      <a:pt x="2212" y="3727"/>
                    </a:lnTo>
                    <a:lnTo>
                      <a:pt x="2693" y="4099"/>
                    </a:lnTo>
                    <a:lnTo>
                      <a:pt x="2693" y="4099"/>
                    </a:lnTo>
                    <a:lnTo>
                      <a:pt x="1634" y="4410"/>
                    </a:lnTo>
                    <a:lnTo>
                      <a:pt x="769" y="4783"/>
                    </a:lnTo>
                    <a:lnTo>
                      <a:pt x="0" y="5342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2" name="Freeform 897"/>
              <p:cNvSpPr>
                <a:spLocks/>
              </p:cNvSpPr>
              <p:nvPr/>
            </p:nvSpPr>
            <p:spPr bwMode="auto">
              <a:xfrm>
                <a:off x="4509658" y="4876544"/>
                <a:ext cx="181869" cy="255132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2666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52" fmla="*/ 0 w 10000"/>
                  <a:gd name="connsiteY52" fmla="*/ 9689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10000" h="10000">
                    <a:moveTo>
                      <a:pt x="4912" y="10000"/>
                    </a:moveTo>
                    <a:lnTo>
                      <a:pt x="2666" y="10000"/>
                    </a:lnTo>
                    <a:lnTo>
                      <a:pt x="6754" y="10000"/>
                    </a:lnTo>
                    <a:lnTo>
                      <a:pt x="8421" y="9938"/>
                    </a:lnTo>
                    <a:lnTo>
                      <a:pt x="9561" y="9814"/>
                    </a:lnTo>
                    <a:lnTo>
                      <a:pt x="9912" y="9752"/>
                    </a:lnTo>
                    <a:lnTo>
                      <a:pt x="10000" y="9689"/>
                    </a:lnTo>
                    <a:lnTo>
                      <a:pt x="10000" y="9689"/>
                    </a:lnTo>
                    <a:lnTo>
                      <a:pt x="10000" y="8634"/>
                    </a:lnTo>
                    <a:cubicBezTo>
                      <a:pt x="9971" y="8323"/>
                      <a:pt x="9941" y="8013"/>
                      <a:pt x="9912" y="7702"/>
                    </a:cubicBezTo>
                    <a:lnTo>
                      <a:pt x="9561" y="6832"/>
                    </a:lnTo>
                    <a:lnTo>
                      <a:pt x="9211" y="6087"/>
                    </a:lnTo>
                    <a:lnTo>
                      <a:pt x="8684" y="5342"/>
                    </a:lnTo>
                    <a:lnTo>
                      <a:pt x="7982" y="4783"/>
                    </a:lnTo>
                    <a:lnTo>
                      <a:pt x="7105" y="4410"/>
                    </a:lnTo>
                    <a:lnTo>
                      <a:pt x="6140" y="4099"/>
                    </a:lnTo>
                    <a:lnTo>
                      <a:pt x="6140" y="4099"/>
                    </a:lnTo>
                    <a:lnTo>
                      <a:pt x="6667" y="3727"/>
                    </a:lnTo>
                    <a:lnTo>
                      <a:pt x="7018" y="3230"/>
                    </a:lnTo>
                    <a:cubicBezTo>
                      <a:pt x="7106" y="3044"/>
                      <a:pt x="7193" y="2857"/>
                      <a:pt x="7281" y="2671"/>
                    </a:cubicBezTo>
                    <a:cubicBezTo>
                      <a:pt x="7369" y="2485"/>
                      <a:pt x="7456" y="2298"/>
                      <a:pt x="7544" y="2112"/>
                    </a:cubicBezTo>
                    <a:lnTo>
                      <a:pt x="7544" y="2112"/>
                    </a:lnTo>
                    <a:cubicBezTo>
                      <a:pt x="7515" y="1967"/>
                      <a:pt x="7485" y="1822"/>
                      <a:pt x="7456" y="1677"/>
                    </a:cubicBezTo>
                    <a:cubicBezTo>
                      <a:pt x="7398" y="1532"/>
                      <a:pt x="7339" y="1387"/>
                      <a:pt x="7281" y="1242"/>
                    </a:cubicBezTo>
                    <a:cubicBezTo>
                      <a:pt x="7222" y="1118"/>
                      <a:pt x="7164" y="994"/>
                      <a:pt x="7105" y="870"/>
                    </a:cubicBezTo>
                    <a:lnTo>
                      <a:pt x="6754" y="559"/>
                    </a:lnTo>
                    <a:lnTo>
                      <a:pt x="6404" y="311"/>
                    </a:lnTo>
                    <a:lnTo>
                      <a:pt x="5965" y="186"/>
                    </a:lnTo>
                    <a:lnTo>
                      <a:pt x="5526" y="0"/>
                    </a:lnTo>
                    <a:lnTo>
                      <a:pt x="5000" y="0"/>
                    </a:lnTo>
                    <a:lnTo>
                      <a:pt x="5000" y="0"/>
                    </a:lnTo>
                    <a:lnTo>
                      <a:pt x="4561" y="0"/>
                    </a:lnTo>
                    <a:lnTo>
                      <a:pt x="4123" y="186"/>
                    </a:lnTo>
                    <a:lnTo>
                      <a:pt x="3684" y="311"/>
                    </a:lnTo>
                    <a:lnTo>
                      <a:pt x="3246" y="559"/>
                    </a:lnTo>
                    <a:lnTo>
                      <a:pt x="2982" y="870"/>
                    </a:lnTo>
                    <a:lnTo>
                      <a:pt x="2719" y="1242"/>
                    </a:lnTo>
                    <a:cubicBezTo>
                      <a:pt x="2661" y="1387"/>
                      <a:pt x="2602" y="1532"/>
                      <a:pt x="2544" y="1677"/>
                    </a:cubicBezTo>
                    <a:lnTo>
                      <a:pt x="2544" y="2112"/>
                    </a:lnTo>
                    <a:lnTo>
                      <a:pt x="2544" y="2112"/>
                    </a:lnTo>
                    <a:cubicBezTo>
                      <a:pt x="2573" y="2298"/>
                      <a:pt x="2603" y="2485"/>
                      <a:pt x="2632" y="2671"/>
                    </a:cubicBezTo>
                    <a:lnTo>
                      <a:pt x="2982" y="3230"/>
                    </a:lnTo>
                    <a:lnTo>
                      <a:pt x="3421" y="3727"/>
                    </a:lnTo>
                    <a:lnTo>
                      <a:pt x="3860" y="4099"/>
                    </a:lnTo>
                    <a:lnTo>
                      <a:pt x="3860" y="4099"/>
                    </a:lnTo>
                    <a:lnTo>
                      <a:pt x="2895" y="4410"/>
                    </a:lnTo>
                    <a:lnTo>
                      <a:pt x="2105" y="4783"/>
                    </a:lnTo>
                    <a:lnTo>
                      <a:pt x="1404" y="5342"/>
                    </a:lnTo>
                    <a:lnTo>
                      <a:pt x="877" y="6087"/>
                    </a:lnTo>
                    <a:lnTo>
                      <a:pt x="439" y="6832"/>
                    </a:lnTo>
                    <a:lnTo>
                      <a:pt x="175" y="7702"/>
                    </a:lnTo>
                    <a:cubicBezTo>
                      <a:pt x="117" y="8013"/>
                      <a:pt x="58" y="8323"/>
                      <a:pt x="0" y="8634"/>
                    </a:cubicBezTo>
                    <a:lnTo>
                      <a:pt x="0" y="968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grpSp>
            <p:nvGrpSpPr>
              <p:cNvPr id="8" name="Groupe 78"/>
              <p:cNvGrpSpPr>
                <a:grpSpLocks/>
              </p:cNvGrpSpPr>
              <p:nvPr/>
            </p:nvGrpSpPr>
            <p:grpSpPr bwMode="auto">
              <a:xfrm>
                <a:off x="4430703" y="4715239"/>
                <a:ext cx="166698" cy="247657"/>
                <a:chOff x="4430703" y="4715239"/>
                <a:chExt cx="166698" cy="247657"/>
              </a:xfrm>
            </p:grpSpPr>
            <p:sp>
              <p:nvSpPr>
                <p:cNvPr id="24" name="Freeform 897"/>
                <p:cNvSpPr>
                  <a:spLocks/>
                </p:cNvSpPr>
                <p:nvPr/>
              </p:nvSpPr>
              <p:spPr bwMode="auto">
                <a:xfrm>
                  <a:off x="4431090" y="4714686"/>
                  <a:ext cx="165865" cy="248273"/>
                </a:xfrm>
                <a:custGeom>
                  <a:avLst/>
                  <a:gdLst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6754 w 10000"/>
                    <a:gd name="connsiteY2" fmla="*/ 10000 h 10000"/>
                    <a:gd name="connsiteX3" fmla="*/ 8421 w 10000"/>
                    <a:gd name="connsiteY3" fmla="*/ 9938 h 10000"/>
                    <a:gd name="connsiteX4" fmla="*/ 9561 w 10000"/>
                    <a:gd name="connsiteY4" fmla="*/ 9814 h 10000"/>
                    <a:gd name="connsiteX5" fmla="*/ 9912 w 10000"/>
                    <a:gd name="connsiteY5" fmla="*/ 9752 h 10000"/>
                    <a:gd name="connsiteX6" fmla="*/ 10000 w 10000"/>
                    <a:gd name="connsiteY6" fmla="*/ 9689 h 10000"/>
                    <a:gd name="connsiteX7" fmla="*/ 10000 w 10000"/>
                    <a:gd name="connsiteY7" fmla="*/ 9689 h 10000"/>
                    <a:gd name="connsiteX8" fmla="*/ 10000 w 10000"/>
                    <a:gd name="connsiteY8" fmla="*/ 8634 h 10000"/>
                    <a:gd name="connsiteX9" fmla="*/ 9912 w 10000"/>
                    <a:gd name="connsiteY9" fmla="*/ 7702 h 10000"/>
                    <a:gd name="connsiteX10" fmla="*/ 9561 w 10000"/>
                    <a:gd name="connsiteY10" fmla="*/ 6832 h 10000"/>
                    <a:gd name="connsiteX11" fmla="*/ 9211 w 10000"/>
                    <a:gd name="connsiteY11" fmla="*/ 6087 h 10000"/>
                    <a:gd name="connsiteX12" fmla="*/ 8684 w 10000"/>
                    <a:gd name="connsiteY12" fmla="*/ 5342 h 10000"/>
                    <a:gd name="connsiteX13" fmla="*/ 7982 w 10000"/>
                    <a:gd name="connsiteY13" fmla="*/ 4783 h 10000"/>
                    <a:gd name="connsiteX14" fmla="*/ 7105 w 10000"/>
                    <a:gd name="connsiteY14" fmla="*/ 4410 h 10000"/>
                    <a:gd name="connsiteX15" fmla="*/ 6140 w 10000"/>
                    <a:gd name="connsiteY15" fmla="*/ 4099 h 10000"/>
                    <a:gd name="connsiteX16" fmla="*/ 6140 w 10000"/>
                    <a:gd name="connsiteY16" fmla="*/ 4099 h 10000"/>
                    <a:gd name="connsiteX17" fmla="*/ 6667 w 10000"/>
                    <a:gd name="connsiteY17" fmla="*/ 3727 h 10000"/>
                    <a:gd name="connsiteX18" fmla="*/ 7018 w 10000"/>
                    <a:gd name="connsiteY18" fmla="*/ 3230 h 10000"/>
                    <a:gd name="connsiteX19" fmla="*/ 7281 w 10000"/>
                    <a:gd name="connsiteY19" fmla="*/ 2671 h 10000"/>
                    <a:gd name="connsiteX20" fmla="*/ 7544 w 10000"/>
                    <a:gd name="connsiteY20" fmla="*/ 2112 h 10000"/>
                    <a:gd name="connsiteX21" fmla="*/ 7544 w 10000"/>
                    <a:gd name="connsiteY21" fmla="*/ 2112 h 10000"/>
                    <a:gd name="connsiteX22" fmla="*/ 7456 w 10000"/>
                    <a:gd name="connsiteY22" fmla="*/ 1677 h 10000"/>
                    <a:gd name="connsiteX23" fmla="*/ 7281 w 10000"/>
                    <a:gd name="connsiteY23" fmla="*/ 1242 h 10000"/>
                    <a:gd name="connsiteX24" fmla="*/ 7105 w 10000"/>
                    <a:gd name="connsiteY24" fmla="*/ 870 h 10000"/>
                    <a:gd name="connsiteX25" fmla="*/ 6754 w 10000"/>
                    <a:gd name="connsiteY25" fmla="*/ 559 h 10000"/>
                    <a:gd name="connsiteX26" fmla="*/ 6404 w 10000"/>
                    <a:gd name="connsiteY26" fmla="*/ 311 h 10000"/>
                    <a:gd name="connsiteX27" fmla="*/ 5965 w 10000"/>
                    <a:gd name="connsiteY27" fmla="*/ 186 h 10000"/>
                    <a:gd name="connsiteX28" fmla="*/ 5526 w 10000"/>
                    <a:gd name="connsiteY28" fmla="*/ 0 h 10000"/>
                    <a:gd name="connsiteX29" fmla="*/ 5000 w 10000"/>
                    <a:gd name="connsiteY29" fmla="*/ 0 h 10000"/>
                    <a:gd name="connsiteX30" fmla="*/ 5000 w 10000"/>
                    <a:gd name="connsiteY30" fmla="*/ 0 h 10000"/>
                    <a:gd name="connsiteX31" fmla="*/ 4561 w 10000"/>
                    <a:gd name="connsiteY31" fmla="*/ 0 h 10000"/>
                    <a:gd name="connsiteX32" fmla="*/ 4123 w 10000"/>
                    <a:gd name="connsiteY32" fmla="*/ 186 h 10000"/>
                    <a:gd name="connsiteX33" fmla="*/ 3684 w 10000"/>
                    <a:gd name="connsiteY33" fmla="*/ 311 h 10000"/>
                    <a:gd name="connsiteX34" fmla="*/ 3246 w 10000"/>
                    <a:gd name="connsiteY34" fmla="*/ 559 h 10000"/>
                    <a:gd name="connsiteX35" fmla="*/ 2982 w 10000"/>
                    <a:gd name="connsiteY35" fmla="*/ 870 h 10000"/>
                    <a:gd name="connsiteX36" fmla="*/ 2719 w 10000"/>
                    <a:gd name="connsiteY36" fmla="*/ 1242 h 10000"/>
                    <a:gd name="connsiteX37" fmla="*/ 2544 w 10000"/>
                    <a:gd name="connsiteY37" fmla="*/ 1677 h 10000"/>
                    <a:gd name="connsiteX38" fmla="*/ 2544 w 10000"/>
                    <a:gd name="connsiteY38" fmla="*/ 2112 h 10000"/>
                    <a:gd name="connsiteX39" fmla="*/ 2544 w 10000"/>
                    <a:gd name="connsiteY39" fmla="*/ 2112 h 10000"/>
                    <a:gd name="connsiteX40" fmla="*/ 2632 w 10000"/>
                    <a:gd name="connsiteY40" fmla="*/ 2671 h 10000"/>
                    <a:gd name="connsiteX41" fmla="*/ 2982 w 10000"/>
                    <a:gd name="connsiteY41" fmla="*/ 3230 h 10000"/>
                    <a:gd name="connsiteX42" fmla="*/ 3421 w 10000"/>
                    <a:gd name="connsiteY42" fmla="*/ 3727 h 10000"/>
                    <a:gd name="connsiteX43" fmla="*/ 3860 w 10000"/>
                    <a:gd name="connsiteY43" fmla="*/ 4099 h 10000"/>
                    <a:gd name="connsiteX44" fmla="*/ 3860 w 10000"/>
                    <a:gd name="connsiteY44" fmla="*/ 4099 h 10000"/>
                    <a:gd name="connsiteX45" fmla="*/ 2895 w 10000"/>
                    <a:gd name="connsiteY45" fmla="*/ 4410 h 10000"/>
                    <a:gd name="connsiteX46" fmla="*/ 2105 w 10000"/>
                    <a:gd name="connsiteY46" fmla="*/ 4783 h 10000"/>
                    <a:gd name="connsiteX47" fmla="*/ 1404 w 10000"/>
                    <a:gd name="connsiteY47" fmla="*/ 5342 h 10000"/>
                    <a:gd name="connsiteX48" fmla="*/ 877 w 10000"/>
                    <a:gd name="connsiteY48" fmla="*/ 6087 h 10000"/>
                    <a:gd name="connsiteX49" fmla="*/ 439 w 10000"/>
                    <a:gd name="connsiteY49" fmla="*/ 6832 h 10000"/>
                    <a:gd name="connsiteX50" fmla="*/ 175 w 10000"/>
                    <a:gd name="connsiteY50" fmla="*/ 7702 h 10000"/>
                    <a:gd name="connsiteX51" fmla="*/ 0 w 10000"/>
                    <a:gd name="connsiteY51" fmla="*/ 8634 h 10000"/>
                    <a:gd name="connsiteX52" fmla="*/ 0 w 10000"/>
                    <a:gd name="connsiteY52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8421 w 10000"/>
                    <a:gd name="connsiteY2" fmla="*/ 9938 h 10000"/>
                    <a:gd name="connsiteX3" fmla="*/ 9561 w 10000"/>
                    <a:gd name="connsiteY3" fmla="*/ 9814 h 10000"/>
                    <a:gd name="connsiteX4" fmla="*/ 9912 w 10000"/>
                    <a:gd name="connsiteY4" fmla="*/ 9752 h 10000"/>
                    <a:gd name="connsiteX5" fmla="*/ 10000 w 10000"/>
                    <a:gd name="connsiteY5" fmla="*/ 9689 h 10000"/>
                    <a:gd name="connsiteX6" fmla="*/ 10000 w 10000"/>
                    <a:gd name="connsiteY6" fmla="*/ 9689 h 10000"/>
                    <a:gd name="connsiteX7" fmla="*/ 10000 w 10000"/>
                    <a:gd name="connsiteY7" fmla="*/ 8634 h 10000"/>
                    <a:gd name="connsiteX8" fmla="*/ 9912 w 10000"/>
                    <a:gd name="connsiteY8" fmla="*/ 7702 h 10000"/>
                    <a:gd name="connsiteX9" fmla="*/ 9561 w 10000"/>
                    <a:gd name="connsiteY9" fmla="*/ 6832 h 10000"/>
                    <a:gd name="connsiteX10" fmla="*/ 9211 w 10000"/>
                    <a:gd name="connsiteY10" fmla="*/ 6087 h 10000"/>
                    <a:gd name="connsiteX11" fmla="*/ 8684 w 10000"/>
                    <a:gd name="connsiteY11" fmla="*/ 5342 h 10000"/>
                    <a:gd name="connsiteX12" fmla="*/ 7982 w 10000"/>
                    <a:gd name="connsiteY12" fmla="*/ 4783 h 10000"/>
                    <a:gd name="connsiteX13" fmla="*/ 7105 w 10000"/>
                    <a:gd name="connsiteY13" fmla="*/ 4410 h 10000"/>
                    <a:gd name="connsiteX14" fmla="*/ 6140 w 10000"/>
                    <a:gd name="connsiteY14" fmla="*/ 4099 h 10000"/>
                    <a:gd name="connsiteX15" fmla="*/ 6140 w 10000"/>
                    <a:gd name="connsiteY15" fmla="*/ 4099 h 10000"/>
                    <a:gd name="connsiteX16" fmla="*/ 6667 w 10000"/>
                    <a:gd name="connsiteY16" fmla="*/ 3727 h 10000"/>
                    <a:gd name="connsiteX17" fmla="*/ 7018 w 10000"/>
                    <a:gd name="connsiteY17" fmla="*/ 3230 h 10000"/>
                    <a:gd name="connsiteX18" fmla="*/ 7281 w 10000"/>
                    <a:gd name="connsiteY18" fmla="*/ 2671 h 10000"/>
                    <a:gd name="connsiteX19" fmla="*/ 7544 w 10000"/>
                    <a:gd name="connsiteY19" fmla="*/ 2112 h 10000"/>
                    <a:gd name="connsiteX20" fmla="*/ 7544 w 10000"/>
                    <a:gd name="connsiteY20" fmla="*/ 2112 h 10000"/>
                    <a:gd name="connsiteX21" fmla="*/ 7456 w 10000"/>
                    <a:gd name="connsiteY21" fmla="*/ 1677 h 10000"/>
                    <a:gd name="connsiteX22" fmla="*/ 7281 w 10000"/>
                    <a:gd name="connsiteY22" fmla="*/ 1242 h 10000"/>
                    <a:gd name="connsiteX23" fmla="*/ 7105 w 10000"/>
                    <a:gd name="connsiteY23" fmla="*/ 870 h 10000"/>
                    <a:gd name="connsiteX24" fmla="*/ 6754 w 10000"/>
                    <a:gd name="connsiteY24" fmla="*/ 559 h 10000"/>
                    <a:gd name="connsiteX25" fmla="*/ 6404 w 10000"/>
                    <a:gd name="connsiteY25" fmla="*/ 311 h 10000"/>
                    <a:gd name="connsiteX26" fmla="*/ 5965 w 10000"/>
                    <a:gd name="connsiteY26" fmla="*/ 186 h 10000"/>
                    <a:gd name="connsiteX27" fmla="*/ 5526 w 10000"/>
                    <a:gd name="connsiteY27" fmla="*/ 0 h 10000"/>
                    <a:gd name="connsiteX28" fmla="*/ 5000 w 10000"/>
                    <a:gd name="connsiteY28" fmla="*/ 0 h 10000"/>
                    <a:gd name="connsiteX29" fmla="*/ 5000 w 10000"/>
                    <a:gd name="connsiteY29" fmla="*/ 0 h 10000"/>
                    <a:gd name="connsiteX30" fmla="*/ 4561 w 10000"/>
                    <a:gd name="connsiteY30" fmla="*/ 0 h 10000"/>
                    <a:gd name="connsiteX31" fmla="*/ 4123 w 10000"/>
                    <a:gd name="connsiteY31" fmla="*/ 186 h 10000"/>
                    <a:gd name="connsiteX32" fmla="*/ 3684 w 10000"/>
                    <a:gd name="connsiteY32" fmla="*/ 311 h 10000"/>
                    <a:gd name="connsiteX33" fmla="*/ 3246 w 10000"/>
                    <a:gd name="connsiteY33" fmla="*/ 559 h 10000"/>
                    <a:gd name="connsiteX34" fmla="*/ 2982 w 10000"/>
                    <a:gd name="connsiteY34" fmla="*/ 870 h 10000"/>
                    <a:gd name="connsiteX35" fmla="*/ 2719 w 10000"/>
                    <a:gd name="connsiteY35" fmla="*/ 1242 h 10000"/>
                    <a:gd name="connsiteX36" fmla="*/ 2544 w 10000"/>
                    <a:gd name="connsiteY36" fmla="*/ 1677 h 10000"/>
                    <a:gd name="connsiteX37" fmla="*/ 2544 w 10000"/>
                    <a:gd name="connsiteY37" fmla="*/ 2112 h 10000"/>
                    <a:gd name="connsiteX38" fmla="*/ 2544 w 10000"/>
                    <a:gd name="connsiteY38" fmla="*/ 2112 h 10000"/>
                    <a:gd name="connsiteX39" fmla="*/ 2632 w 10000"/>
                    <a:gd name="connsiteY39" fmla="*/ 2671 h 10000"/>
                    <a:gd name="connsiteX40" fmla="*/ 2982 w 10000"/>
                    <a:gd name="connsiteY40" fmla="*/ 3230 h 10000"/>
                    <a:gd name="connsiteX41" fmla="*/ 3421 w 10000"/>
                    <a:gd name="connsiteY41" fmla="*/ 3727 h 10000"/>
                    <a:gd name="connsiteX42" fmla="*/ 3860 w 10000"/>
                    <a:gd name="connsiteY42" fmla="*/ 4099 h 10000"/>
                    <a:gd name="connsiteX43" fmla="*/ 3860 w 10000"/>
                    <a:gd name="connsiteY43" fmla="*/ 4099 h 10000"/>
                    <a:gd name="connsiteX44" fmla="*/ 2895 w 10000"/>
                    <a:gd name="connsiteY44" fmla="*/ 4410 h 10000"/>
                    <a:gd name="connsiteX45" fmla="*/ 2105 w 10000"/>
                    <a:gd name="connsiteY45" fmla="*/ 4783 h 10000"/>
                    <a:gd name="connsiteX46" fmla="*/ 1404 w 10000"/>
                    <a:gd name="connsiteY46" fmla="*/ 5342 h 10000"/>
                    <a:gd name="connsiteX47" fmla="*/ 877 w 10000"/>
                    <a:gd name="connsiteY47" fmla="*/ 6087 h 10000"/>
                    <a:gd name="connsiteX48" fmla="*/ 439 w 10000"/>
                    <a:gd name="connsiteY48" fmla="*/ 6832 h 10000"/>
                    <a:gd name="connsiteX49" fmla="*/ 175 w 10000"/>
                    <a:gd name="connsiteY49" fmla="*/ 7702 h 10000"/>
                    <a:gd name="connsiteX50" fmla="*/ 0 w 10000"/>
                    <a:gd name="connsiteY50" fmla="*/ 8634 h 10000"/>
                    <a:gd name="connsiteX51" fmla="*/ 0 w 10000"/>
                    <a:gd name="connsiteY51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9561 w 10000"/>
                    <a:gd name="connsiteY2" fmla="*/ 9814 h 10000"/>
                    <a:gd name="connsiteX3" fmla="*/ 9912 w 10000"/>
                    <a:gd name="connsiteY3" fmla="*/ 9752 h 10000"/>
                    <a:gd name="connsiteX4" fmla="*/ 10000 w 10000"/>
                    <a:gd name="connsiteY4" fmla="*/ 9689 h 10000"/>
                    <a:gd name="connsiteX5" fmla="*/ 10000 w 10000"/>
                    <a:gd name="connsiteY5" fmla="*/ 9689 h 10000"/>
                    <a:gd name="connsiteX6" fmla="*/ 10000 w 10000"/>
                    <a:gd name="connsiteY6" fmla="*/ 8634 h 10000"/>
                    <a:gd name="connsiteX7" fmla="*/ 9912 w 10000"/>
                    <a:gd name="connsiteY7" fmla="*/ 7702 h 10000"/>
                    <a:gd name="connsiteX8" fmla="*/ 9561 w 10000"/>
                    <a:gd name="connsiteY8" fmla="*/ 6832 h 10000"/>
                    <a:gd name="connsiteX9" fmla="*/ 9211 w 10000"/>
                    <a:gd name="connsiteY9" fmla="*/ 6087 h 10000"/>
                    <a:gd name="connsiteX10" fmla="*/ 8684 w 10000"/>
                    <a:gd name="connsiteY10" fmla="*/ 5342 h 10000"/>
                    <a:gd name="connsiteX11" fmla="*/ 7982 w 10000"/>
                    <a:gd name="connsiteY11" fmla="*/ 4783 h 10000"/>
                    <a:gd name="connsiteX12" fmla="*/ 7105 w 10000"/>
                    <a:gd name="connsiteY12" fmla="*/ 4410 h 10000"/>
                    <a:gd name="connsiteX13" fmla="*/ 6140 w 10000"/>
                    <a:gd name="connsiteY13" fmla="*/ 4099 h 10000"/>
                    <a:gd name="connsiteX14" fmla="*/ 6140 w 10000"/>
                    <a:gd name="connsiteY14" fmla="*/ 4099 h 10000"/>
                    <a:gd name="connsiteX15" fmla="*/ 6667 w 10000"/>
                    <a:gd name="connsiteY15" fmla="*/ 3727 h 10000"/>
                    <a:gd name="connsiteX16" fmla="*/ 7018 w 10000"/>
                    <a:gd name="connsiteY16" fmla="*/ 3230 h 10000"/>
                    <a:gd name="connsiteX17" fmla="*/ 7281 w 10000"/>
                    <a:gd name="connsiteY17" fmla="*/ 2671 h 10000"/>
                    <a:gd name="connsiteX18" fmla="*/ 7544 w 10000"/>
                    <a:gd name="connsiteY18" fmla="*/ 2112 h 10000"/>
                    <a:gd name="connsiteX19" fmla="*/ 7544 w 10000"/>
                    <a:gd name="connsiteY19" fmla="*/ 2112 h 10000"/>
                    <a:gd name="connsiteX20" fmla="*/ 7456 w 10000"/>
                    <a:gd name="connsiteY20" fmla="*/ 1677 h 10000"/>
                    <a:gd name="connsiteX21" fmla="*/ 7281 w 10000"/>
                    <a:gd name="connsiteY21" fmla="*/ 1242 h 10000"/>
                    <a:gd name="connsiteX22" fmla="*/ 7105 w 10000"/>
                    <a:gd name="connsiteY22" fmla="*/ 870 h 10000"/>
                    <a:gd name="connsiteX23" fmla="*/ 6754 w 10000"/>
                    <a:gd name="connsiteY23" fmla="*/ 559 h 10000"/>
                    <a:gd name="connsiteX24" fmla="*/ 6404 w 10000"/>
                    <a:gd name="connsiteY24" fmla="*/ 311 h 10000"/>
                    <a:gd name="connsiteX25" fmla="*/ 5965 w 10000"/>
                    <a:gd name="connsiteY25" fmla="*/ 186 h 10000"/>
                    <a:gd name="connsiteX26" fmla="*/ 5526 w 10000"/>
                    <a:gd name="connsiteY26" fmla="*/ 0 h 10000"/>
                    <a:gd name="connsiteX27" fmla="*/ 5000 w 10000"/>
                    <a:gd name="connsiteY27" fmla="*/ 0 h 10000"/>
                    <a:gd name="connsiteX28" fmla="*/ 5000 w 10000"/>
                    <a:gd name="connsiteY28" fmla="*/ 0 h 10000"/>
                    <a:gd name="connsiteX29" fmla="*/ 4561 w 10000"/>
                    <a:gd name="connsiteY29" fmla="*/ 0 h 10000"/>
                    <a:gd name="connsiteX30" fmla="*/ 4123 w 10000"/>
                    <a:gd name="connsiteY30" fmla="*/ 186 h 10000"/>
                    <a:gd name="connsiteX31" fmla="*/ 3684 w 10000"/>
                    <a:gd name="connsiteY31" fmla="*/ 311 h 10000"/>
                    <a:gd name="connsiteX32" fmla="*/ 3246 w 10000"/>
                    <a:gd name="connsiteY32" fmla="*/ 559 h 10000"/>
                    <a:gd name="connsiteX33" fmla="*/ 2982 w 10000"/>
                    <a:gd name="connsiteY33" fmla="*/ 870 h 10000"/>
                    <a:gd name="connsiteX34" fmla="*/ 2719 w 10000"/>
                    <a:gd name="connsiteY34" fmla="*/ 1242 h 10000"/>
                    <a:gd name="connsiteX35" fmla="*/ 2544 w 10000"/>
                    <a:gd name="connsiteY35" fmla="*/ 1677 h 10000"/>
                    <a:gd name="connsiteX36" fmla="*/ 2544 w 10000"/>
                    <a:gd name="connsiteY36" fmla="*/ 2112 h 10000"/>
                    <a:gd name="connsiteX37" fmla="*/ 2544 w 10000"/>
                    <a:gd name="connsiteY37" fmla="*/ 2112 h 10000"/>
                    <a:gd name="connsiteX38" fmla="*/ 2632 w 10000"/>
                    <a:gd name="connsiteY38" fmla="*/ 2671 h 10000"/>
                    <a:gd name="connsiteX39" fmla="*/ 2982 w 10000"/>
                    <a:gd name="connsiteY39" fmla="*/ 3230 h 10000"/>
                    <a:gd name="connsiteX40" fmla="*/ 3421 w 10000"/>
                    <a:gd name="connsiteY40" fmla="*/ 3727 h 10000"/>
                    <a:gd name="connsiteX41" fmla="*/ 3860 w 10000"/>
                    <a:gd name="connsiteY41" fmla="*/ 4099 h 10000"/>
                    <a:gd name="connsiteX42" fmla="*/ 3860 w 10000"/>
                    <a:gd name="connsiteY42" fmla="*/ 4099 h 10000"/>
                    <a:gd name="connsiteX43" fmla="*/ 2895 w 10000"/>
                    <a:gd name="connsiteY43" fmla="*/ 4410 h 10000"/>
                    <a:gd name="connsiteX44" fmla="*/ 2105 w 10000"/>
                    <a:gd name="connsiteY44" fmla="*/ 4783 h 10000"/>
                    <a:gd name="connsiteX45" fmla="*/ 1404 w 10000"/>
                    <a:gd name="connsiteY45" fmla="*/ 5342 h 10000"/>
                    <a:gd name="connsiteX46" fmla="*/ 877 w 10000"/>
                    <a:gd name="connsiteY46" fmla="*/ 6087 h 10000"/>
                    <a:gd name="connsiteX47" fmla="*/ 439 w 10000"/>
                    <a:gd name="connsiteY47" fmla="*/ 6832 h 10000"/>
                    <a:gd name="connsiteX48" fmla="*/ 175 w 10000"/>
                    <a:gd name="connsiteY48" fmla="*/ 7702 h 10000"/>
                    <a:gd name="connsiteX49" fmla="*/ 0 w 10000"/>
                    <a:gd name="connsiteY49" fmla="*/ 8634 h 10000"/>
                    <a:gd name="connsiteX50" fmla="*/ 0 w 10000"/>
                    <a:gd name="connsiteY50" fmla="*/ 9689 h 10000"/>
                    <a:gd name="connsiteX0" fmla="*/ 4912 w 10000"/>
                    <a:gd name="connsiteY0" fmla="*/ 10000 h 10000"/>
                    <a:gd name="connsiteX1" fmla="*/ 9561 w 10000"/>
                    <a:gd name="connsiteY1" fmla="*/ 9814 h 10000"/>
                    <a:gd name="connsiteX2" fmla="*/ 9912 w 10000"/>
                    <a:gd name="connsiteY2" fmla="*/ 9752 h 10000"/>
                    <a:gd name="connsiteX3" fmla="*/ 10000 w 10000"/>
                    <a:gd name="connsiteY3" fmla="*/ 9689 h 10000"/>
                    <a:gd name="connsiteX4" fmla="*/ 10000 w 10000"/>
                    <a:gd name="connsiteY4" fmla="*/ 9689 h 10000"/>
                    <a:gd name="connsiteX5" fmla="*/ 10000 w 10000"/>
                    <a:gd name="connsiteY5" fmla="*/ 8634 h 10000"/>
                    <a:gd name="connsiteX6" fmla="*/ 9912 w 10000"/>
                    <a:gd name="connsiteY6" fmla="*/ 7702 h 10000"/>
                    <a:gd name="connsiteX7" fmla="*/ 9561 w 10000"/>
                    <a:gd name="connsiteY7" fmla="*/ 6832 h 10000"/>
                    <a:gd name="connsiteX8" fmla="*/ 9211 w 10000"/>
                    <a:gd name="connsiteY8" fmla="*/ 6087 h 10000"/>
                    <a:gd name="connsiteX9" fmla="*/ 8684 w 10000"/>
                    <a:gd name="connsiteY9" fmla="*/ 5342 h 10000"/>
                    <a:gd name="connsiteX10" fmla="*/ 7982 w 10000"/>
                    <a:gd name="connsiteY10" fmla="*/ 4783 h 10000"/>
                    <a:gd name="connsiteX11" fmla="*/ 7105 w 10000"/>
                    <a:gd name="connsiteY11" fmla="*/ 4410 h 10000"/>
                    <a:gd name="connsiteX12" fmla="*/ 6140 w 10000"/>
                    <a:gd name="connsiteY12" fmla="*/ 4099 h 10000"/>
                    <a:gd name="connsiteX13" fmla="*/ 6140 w 10000"/>
                    <a:gd name="connsiteY13" fmla="*/ 4099 h 10000"/>
                    <a:gd name="connsiteX14" fmla="*/ 6667 w 10000"/>
                    <a:gd name="connsiteY14" fmla="*/ 3727 h 10000"/>
                    <a:gd name="connsiteX15" fmla="*/ 7018 w 10000"/>
                    <a:gd name="connsiteY15" fmla="*/ 3230 h 10000"/>
                    <a:gd name="connsiteX16" fmla="*/ 7281 w 10000"/>
                    <a:gd name="connsiteY16" fmla="*/ 2671 h 10000"/>
                    <a:gd name="connsiteX17" fmla="*/ 7544 w 10000"/>
                    <a:gd name="connsiteY17" fmla="*/ 2112 h 10000"/>
                    <a:gd name="connsiteX18" fmla="*/ 7544 w 10000"/>
                    <a:gd name="connsiteY18" fmla="*/ 2112 h 10000"/>
                    <a:gd name="connsiteX19" fmla="*/ 7456 w 10000"/>
                    <a:gd name="connsiteY19" fmla="*/ 1677 h 10000"/>
                    <a:gd name="connsiteX20" fmla="*/ 7281 w 10000"/>
                    <a:gd name="connsiteY20" fmla="*/ 1242 h 10000"/>
                    <a:gd name="connsiteX21" fmla="*/ 7105 w 10000"/>
                    <a:gd name="connsiteY21" fmla="*/ 870 h 10000"/>
                    <a:gd name="connsiteX22" fmla="*/ 6754 w 10000"/>
                    <a:gd name="connsiteY22" fmla="*/ 559 h 10000"/>
                    <a:gd name="connsiteX23" fmla="*/ 6404 w 10000"/>
                    <a:gd name="connsiteY23" fmla="*/ 311 h 10000"/>
                    <a:gd name="connsiteX24" fmla="*/ 5965 w 10000"/>
                    <a:gd name="connsiteY24" fmla="*/ 186 h 10000"/>
                    <a:gd name="connsiteX25" fmla="*/ 5526 w 10000"/>
                    <a:gd name="connsiteY25" fmla="*/ 0 h 10000"/>
                    <a:gd name="connsiteX26" fmla="*/ 5000 w 10000"/>
                    <a:gd name="connsiteY26" fmla="*/ 0 h 10000"/>
                    <a:gd name="connsiteX27" fmla="*/ 5000 w 10000"/>
                    <a:gd name="connsiteY27" fmla="*/ 0 h 10000"/>
                    <a:gd name="connsiteX28" fmla="*/ 4561 w 10000"/>
                    <a:gd name="connsiteY28" fmla="*/ 0 h 10000"/>
                    <a:gd name="connsiteX29" fmla="*/ 4123 w 10000"/>
                    <a:gd name="connsiteY29" fmla="*/ 186 h 10000"/>
                    <a:gd name="connsiteX30" fmla="*/ 3684 w 10000"/>
                    <a:gd name="connsiteY30" fmla="*/ 311 h 10000"/>
                    <a:gd name="connsiteX31" fmla="*/ 3246 w 10000"/>
                    <a:gd name="connsiteY31" fmla="*/ 559 h 10000"/>
                    <a:gd name="connsiteX32" fmla="*/ 2982 w 10000"/>
                    <a:gd name="connsiteY32" fmla="*/ 870 h 10000"/>
                    <a:gd name="connsiteX33" fmla="*/ 2719 w 10000"/>
                    <a:gd name="connsiteY33" fmla="*/ 1242 h 10000"/>
                    <a:gd name="connsiteX34" fmla="*/ 2544 w 10000"/>
                    <a:gd name="connsiteY34" fmla="*/ 1677 h 10000"/>
                    <a:gd name="connsiteX35" fmla="*/ 2544 w 10000"/>
                    <a:gd name="connsiteY35" fmla="*/ 2112 h 10000"/>
                    <a:gd name="connsiteX36" fmla="*/ 2544 w 10000"/>
                    <a:gd name="connsiteY36" fmla="*/ 2112 h 10000"/>
                    <a:gd name="connsiteX37" fmla="*/ 2632 w 10000"/>
                    <a:gd name="connsiteY37" fmla="*/ 2671 h 10000"/>
                    <a:gd name="connsiteX38" fmla="*/ 2982 w 10000"/>
                    <a:gd name="connsiteY38" fmla="*/ 3230 h 10000"/>
                    <a:gd name="connsiteX39" fmla="*/ 3421 w 10000"/>
                    <a:gd name="connsiteY39" fmla="*/ 3727 h 10000"/>
                    <a:gd name="connsiteX40" fmla="*/ 3860 w 10000"/>
                    <a:gd name="connsiteY40" fmla="*/ 4099 h 10000"/>
                    <a:gd name="connsiteX41" fmla="*/ 3860 w 10000"/>
                    <a:gd name="connsiteY41" fmla="*/ 4099 h 10000"/>
                    <a:gd name="connsiteX42" fmla="*/ 2895 w 10000"/>
                    <a:gd name="connsiteY42" fmla="*/ 4410 h 10000"/>
                    <a:gd name="connsiteX43" fmla="*/ 2105 w 10000"/>
                    <a:gd name="connsiteY43" fmla="*/ 4783 h 10000"/>
                    <a:gd name="connsiteX44" fmla="*/ 1404 w 10000"/>
                    <a:gd name="connsiteY44" fmla="*/ 5342 h 10000"/>
                    <a:gd name="connsiteX45" fmla="*/ 877 w 10000"/>
                    <a:gd name="connsiteY45" fmla="*/ 6087 h 10000"/>
                    <a:gd name="connsiteX46" fmla="*/ 439 w 10000"/>
                    <a:gd name="connsiteY46" fmla="*/ 6832 h 10000"/>
                    <a:gd name="connsiteX47" fmla="*/ 175 w 10000"/>
                    <a:gd name="connsiteY47" fmla="*/ 7702 h 10000"/>
                    <a:gd name="connsiteX48" fmla="*/ 0 w 10000"/>
                    <a:gd name="connsiteY48" fmla="*/ 8634 h 10000"/>
                    <a:gd name="connsiteX49" fmla="*/ 0 w 10000"/>
                    <a:gd name="connsiteY49" fmla="*/ 9689 h 10000"/>
                    <a:gd name="connsiteX0" fmla="*/ 9561 w 10000"/>
                    <a:gd name="connsiteY0" fmla="*/ 9814 h 9814"/>
                    <a:gd name="connsiteX1" fmla="*/ 9912 w 10000"/>
                    <a:gd name="connsiteY1" fmla="*/ 9752 h 9814"/>
                    <a:gd name="connsiteX2" fmla="*/ 10000 w 10000"/>
                    <a:gd name="connsiteY2" fmla="*/ 9689 h 9814"/>
                    <a:gd name="connsiteX3" fmla="*/ 10000 w 10000"/>
                    <a:gd name="connsiteY3" fmla="*/ 9689 h 9814"/>
                    <a:gd name="connsiteX4" fmla="*/ 10000 w 10000"/>
                    <a:gd name="connsiteY4" fmla="*/ 8634 h 9814"/>
                    <a:gd name="connsiteX5" fmla="*/ 9912 w 10000"/>
                    <a:gd name="connsiteY5" fmla="*/ 7702 h 9814"/>
                    <a:gd name="connsiteX6" fmla="*/ 9561 w 10000"/>
                    <a:gd name="connsiteY6" fmla="*/ 6832 h 9814"/>
                    <a:gd name="connsiteX7" fmla="*/ 9211 w 10000"/>
                    <a:gd name="connsiteY7" fmla="*/ 6087 h 9814"/>
                    <a:gd name="connsiteX8" fmla="*/ 8684 w 10000"/>
                    <a:gd name="connsiteY8" fmla="*/ 5342 h 9814"/>
                    <a:gd name="connsiteX9" fmla="*/ 7982 w 10000"/>
                    <a:gd name="connsiteY9" fmla="*/ 4783 h 9814"/>
                    <a:gd name="connsiteX10" fmla="*/ 7105 w 10000"/>
                    <a:gd name="connsiteY10" fmla="*/ 4410 h 9814"/>
                    <a:gd name="connsiteX11" fmla="*/ 6140 w 10000"/>
                    <a:gd name="connsiteY11" fmla="*/ 4099 h 9814"/>
                    <a:gd name="connsiteX12" fmla="*/ 6140 w 10000"/>
                    <a:gd name="connsiteY12" fmla="*/ 4099 h 9814"/>
                    <a:gd name="connsiteX13" fmla="*/ 6667 w 10000"/>
                    <a:gd name="connsiteY13" fmla="*/ 3727 h 9814"/>
                    <a:gd name="connsiteX14" fmla="*/ 7018 w 10000"/>
                    <a:gd name="connsiteY14" fmla="*/ 3230 h 9814"/>
                    <a:gd name="connsiteX15" fmla="*/ 7281 w 10000"/>
                    <a:gd name="connsiteY15" fmla="*/ 2671 h 9814"/>
                    <a:gd name="connsiteX16" fmla="*/ 7544 w 10000"/>
                    <a:gd name="connsiteY16" fmla="*/ 2112 h 9814"/>
                    <a:gd name="connsiteX17" fmla="*/ 7544 w 10000"/>
                    <a:gd name="connsiteY17" fmla="*/ 2112 h 9814"/>
                    <a:gd name="connsiteX18" fmla="*/ 7456 w 10000"/>
                    <a:gd name="connsiteY18" fmla="*/ 1677 h 9814"/>
                    <a:gd name="connsiteX19" fmla="*/ 7281 w 10000"/>
                    <a:gd name="connsiteY19" fmla="*/ 1242 h 9814"/>
                    <a:gd name="connsiteX20" fmla="*/ 7105 w 10000"/>
                    <a:gd name="connsiteY20" fmla="*/ 870 h 9814"/>
                    <a:gd name="connsiteX21" fmla="*/ 6754 w 10000"/>
                    <a:gd name="connsiteY21" fmla="*/ 559 h 9814"/>
                    <a:gd name="connsiteX22" fmla="*/ 6404 w 10000"/>
                    <a:gd name="connsiteY22" fmla="*/ 311 h 9814"/>
                    <a:gd name="connsiteX23" fmla="*/ 5965 w 10000"/>
                    <a:gd name="connsiteY23" fmla="*/ 186 h 9814"/>
                    <a:gd name="connsiteX24" fmla="*/ 5526 w 10000"/>
                    <a:gd name="connsiteY24" fmla="*/ 0 h 9814"/>
                    <a:gd name="connsiteX25" fmla="*/ 5000 w 10000"/>
                    <a:gd name="connsiteY25" fmla="*/ 0 h 9814"/>
                    <a:gd name="connsiteX26" fmla="*/ 5000 w 10000"/>
                    <a:gd name="connsiteY26" fmla="*/ 0 h 9814"/>
                    <a:gd name="connsiteX27" fmla="*/ 4561 w 10000"/>
                    <a:gd name="connsiteY27" fmla="*/ 0 h 9814"/>
                    <a:gd name="connsiteX28" fmla="*/ 4123 w 10000"/>
                    <a:gd name="connsiteY28" fmla="*/ 186 h 9814"/>
                    <a:gd name="connsiteX29" fmla="*/ 3684 w 10000"/>
                    <a:gd name="connsiteY29" fmla="*/ 311 h 9814"/>
                    <a:gd name="connsiteX30" fmla="*/ 3246 w 10000"/>
                    <a:gd name="connsiteY30" fmla="*/ 559 h 9814"/>
                    <a:gd name="connsiteX31" fmla="*/ 2982 w 10000"/>
                    <a:gd name="connsiteY31" fmla="*/ 870 h 9814"/>
                    <a:gd name="connsiteX32" fmla="*/ 2719 w 10000"/>
                    <a:gd name="connsiteY32" fmla="*/ 1242 h 9814"/>
                    <a:gd name="connsiteX33" fmla="*/ 2544 w 10000"/>
                    <a:gd name="connsiteY33" fmla="*/ 1677 h 9814"/>
                    <a:gd name="connsiteX34" fmla="*/ 2544 w 10000"/>
                    <a:gd name="connsiteY34" fmla="*/ 2112 h 9814"/>
                    <a:gd name="connsiteX35" fmla="*/ 2544 w 10000"/>
                    <a:gd name="connsiteY35" fmla="*/ 2112 h 9814"/>
                    <a:gd name="connsiteX36" fmla="*/ 2632 w 10000"/>
                    <a:gd name="connsiteY36" fmla="*/ 2671 h 9814"/>
                    <a:gd name="connsiteX37" fmla="*/ 2982 w 10000"/>
                    <a:gd name="connsiteY37" fmla="*/ 3230 h 9814"/>
                    <a:gd name="connsiteX38" fmla="*/ 3421 w 10000"/>
                    <a:gd name="connsiteY38" fmla="*/ 3727 h 9814"/>
                    <a:gd name="connsiteX39" fmla="*/ 3860 w 10000"/>
                    <a:gd name="connsiteY39" fmla="*/ 4099 h 9814"/>
                    <a:gd name="connsiteX40" fmla="*/ 3860 w 10000"/>
                    <a:gd name="connsiteY40" fmla="*/ 4099 h 9814"/>
                    <a:gd name="connsiteX41" fmla="*/ 2895 w 10000"/>
                    <a:gd name="connsiteY41" fmla="*/ 4410 h 9814"/>
                    <a:gd name="connsiteX42" fmla="*/ 2105 w 10000"/>
                    <a:gd name="connsiteY42" fmla="*/ 4783 h 9814"/>
                    <a:gd name="connsiteX43" fmla="*/ 1404 w 10000"/>
                    <a:gd name="connsiteY43" fmla="*/ 5342 h 9814"/>
                    <a:gd name="connsiteX44" fmla="*/ 877 w 10000"/>
                    <a:gd name="connsiteY44" fmla="*/ 6087 h 9814"/>
                    <a:gd name="connsiteX45" fmla="*/ 439 w 10000"/>
                    <a:gd name="connsiteY45" fmla="*/ 6832 h 9814"/>
                    <a:gd name="connsiteX46" fmla="*/ 175 w 10000"/>
                    <a:gd name="connsiteY46" fmla="*/ 7702 h 9814"/>
                    <a:gd name="connsiteX47" fmla="*/ 0 w 10000"/>
                    <a:gd name="connsiteY47" fmla="*/ 8634 h 9814"/>
                    <a:gd name="connsiteX48" fmla="*/ 0 w 10000"/>
                    <a:gd name="connsiteY48" fmla="*/ 9689 h 9814"/>
                    <a:gd name="connsiteX0" fmla="*/ 9912 w 10000"/>
                    <a:gd name="connsiteY0" fmla="*/ 9937 h 9937"/>
                    <a:gd name="connsiteX1" fmla="*/ 10000 w 10000"/>
                    <a:gd name="connsiteY1" fmla="*/ 9873 h 9937"/>
                    <a:gd name="connsiteX2" fmla="*/ 10000 w 10000"/>
                    <a:gd name="connsiteY2" fmla="*/ 9873 h 9937"/>
                    <a:gd name="connsiteX3" fmla="*/ 10000 w 10000"/>
                    <a:gd name="connsiteY3" fmla="*/ 8798 h 9937"/>
                    <a:gd name="connsiteX4" fmla="*/ 9912 w 10000"/>
                    <a:gd name="connsiteY4" fmla="*/ 7848 h 9937"/>
                    <a:gd name="connsiteX5" fmla="*/ 9561 w 10000"/>
                    <a:gd name="connsiteY5" fmla="*/ 6961 h 9937"/>
                    <a:gd name="connsiteX6" fmla="*/ 9211 w 10000"/>
                    <a:gd name="connsiteY6" fmla="*/ 6202 h 9937"/>
                    <a:gd name="connsiteX7" fmla="*/ 8684 w 10000"/>
                    <a:gd name="connsiteY7" fmla="*/ 5443 h 9937"/>
                    <a:gd name="connsiteX8" fmla="*/ 7982 w 10000"/>
                    <a:gd name="connsiteY8" fmla="*/ 4874 h 9937"/>
                    <a:gd name="connsiteX9" fmla="*/ 7105 w 10000"/>
                    <a:gd name="connsiteY9" fmla="*/ 4494 h 9937"/>
                    <a:gd name="connsiteX10" fmla="*/ 6140 w 10000"/>
                    <a:gd name="connsiteY10" fmla="*/ 4177 h 9937"/>
                    <a:gd name="connsiteX11" fmla="*/ 6140 w 10000"/>
                    <a:gd name="connsiteY11" fmla="*/ 4177 h 9937"/>
                    <a:gd name="connsiteX12" fmla="*/ 6667 w 10000"/>
                    <a:gd name="connsiteY12" fmla="*/ 3798 h 9937"/>
                    <a:gd name="connsiteX13" fmla="*/ 7018 w 10000"/>
                    <a:gd name="connsiteY13" fmla="*/ 3291 h 9937"/>
                    <a:gd name="connsiteX14" fmla="*/ 7281 w 10000"/>
                    <a:gd name="connsiteY14" fmla="*/ 2722 h 9937"/>
                    <a:gd name="connsiteX15" fmla="*/ 7544 w 10000"/>
                    <a:gd name="connsiteY15" fmla="*/ 2152 h 9937"/>
                    <a:gd name="connsiteX16" fmla="*/ 7544 w 10000"/>
                    <a:gd name="connsiteY16" fmla="*/ 2152 h 9937"/>
                    <a:gd name="connsiteX17" fmla="*/ 7456 w 10000"/>
                    <a:gd name="connsiteY17" fmla="*/ 1709 h 9937"/>
                    <a:gd name="connsiteX18" fmla="*/ 7281 w 10000"/>
                    <a:gd name="connsiteY18" fmla="*/ 1266 h 9937"/>
                    <a:gd name="connsiteX19" fmla="*/ 7105 w 10000"/>
                    <a:gd name="connsiteY19" fmla="*/ 886 h 9937"/>
                    <a:gd name="connsiteX20" fmla="*/ 6754 w 10000"/>
                    <a:gd name="connsiteY20" fmla="*/ 570 h 9937"/>
                    <a:gd name="connsiteX21" fmla="*/ 6404 w 10000"/>
                    <a:gd name="connsiteY21" fmla="*/ 317 h 9937"/>
                    <a:gd name="connsiteX22" fmla="*/ 5965 w 10000"/>
                    <a:gd name="connsiteY22" fmla="*/ 190 h 9937"/>
                    <a:gd name="connsiteX23" fmla="*/ 5526 w 10000"/>
                    <a:gd name="connsiteY23" fmla="*/ 0 h 9937"/>
                    <a:gd name="connsiteX24" fmla="*/ 5000 w 10000"/>
                    <a:gd name="connsiteY24" fmla="*/ 0 h 9937"/>
                    <a:gd name="connsiteX25" fmla="*/ 5000 w 10000"/>
                    <a:gd name="connsiteY25" fmla="*/ 0 h 9937"/>
                    <a:gd name="connsiteX26" fmla="*/ 4561 w 10000"/>
                    <a:gd name="connsiteY26" fmla="*/ 0 h 9937"/>
                    <a:gd name="connsiteX27" fmla="*/ 4123 w 10000"/>
                    <a:gd name="connsiteY27" fmla="*/ 190 h 9937"/>
                    <a:gd name="connsiteX28" fmla="*/ 3684 w 10000"/>
                    <a:gd name="connsiteY28" fmla="*/ 317 h 9937"/>
                    <a:gd name="connsiteX29" fmla="*/ 3246 w 10000"/>
                    <a:gd name="connsiteY29" fmla="*/ 570 h 9937"/>
                    <a:gd name="connsiteX30" fmla="*/ 2982 w 10000"/>
                    <a:gd name="connsiteY30" fmla="*/ 886 h 9937"/>
                    <a:gd name="connsiteX31" fmla="*/ 2719 w 10000"/>
                    <a:gd name="connsiteY31" fmla="*/ 1266 h 9937"/>
                    <a:gd name="connsiteX32" fmla="*/ 2544 w 10000"/>
                    <a:gd name="connsiteY32" fmla="*/ 1709 h 9937"/>
                    <a:gd name="connsiteX33" fmla="*/ 2544 w 10000"/>
                    <a:gd name="connsiteY33" fmla="*/ 2152 h 9937"/>
                    <a:gd name="connsiteX34" fmla="*/ 2544 w 10000"/>
                    <a:gd name="connsiteY34" fmla="*/ 2152 h 9937"/>
                    <a:gd name="connsiteX35" fmla="*/ 2632 w 10000"/>
                    <a:gd name="connsiteY35" fmla="*/ 2722 h 9937"/>
                    <a:gd name="connsiteX36" fmla="*/ 2982 w 10000"/>
                    <a:gd name="connsiteY36" fmla="*/ 3291 h 9937"/>
                    <a:gd name="connsiteX37" fmla="*/ 3421 w 10000"/>
                    <a:gd name="connsiteY37" fmla="*/ 3798 h 9937"/>
                    <a:gd name="connsiteX38" fmla="*/ 3860 w 10000"/>
                    <a:gd name="connsiteY38" fmla="*/ 4177 h 9937"/>
                    <a:gd name="connsiteX39" fmla="*/ 3860 w 10000"/>
                    <a:gd name="connsiteY39" fmla="*/ 4177 h 9937"/>
                    <a:gd name="connsiteX40" fmla="*/ 2895 w 10000"/>
                    <a:gd name="connsiteY40" fmla="*/ 4494 h 9937"/>
                    <a:gd name="connsiteX41" fmla="*/ 2105 w 10000"/>
                    <a:gd name="connsiteY41" fmla="*/ 4874 h 9937"/>
                    <a:gd name="connsiteX42" fmla="*/ 1404 w 10000"/>
                    <a:gd name="connsiteY42" fmla="*/ 5443 h 9937"/>
                    <a:gd name="connsiteX43" fmla="*/ 877 w 10000"/>
                    <a:gd name="connsiteY43" fmla="*/ 6202 h 9937"/>
                    <a:gd name="connsiteX44" fmla="*/ 439 w 10000"/>
                    <a:gd name="connsiteY44" fmla="*/ 6961 h 9937"/>
                    <a:gd name="connsiteX45" fmla="*/ 175 w 10000"/>
                    <a:gd name="connsiteY45" fmla="*/ 7848 h 9937"/>
                    <a:gd name="connsiteX46" fmla="*/ 0 w 10000"/>
                    <a:gd name="connsiteY46" fmla="*/ 8798 h 9937"/>
                    <a:gd name="connsiteX47" fmla="*/ 0 w 10000"/>
                    <a:gd name="connsiteY47" fmla="*/ 9873 h 9937"/>
                    <a:gd name="connsiteX0" fmla="*/ 9912 w 10000"/>
                    <a:gd name="connsiteY0" fmla="*/ 10000 h 10000"/>
                    <a:gd name="connsiteX1" fmla="*/ 10000 w 10000"/>
                    <a:gd name="connsiteY1" fmla="*/ 9936 h 10000"/>
                    <a:gd name="connsiteX2" fmla="*/ 10000 w 10000"/>
                    <a:gd name="connsiteY2" fmla="*/ 8854 h 10000"/>
                    <a:gd name="connsiteX3" fmla="*/ 9912 w 10000"/>
                    <a:gd name="connsiteY3" fmla="*/ 7898 h 10000"/>
                    <a:gd name="connsiteX4" fmla="*/ 9561 w 10000"/>
                    <a:gd name="connsiteY4" fmla="*/ 7005 h 10000"/>
                    <a:gd name="connsiteX5" fmla="*/ 9211 w 10000"/>
                    <a:gd name="connsiteY5" fmla="*/ 6241 h 10000"/>
                    <a:gd name="connsiteX6" fmla="*/ 8684 w 10000"/>
                    <a:gd name="connsiteY6" fmla="*/ 5478 h 10000"/>
                    <a:gd name="connsiteX7" fmla="*/ 7982 w 10000"/>
                    <a:gd name="connsiteY7" fmla="*/ 4905 h 10000"/>
                    <a:gd name="connsiteX8" fmla="*/ 7105 w 10000"/>
                    <a:gd name="connsiteY8" fmla="*/ 4522 h 10000"/>
                    <a:gd name="connsiteX9" fmla="*/ 6140 w 10000"/>
                    <a:gd name="connsiteY9" fmla="*/ 4203 h 10000"/>
                    <a:gd name="connsiteX10" fmla="*/ 6140 w 10000"/>
                    <a:gd name="connsiteY10" fmla="*/ 4203 h 10000"/>
                    <a:gd name="connsiteX11" fmla="*/ 6667 w 10000"/>
                    <a:gd name="connsiteY11" fmla="*/ 3822 h 10000"/>
                    <a:gd name="connsiteX12" fmla="*/ 7018 w 10000"/>
                    <a:gd name="connsiteY12" fmla="*/ 3312 h 10000"/>
                    <a:gd name="connsiteX13" fmla="*/ 7281 w 10000"/>
                    <a:gd name="connsiteY13" fmla="*/ 2739 h 10000"/>
                    <a:gd name="connsiteX14" fmla="*/ 7544 w 10000"/>
                    <a:gd name="connsiteY14" fmla="*/ 2166 h 10000"/>
                    <a:gd name="connsiteX15" fmla="*/ 7544 w 10000"/>
                    <a:gd name="connsiteY15" fmla="*/ 2166 h 10000"/>
                    <a:gd name="connsiteX16" fmla="*/ 7456 w 10000"/>
                    <a:gd name="connsiteY16" fmla="*/ 1720 h 10000"/>
                    <a:gd name="connsiteX17" fmla="*/ 7281 w 10000"/>
                    <a:gd name="connsiteY17" fmla="*/ 1274 h 10000"/>
                    <a:gd name="connsiteX18" fmla="*/ 7105 w 10000"/>
                    <a:gd name="connsiteY18" fmla="*/ 892 h 10000"/>
                    <a:gd name="connsiteX19" fmla="*/ 6754 w 10000"/>
                    <a:gd name="connsiteY19" fmla="*/ 574 h 10000"/>
                    <a:gd name="connsiteX20" fmla="*/ 6404 w 10000"/>
                    <a:gd name="connsiteY20" fmla="*/ 319 h 10000"/>
                    <a:gd name="connsiteX21" fmla="*/ 5965 w 10000"/>
                    <a:gd name="connsiteY21" fmla="*/ 191 h 10000"/>
                    <a:gd name="connsiteX22" fmla="*/ 5526 w 10000"/>
                    <a:gd name="connsiteY22" fmla="*/ 0 h 10000"/>
                    <a:gd name="connsiteX23" fmla="*/ 5000 w 10000"/>
                    <a:gd name="connsiteY23" fmla="*/ 0 h 10000"/>
                    <a:gd name="connsiteX24" fmla="*/ 5000 w 10000"/>
                    <a:gd name="connsiteY24" fmla="*/ 0 h 10000"/>
                    <a:gd name="connsiteX25" fmla="*/ 4561 w 10000"/>
                    <a:gd name="connsiteY25" fmla="*/ 0 h 10000"/>
                    <a:gd name="connsiteX26" fmla="*/ 4123 w 10000"/>
                    <a:gd name="connsiteY26" fmla="*/ 191 h 10000"/>
                    <a:gd name="connsiteX27" fmla="*/ 3684 w 10000"/>
                    <a:gd name="connsiteY27" fmla="*/ 319 h 10000"/>
                    <a:gd name="connsiteX28" fmla="*/ 3246 w 10000"/>
                    <a:gd name="connsiteY28" fmla="*/ 574 h 10000"/>
                    <a:gd name="connsiteX29" fmla="*/ 2982 w 10000"/>
                    <a:gd name="connsiteY29" fmla="*/ 892 h 10000"/>
                    <a:gd name="connsiteX30" fmla="*/ 2719 w 10000"/>
                    <a:gd name="connsiteY30" fmla="*/ 1274 h 10000"/>
                    <a:gd name="connsiteX31" fmla="*/ 2544 w 10000"/>
                    <a:gd name="connsiteY31" fmla="*/ 1720 h 10000"/>
                    <a:gd name="connsiteX32" fmla="*/ 2544 w 10000"/>
                    <a:gd name="connsiteY32" fmla="*/ 2166 h 10000"/>
                    <a:gd name="connsiteX33" fmla="*/ 2544 w 10000"/>
                    <a:gd name="connsiteY33" fmla="*/ 2166 h 10000"/>
                    <a:gd name="connsiteX34" fmla="*/ 2632 w 10000"/>
                    <a:gd name="connsiteY34" fmla="*/ 2739 h 10000"/>
                    <a:gd name="connsiteX35" fmla="*/ 2982 w 10000"/>
                    <a:gd name="connsiteY35" fmla="*/ 3312 h 10000"/>
                    <a:gd name="connsiteX36" fmla="*/ 3421 w 10000"/>
                    <a:gd name="connsiteY36" fmla="*/ 3822 h 10000"/>
                    <a:gd name="connsiteX37" fmla="*/ 3860 w 10000"/>
                    <a:gd name="connsiteY37" fmla="*/ 4203 h 10000"/>
                    <a:gd name="connsiteX38" fmla="*/ 3860 w 10000"/>
                    <a:gd name="connsiteY38" fmla="*/ 4203 h 10000"/>
                    <a:gd name="connsiteX39" fmla="*/ 2895 w 10000"/>
                    <a:gd name="connsiteY39" fmla="*/ 4522 h 10000"/>
                    <a:gd name="connsiteX40" fmla="*/ 2105 w 10000"/>
                    <a:gd name="connsiteY40" fmla="*/ 4905 h 10000"/>
                    <a:gd name="connsiteX41" fmla="*/ 1404 w 10000"/>
                    <a:gd name="connsiteY41" fmla="*/ 5478 h 10000"/>
                    <a:gd name="connsiteX42" fmla="*/ 877 w 10000"/>
                    <a:gd name="connsiteY42" fmla="*/ 6241 h 10000"/>
                    <a:gd name="connsiteX43" fmla="*/ 439 w 10000"/>
                    <a:gd name="connsiteY43" fmla="*/ 7005 h 10000"/>
                    <a:gd name="connsiteX44" fmla="*/ 175 w 10000"/>
                    <a:gd name="connsiteY44" fmla="*/ 7898 h 10000"/>
                    <a:gd name="connsiteX45" fmla="*/ 0 w 10000"/>
                    <a:gd name="connsiteY45" fmla="*/ 8854 h 10000"/>
                    <a:gd name="connsiteX46" fmla="*/ 0 w 10000"/>
                    <a:gd name="connsiteY46" fmla="*/ 9936 h 10000"/>
                    <a:gd name="connsiteX0" fmla="*/ 9912 w 10000"/>
                    <a:gd name="connsiteY0" fmla="*/ 10000 h 10000"/>
                    <a:gd name="connsiteX1" fmla="*/ 10000 w 10000"/>
                    <a:gd name="connsiteY1" fmla="*/ 8854 h 10000"/>
                    <a:gd name="connsiteX2" fmla="*/ 9912 w 10000"/>
                    <a:gd name="connsiteY2" fmla="*/ 7898 h 10000"/>
                    <a:gd name="connsiteX3" fmla="*/ 9561 w 10000"/>
                    <a:gd name="connsiteY3" fmla="*/ 7005 h 10000"/>
                    <a:gd name="connsiteX4" fmla="*/ 9211 w 10000"/>
                    <a:gd name="connsiteY4" fmla="*/ 6241 h 10000"/>
                    <a:gd name="connsiteX5" fmla="*/ 8684 w 10000"/>
                    <a:gd name="connsiteY5" fmla="*/ 5478 h 10000"/>
                    <a:gd name="connsiteX6" fmla="*/ 7982 w 10000"/>
                    <a:gd name="connsiteY6" fmla="*/ 4905 h 10000"/>
                    <a:gd name="connsiteX7" fmla="*/ 7105 w 10000"/>
                    <a:gd name="connsiteY7" fmla="*/ 4522 h 10000"/>
                    <a:gd name="connsiteX8" fmla="*/ 6140 w 10000"/>
                    <a:gd name="connsiteY8" fmla="*/ 4203 h 10000"/>
                    <a:gd name="connsiteX9" fmla="*/ 6140 w 10000"/>
                    <a:gd name="connsiteY9" fmla="*/ 4203 h 10000"/>
                    <a:gd name="connsiteX10" fmla="*/ 6667 w 10000"/>
                    <a:gd name="connsiteY10" fmla="*/ 3822 h 10000"/>
                    <a:gd name="connsiteX11" fmla="*/ 7018 w 10000"/>
                    <a:gd name="connsiteY11" fmla="*/ 3312 h 10000"/>
                    <a:gd name="connsiteX12" fmla="*/ 7281 w 10000"/>
                    <a:gd name="connsiteY12" fmla="*/ 2739 h 10000"/>
                    <a:gd name="connsiteX13" fmla="*/ 7544 w 10000"/>
                    <a:gd name="connsiteY13" fmla="*/ 2166 h 10000"/>
                    <a:gd name="connsiteX14" fmla="*/ 7544 w 10000"/>
                    <a:gd name="connsiteY14" fmla="*/ 2166 h 10000"/>
                    <a:gd name="connsiteX15" fmla="*/ 7456 w 10000"/>
                    <a:gd name="connsiteY15" fmla="*/ 1720 h 10000"/>
                    <a:gd name="connsiteX16" fmla="*/ 7281 w 10000"/>
                    <a:gd name="connsiteY16" fmla="*/ 1274 h 10000"/>
                    <a:gd name="connsiteX17" fmla="*/ 7105 w 10000"/>
                    <a:gd name="connsiteY17" fmla="*/ 892 h 10000"/>
                    <a:gd name="connsiteX18" fmla="*/ 6754 w 10000"/>
                    <a:gd name="connsiteY18" fmla="*/ 574 h 10000"/>
                    <a:gd name="connsiteX19" fmla="*/ 6404 w 10000"/>
                    <a:gd name="connsiteY19" fmla="*/ 319 h 10000"/>
                    <a:gd name="connsiteX20" fmla="*/ 5965 w 10000"/>
                    <a:gd name="connsiteY20" fmla="*/ 191 h 10000"/>
                    <a:gd name="connsiteX21" fmla="*/ 5526 w 10000"/>
                    <a:gd name="connsiteY21" fmla="*/ 0 h 10000"/>
                    <a:gd name="connsiteX22" fmla="*/ 5000 w 10000"/>
                    <a:gd name="connsiteY22" fmla="*/ 0 h 10000"/>
                    <a:gd name="connsiteX23" fmla="*/ 5000 w 10000"/>
                    <a:gd name="connsiteY23" fmla="*/ 0 h 10000"/>
                    <a:gd name="connsiteX24" fmla="*/ 4561 w 10000"/>
                    <a:gd name="connsiteY24" fmla="*/ 0 h 10000"/>
                    <a:gd name="connsiteX25" fmla="*/ 4123 w 10000"/>
                    <a:gd name="connsiteY25" fmla="*/ 191 h 10000"/>
                    <a:gd name="connsiteX26" fmla="*/ 3684 w 10000"/>
                    <a:gd name="connsiteY26" fmla="*/ 319 h 10000"/>
                    <a:gd name="connsiteX27" fmla="*/ 3246 w 10000"/>
                    <a:gd name="connsiteY27" fmla="*/ 574 h 10000"/>
                    <a:gd name="connsiteX28" fmla="*/ 2982 w 10000"/>
                    <a:gd name="connsiteY28" fmla="*/ 892 h 10000"/>
                    <a:gd name="connsiteX29" fmla="*/ 2719 w 10000"/>
                    <a:gd name="connsiteY29" fmla="*/ 1274 h 10000"/>
                    <a:gd name="connsiteX30" fmla="*/ 2544 w 10000"/>
                    <a:gd name="connsiteY30" fmla="*/ 1720 h 10000"/>
                    <a:gd name="connsiteX31" fmla="*/ 2544 w 10000"/>
                    <a:gd name="connsiteY31" fmla="*/ 2166 h 10000"/>
                    <a:gd name="connsiteX32" fmla="*/ 2544 w 10000"/>
                    <a:gd name="connsiteY32" fmla="*/ 2166 h 10000"/>
                    <a:gd name="connsiteX33" fmla="*/ 2632 w 10000"/>
                    <a:gd name="connsiteY33" fmla="*/ 2739 h 10000"/>
                    <a:gd name="connsiteX34" fmla="*/ 2982 w 10000"/>
                    <a:gd name="connsiteY34" fmla="*/ 3312 h 10000"/>
                    <a:gd name="connsiteX35" fmla="*/ 3421 w 10000"/>
                    <a:gd name="connsiteY35" fmla="*/ 3822 h 10000"/>
                    <a:gd name="connsiteX36" fmla="*/ 3860 w 10000"/>
                    <a:gd name="connsiteY36" fmla="*/ 4203 h 10000"/>
                    <a:gd name="connsiteX37" fmla="*/ 3860 w 10000"/>
                    <a:gd name="connsiteY37" fmla="*/ 4203 h 10000"/>
                    <a:gd name="connsiteX38" fmla="*/ 2895 w 10000"/>
                    <a:gd name="connsiteY38" fmla="*/ 4522 h 10000"/>
                    <a:gd name="connsiteX39" fmla="*/ 2105 w 10000"/>
                    <a:gd name="connsiteY39" fmla="*/ 4905 h 10000"/>
                    <a:gd name="connsiteX40" fmla="*/ 1404 w 10000"/>
                    <a:gd name="connsiteY40" fmla="*/ 5478 h 10000"/>
                    <a:gd name="connsiteX41" fmla="*/ 877 w 10000"/>
                    <a:gd name="connsiteY41" fmla="*/ 6241 h 10000"/>
                    <a:gd name="connsiteX42" fmla="*/ 439 w 10000"/>
                    <a:gd name="connsiteY42" fmla="*/ 7005 h 10000"/>
                    <a:gd name="connsiteX43" fmla="*/ 175 w 10000"/>
                    <a:gd name="connsiteY43" fmla="*/ 7898 h 10000"/>
                    <a:gd name="connsiteX44" fmla="*/ 0 w 10000"/>
                    <a:gd name="connsiteY44" fmla="*/ 8854 h 10000"/>
                    <a:gd name="connsiteX45" fmla="*/ 0 w 10000"/>
                    <a:gd name="connsiteY45" fmla="*/ 9936 h 10000"/>
                    <a:gd name="connsiteX0" fmla="*/ 10000 w 10000"/>
                    <a:gd name="connsiteY0" fmla="*/ 8854 h 9936"/>
                    <a:gd name="connsiteX1" fmla="*/ 9912 w 10000"/>
                    <a:gd name="connsiteY1" fmla="*/ 7898 h 9936"/>
                    <a:gd name="connsiteX2" fmla="*/ 9561 w 10000"/>
                    <a:gd name="connsiteY2" fmla="*/ 7005 h 9936"/>
                    <a:gd name="connsiteX3" fmla="*/ 9211 w 10000"/>
                    <a:gd name="connsiteY3" fmla="*/ 6241 h 9936"/>
                    <a:gd name="connsiteX4" fmla="*/ 8684 w 10000"/>
                    <a:gd name="connsiteY4" fmla="*/ 5478 h 9936"/>
                    <a:gd name="connsiteX5" fmla="*/ 7982 w 10000"/>
                    <a:gd name="connsiteY5" fmla="*/ 4905 h 9936"/>
                    <a:gd name="connsiteX6" fmla="*/ 7105 w 10000"/>
                    <a:gd name="connsiteY6" fmla="*/ 4522 h 9936"/>
                    <a:gd name="connsiteX7" fmla="*/ 6140 w 10000"/>
                    <a:gd name="connsiteY7" fmla="*/ 4203 h 9936"/>
                    <a:gd name="connsiteX8" fmla="*/ 6140 w 10000"/>
                    <a:gd name="connsiteY8" fmla="*/ 4203 h 9936"/>
                    <a:gd name="connsiteX9" fmla="*/ 6667 w 10000"/>
                    <a:gd name="connsiteY9" fmla="*/ 3822 h 9936"/>
                    <a:gd name="connsiteX10" fmla="*/ 7018 w 10000"/>
                    <a:gd name="connsiteY10" fmla="*/ 3312 h 9936"/>
                    <a:gd name="connsiteX11" fmla="*/ 7281 w 10000"/>
                    <a:gd name="connsiteY11" fmla="*/ 2739 h 9936"/>
                    <a:gd name="connsiteX12" fmla="*/ 7544 w 10000"/>
                    <a:gd name="connsiteY12" fmla="*/ 2166 h 9936"/>
                    <a:gd name="connsiteX13" fmla="*/ 7544 w 10000"/>
                    <a:gd name="connsiteY13" fmla="*/ 2166 h 9936"/>
                    <a:gd name="connsiteX14" fmla="*/ 7456 w 10000"/>
                    <a:gd name="connsiteY14" fmla="*/ 1720 h 9936"/>
                    <a:gd name="connsiteX15" fmla="*/ 7281 w 10000"/>
                    <a:gd name="connsiteY15" fmla="*/ 1274 h 9936"/>
                    <a:gd name="connsiteX16" fmla="*/ 7105 w 10000"/>
                    <a:gd name="connsiteY16" fmla="*/ 892 h 9936"/>
                    <a:gd name="connsiteX17" fmla="*/ 6754 w 10000"/>
                    <a:gd name="connsiteY17" fmla="*/ 574 h 9936"/>
                    <a:gd name="connsiteX18" fmla="*/ 6404 w 10000"/>
                    <a:gd name="connsiteY18" fmla="*/ 319 h 9936"/>
                    <a:gd name="connsiteX19" fmla="*/ 5965 w 10000"/>
                    <a:gd name="connsiteY19" fmla="*/ 191 h 9936"/>
                    <a:gd name="connsiteX20" fmla="*/ 5526 w 10000"/>
                    <a:gd name="connsiteY20" fmla="*/ 0 h 9936"/>
                    <a:gd name="connsiteX21" fmla="*/ 5000 w 10000"/>
                    <a:gd name="connsiteY21" fmla="*/ 0 h 9936"/>
                    <a:gd name="connsiteX22" fmla="*/ 5000 w 10000"/>
                    <a:gd name="connsiteY22" fmla="*/ 0 h 9936"/>
                    <a:gd name="connsiteX23" fmla="*/ 4561 w 10000"/>
                    <a:gd name="connsiteY23" fmla="*/ 0 h 9936"/>
                    <a:gd name="connsiteX24" fmla="*/ 4123 w 10000"/>
                    <a:gd name="connsiteY24" fmla="*/ 191 h 9936"/>
                    <a:gd name="connsiteX25" fmla="*/ 3684 w 10000"/>
                    <a:gd name="connsiteY25" fmla="*/ 319 h 9936"/>
                    <a:gd name="connsiteX26" fmla="*/ 3246 w 10000"/>
                    <a:gd name="connsiteY26" fmla="*/ 574 h 9936"/>
                    <a:gd name="connsiteX27" fmla="*/ 2982 w 10000"/>
                    <a:gd name="connsiteY27" fmla="*/ 892 h 9936"/>
                    <a:gd name="connsiteX28" fmla="*/ 2719 w 10000"/>
                    <a:gd name="connsiteY28" fmla="*/ 1274 h 9936"/>
                    <a:gd name="connsiteX29" fmla="*/ 2544 w 10000"/>
                    <a:gd name="connsiteY29" fmla="*/ 1720 h 9936"/>
                    <a:gd name="connsiteX30" fmla="*/ 2544 w 10000"/>
                    <a:gd name="connsiteY30" fmla="*/ 2166 h 9936"/>
                    <a:gd name="connsiteX31" fmla="*/ 2544 w 10000"/>
                    <a:gd name="connsiteY31" fmla="*/ 2166 h 9936"/>
                    <a:gd name="connsiteX32" fmla="*/ 2632 w 10000"/>
                    <a:gd name="connsiteY32" fmla="*/ 2739 h 9936"/>
                    <a:gd name="connsiteX33" fmla="*/ 2982 w 10000"/>
                    <a:gd name="connsiteY33" fmla="*/ 3312 h 9936"/>
                    <a:gd name="connsiteX34" fmla="*/ 3421 w 10000"/>
                    <a:gd name="connsiteY34" fmla="*/ 3822 h 9936"/>
                    <a:gd name="connsiteX35" fmla="*/ 3860 w 10000"/>
                    <a:gd name="connsiteY35" fmla="*/ 4203 h 9936"/>
                    <a:gd name="connsiteX36" fmla="*/ 3860 w 10000"/>
                    <a:gd name="connsiteY36" fmla="*/ 4203 h 9936"/>
                    <a:gd name="connsiteX37" fmla="*/ 2895 w 10000"/>
                    <a:gd name="connsiteY37" fmla="*/ 4522 h 9936"/>
                    <a:gd name="connsiteX38" fmla="*/ 2105 w 10000"/>
                    <a:gd name="connsiteY38" fmla="*/ 4905 h 9936"/>
                    <a:gd name="connsiteX39" fmla="*/ 1404 w 10000"/>
                    <a:gd name="connsiteY39" fmla="*/ 5478 h 9936"/>
                    <a:gd name="connsiteX40" fmla="*/ 877 w 10000"/>
                    <a:gd name="connsiteY40" fmla="*/ 6241 h 9936"/>
                    <a:gd name="connsiteX41" fmla="*/ 439 w 10000"/>
                    <a:gd name="connsiteY41" fmla="*/ 7005 h 9936"/>
                    <a:gd name="connsiteX42" fmla="*/ 175 w 10000"/>
                    <a:gd name="connsiteY42" fmla="*/ 7898 h 9936"/>
                    <a:gd name="connsiteX43" fmla="*/ 0 w 10000"/>
                    <a:gd name="connsiteY43" fmla="*/ 8854 h 9936"/>
                    <a:gd name="connsiteX44" fmla="*/ 0 w 10000"/>
                    <a:gd name="connsiteY44" fmla="*/ 9936 h 9936"/>
                    <a:gd name="connsiteX0" fmla="*/ 9912 w 9912"/>
                    <a:gd name="connsiteY0" fmla="*/ 7949 h 10000"/>
                    <a:gd name="connsiteX1" fmla="*/ 9561 w 9912"/>
                    <a:gd name="connsiteY1" fmla="*/ 7050 h 10000"/>
                    <a:gd name="connsiteX2" fmla="*/ 9211 w 9912"/>
                    <a:gd name="connsiteY2" fmla="*/ 6281 h 10000"/>
                    <a:gd name="connsiteX3" fmla="*/ 8684 w 9912"/>
                    <a:gd name="connsiteY3" fmla="*/ 5513 h 10000"/>
                    <a:gd name="connsiteX4" fmla="*/ 7982 w 9912"/>
                    <a:gd name="connsiteY4" fmla="*/ 4937 h 10000"/>
                    <a:gd name="connsiteX5" fmla="*/ 7105 w 9912"/>
                    <a:gd name="connsiteY5" fmla="*/ 4551 h 10000"/>
                    <a:gd name="connsiteX6" fmla="*/ 6140 w 9912"/>
                    <a:gd name="connsiteY6" fmla="*/ 4230 h 10000"/>
                    <a:gd name="connsiteX7" fmla="*/ 6140 w 9912"/>
                    <a:gd name="connsiteY7" fmla="*/ 4230 h 10000"/>
                    <a:gd name="connsiteX8" fmla="*/ 6667 w 9912"/>
                    <a:gd name="connsiteY8" fmla="*/ 3847 h 10000"/>
                    <a:gd name="connsiteX9" fmla="*/ 7018 w 9912"/>
                    <a:gd name="connsiteY9" fmla="*/ 3333 h 10000"/>
                    <a:gd name="connsiteX10" fmla="*/ 7281 w 9912"/>
                    <a:gd name="connsiteY10" fmla="*/ 2757 h 10000"/>
                    <a:gd name="connsiteX11" fmla="*/ 7544 w 9912"/>
                    <a:gd name="connsiteY11" fmla="*/ 2180 h 10000"/>
                    <a:gd name="connsiteX12" fmla="*/ 7544 w 9912"/>
                    <a:gd name="connsiteY12" fmla="*/ 2180 h 10000"/>
                    <a:gd name="connsiteX13" fmla="*/ 7456 w 9912"/>
                    <a:gd name="connsiteY13" fmla="*/ 1731 h 10000"/>
                    <a:gd name="connsiteX14" fmla="*/ 7281 w 9912"/>
                    <a:gd name="connsiteY14" fmla="*/ 1282 h 10000"/>
                    <a:gd name="connsiteX15" fmla="*/ 7105 w 9912"/>
                    <a:gd name="connsiteY15" fmla="*/ 898 h 10000"/>
                    <a:gd name="connsiteX16" fmla="*/ 6754 w 9912"/>
                    <a:gd name="connsiteY16" fmla="*/ 578 h 10000"/>
                    <a:gd name="connsiteX17" fmla="*/ 6404 w 9912"/>
                    <a:gd name="connsiteY17" fmla="*/ 321 h 10000"/>
                    <a:gd name="connsiteX18" fmla="*/ 5965 w 9912"/>
                    <a:gd name="connsiteY18" fmla="*/ 192 h 10000"/>
                    <a:gd name="connsiteX19" fmla="*/ 5526 w 9912"/>
                    <a:gd name="connsiteY19" fmla="*/ 0 h 10000"/>
                    <a:gd name="connsiteX20" fmla="*/ 5000 w 9912"/>
                    <a:gd name="connsiteY20" fmla="*/ 0 h 10000"/>
                    <a:gd name="connsiteX21" fmla="*/ 5000 w 9912"/>
                    <a:gd name="connsiteY21" fmla="*/ 0 h 10000"/>
                    <a:gd name="connsiteX22" fmla="*/ 4561 w 9912"/>
                    <a:gd name="connsiteY22" fmla="*/ 0 h 10000"/>
                    <a:gd name="connsiteX23" fmla="*/ 4123 w 9912"/>
                    <a:gd name="connsiteY23" fmla="*/ 192 h 10000"/>
                    <a:gd name="connsiteX24" fmla="*/ 3684 w 9912"/>
                    <a:gd name="connsiteY24" fmla="*/ 321 h 10000"/>
                    <a:gd name="connsiteX25" fmla="*/ 3246 w 9912"/>
                    <a:gd name="connsiteY25" fmla="*/ 578 h 10000"/>
                    <a:gd name="connsiteX26" fmla="*/ 2982 w 9912"/>
                    <a:gd name="connsiteY26" fmla="*/ 898 h 10000"/>
                    <a:gd name="connsiteX27" fmla="*/ 2719 w 9912"/>
                    <a:gd name="connsiteY27" fmla="*/ 1282 h 10000"/>
                    <a:gd name="connsiteX28" fmla="*/ 2544 w 9912"/>
                    <a:gd name="connsiteY28" fmla="*/ 1731 h 10000"/>
                    <a:gd name="connsiteX29" fmla="*/ 2544 w 9912"/>
                    <a:gd name="connsiteY29" fmla="*/ 2180 h 10000"/>
                    <a:gd name="connsiteX30" fmla="*/ 2544 w 9912"/>
                    <a:gd name="connsiteY30" fmla="*/ 2180 h 10000"/>
                    <a:gd name="connsiteX31" fmla="*/ 2632 w 9912"/>
                    <a:gd name="connsiteY31" fmla="*/ 2757 h 10000"/>
                    <a:gd name="connsiteX32" fmla="*/ 2982 w 9912"/>
                    <a:gd name="connsiteY32" fmla="*/ 3333 h 10000"/>
                    <a:gd name="connsiteX33" fmla="*/ 3421 w 9912"/>
                    <a:gd name="connsiteY33" fmla="*/ 3847 h 10000"/>
                    <a:gd name="connsiteX34" fmla="*/ 3860 w 9912"/>
                    <a:gd name="connsiteY34" fmla="*/ 4230 h 10000"/>
                    <a:gd name="connsiteX35" fmla="*/ 3860 w 9912"/>
                    <a:gd name="connsiteY35" fmla="*/ 4230 h 10000"/>
                    <a:gd name="connsiteX36" fmla="*/ 2895 w 9912"/>
                    <a:gd name="connsiteY36" fmla="*/ 4551 h 10000"/>
                    <a:gd name="connsiteX37" fmla="*/ 2105 w 9912"/>
                    <a:gd name="connsiteY37" fmla="*/ 4937 h 10000"/>
                    <a:gd name="connsiteX38" fmla="*/ 1404 w 9912"/>
                    <a:gd name="connsiteY38" fmla="*/ 5513 h 10000"/>
                    <a:gd name="connsiteX39" fmla="*/ 877 w 9912"/>
                    <a:gd name="connsiteY39" fmla="*/ 6281 h 10000"/>
                    <a:gd name="connsiteX40" fmla="*/ 439 w 9912"/>
                    <a:gd name="connsiteY40" fmla="*/ 7050 h 10000"/>
                    <a:gd name="connsiteX41" fmla="*/ 175 w 9912"/>
                    <a:gd name="connsiteY41" fmla="*/ 7949 h 10000"/>
                    <a:gd name="connsiteX42" fmla="*/ 0 w 9912"/>
                    <a:gd name="connsiteY42" fmla="*/ 8911 h 10000"/>
                    <a:gd name="connsiteX43" fmla="*/ 0 w 9912"/>
                    <a:gd name="connsiteY43" fmla="*/ 10000 h 10000"/>
                    <a:gd name="connsiteX0" fmla="*/ 9646 w 9646"/>
                    <a:gd name="connsiteY0" fmla="*/ 7050 h 10000"/>
                    <a:gd name="connsiteX1" fmla="*/ 9293 w 9646"/>
                    <a:gd name="connsiteY1" fmla="*/ 6281 h 10000"/>
                    <a:gd name="connsiteX2" fmla="*/ 8761 w 9646"/>
                    <a:gd name="connsiteY2" fmla="*/ 5513 h 10000"/>
                    <a:gd name="connsiteX3" fmla="*/ 8053 w 9646"/>
                    <a:gd name="connsiteY3" fmla="*/ 4937 h 10000"/>
                    <a:gd name="connsiteX4" fmla="*/ 7168 w 9646"/>
                    <a:gd name="connsiteY4" fmla="*/ 4551 h 10000"/>
                    <a:gd name="connsiteX5" fmla="*/ 6195 w 9646"/>
                    <a:gd name="connsiteY5" fmla="*/ 4230 h 10000"/>
                    <a:gd name="connsiteX6" fmla="*/ 6195 w 9646"/>
                    <a:gd name="connsiteY6" fmla="*/ 4230 h 10000"/>
                    <a:gd name="connsiteX7" fmla="*/ 6726 w 9646"/>
                    <a:gd name="connsiteY7" fmla="*/ 3847 h 10000"/>
                    <a:gd name="connsiteX8" fmla="*/ 7080 w 9646"/>
                    <a:gd name="connsiteY8" fmla="*/ 3333 h 10000"/>
                    <a:gd name="connsiteX9" fmla="*/ 7346 w 9646"/>
                    <a:gd name="connsiteY9" fmla="*/ 2757 h 10000"/>
                    <a:gd name="connsiteX10" fmla="*/ 7611 w 9646"/>
                    <a:gd name="connsiteY10" fmla="*/ 2180 h 10000"/>
                    <a:gd name="connsiteX11" fmla="*/ 7611 w 9646"/>
                    <a:gd name="connsiteY11" fmla="*/ 2180 h 10000"/>
                    <a:gd name="connsiteX12" fmla="*/ 7522 w 9646"/>
                    <a:gd name="connsiteY12" fmla="*/ 1731 h 10000"/>
                    <a:gd name="connsiteX13" fmla="*/ 7346 w 9646"/>
                    <a:gd name="connsiteY13" fmla="*/ 1282 h 10000"/>
                    <a:gd name="connsiteX14" fmla="*/ 7168 w 9646"/>
                    <a:gd name="connsiteY14" fmla="*/ 898 h 10000"/>
                    <a:gd name="connsiteX15" fmla="*/ 6814 w 9646"/>
                    <a:gd name="connsiteY15" fmla="*/ 578 h 10000"/>
                    <a:gd name="connsiteX16" fmla="*/ 6461 w 9646"/>
                    <a:gd name="connsiteY16" fmla="*/ 321 h 10000"/>
                    <a:gd name="connsiteX17" fmla="*/ 6018 w 9646"/>
                    <a:gd name="connsiteY17" fmla="*/ 192 h 10000"/>
                    <a:gd name="connsiteX18" fmla="*/ 5575 w 9646"/>
                    <a:gd name="connsiteY18" fmla="*/ 0 h 10000"/>
                    <a:gd name="connsiteX19" fmla="*/ 5044 w 9646"/>
                    <a:gd name="connsiteY19" fmla="*/ 0 h 10000"/>
                    <a:gd name="connsiteX20" fmla="*/ 5044 w 9646"/>
                    <a:gd name="connsiteY20" fmla="*/ 0 h 10000"/>
                    <a:gd name="connsiteX21" fmla="*/ 4601 w 9646"/>
                    <a:gd name="connsiteY21" fmla="*/ 0 h 10000"/>
                    <a:gd name="connsiteX22" fmla="*/ 4160 w 9646"/>
                    <a:gd name="connsiteY22" fmla="*/ 192 h 10000"/>
                    <a:gd name="connsiteX23" fmla="*/ 3717 w 9646"/>
                    <a:gd name="connsiteY23" fmla="*/ 321 h 10000"/>
                    <a:gd name="connsiteX24" fmla="*/ 3275 w 9646"/>
                    <a:gd name="connsiteY24" fmla="*/ 578 h 10000"/>
                    <a:gd name="connsiteX25" fmla="*/ 3008 w 9646"/>
                    <a:gd name="connsiteY25" fmla="*/ 898 h 10000"/>
                    <a:gd name="connsiteX26" fmla="*/ 2743 w 9646"/>
                    <a:gd name="connsiteY26" fmla="*/ 1282 h 10000"/>
                    <a:gd name="connsiteX27" fmla="*/ 2567 w 9646"/>
                    <a:gd name="connsiteY27" fmla="*/ 1731 h 10000"/>
                    <a:gd name="connsiteX28" fmla="*/ 2567 w 9646"/>
                    <a:gd name="connsiteY28" fmla="*/ 2180 h 10000"/>
                    <a:gd name="connsiteX29" fmla="*/ 2567 w 9646"/>
                    <a:gd name="connsiteY29" fmla="*/ 2180 h 10000"/>
                    <a:gd name="connsiteX30" fmla="*/ 2655 w 9646"/>
                    <a:gd name="connsiteY30" fmla="*/ 2757 h 10000"/>
                    <a:gd name="connsiteX31" fmla="*/ 3008 w 9646"/>
                    <a:gd name="connsiteY31" fmla="*/ 3333 h 10000"/>
                    <a:gd name="connsiteX32" fmla="*/ 3451 w 9646"/>
                    <a:gd name="connsiteY32" fmla="*/ 3847 h 10000"/>
                    <a:gd name="connsiteX33" fmla="*/ 3894 w 9646"/>
                    <a:gd name="connsiteY33" fmla="*/ 4230 h 10000"/>
                    <a:gd name="connsiteX34" fmla="*/ 3894 w 9646"/>
                    <a:gd name="connsiteY34" fmla="*/ 4230 h 10000"/>
                    <a:gd name="connsiteX35" fmla="*/ 2921 w 9646"/>
                    <a:gd name="connsiteY35" fmla="*/ 4551 h 10000"/>
                    <a:gd name="connsiteX36" fmla="*/ 2124 w 9646"/>
                    <a:gd name="connsiteY36" fmla="*/ 4937 h 10000"/>
                    <a:gd name="connsiteX37" fmla="*/ 1416 w 9646"/>
                    <a:gd name="connsiteY37" fmla="*/ 5513 h 10000"/>
                    <a:gd name="connsiteX38" fmla="*/ 885 w 9646"/>
                    <a:gd name="connsiteY38" fmla="*/ 6281 h 10000"/>
                    <a:gd name="connsiteX39" fmla="*/ 443 w 9646"/>
                    <a:gd name="connsiteY39" fmla="*/ 7050 h 10000"/>
                    <a:gd name="connsiteX40" fmla="*/ 177 w 9646"/>
                    <a:gd name="connsiteY40" fmla="*/ 7949 h 10000"/>
                    <a:gd name="connsiteX41" fmla="*/ 0 w 9646"/>
                    <a:gd name="connsiteY41" fmla="*/ 8911 h 10000"/>
                    <a:gd name="connsiteX42" fmla="*/ 0 w 9646"/>
                    <a:gd name="connsiteY42" fmla="*/ 10000 h 10000"/>
                    <a:gd name="connsiteX0" fmla="*/ 9634 w 9634"/>
                    <a:gd name="connsiteY0" fmla="*/ 6281 h 10000"/>
                    <a:gd name="connsiteX1" fmla="*/ 9083 w 9634"/>
                    <a:gd name="connsiteY1" fmla="*/ 5513 h 10000"/>
                    <a:gd name="connsiteX2" fmla="*/ 8349 w 9634"/>
                    <a:gd name="connsiteY2" fmla="*/ 4937 h 10000"/>
                    <a:gd name="connsiteX3" fmla="*/ 7431 w 9634"/>
                    <a:gd name="connsiteY3" fmla="*/ 4551 h 10000"/>
                    <a:gd name="connsiteX4" fmla="*/ 6422 w 9634"/>
                    <a:gd name="connsiteY4" fmla="*/ 4230 h 10000"/>
                    <a:gd name="connsiteX5" fmla="*/ 6422 w 9634"/>
                    <a:gd name="connsiteY5" fmla="*/ 4230 h 10000"/>
                    <a:gd name="connsiteX6" fmla="*/ 6973 w 9634"/>
                    <a:gd name="connsiteY6" fmla="*/ 3847 h 10000"/>
                    <a:gd name="connsiteX7" fmla="*/ 7340 w 9634"/>
                    <a:gd name="connsiteY7" fmla="*/ 3333 h 10000"/>
                    <a:gd name="connsiteX8" fmla="*/ 7616 w 9634"/>
                    <a:gd name="connsiteY8" fmla="*/ 2757 h 10000"/>
                    <a:gd name="connsiteX9" fmla="*/ 7890 w 9634"/>
                    <a:gd name="connsiteY9" fmla="*/ 2180 h 10000"/>
                    <a:gd name="connsiteX10" fmla="*/ 7890 w 9634"/>
                    <a:gd name="connsiteY10" fmla="*/ 2180 h 10000"/>
                    <a:gd name="connsiteX11" fmla="*/ 7798 w 9634"/>
                    <a:gd name="connsiteY11" fmla="*/ 1731 h 10000"/>
                    <a:gd name="connsiteX12" fmla="*/ 7616 w 9634"/>
                    <a:gd name="connsiteY12" fmla="*/ 1282 h 10000"/>
                    <a:gd name="connsiteX13" fmla="*/ 7431 w 9634"/>
                    <a:gd name="connsiteY13" fmla="*/ 898 h 10000"/>
                    <a:gd name="connsiteX14" fmla="*/ 7064 w 9634"/>
                    <a:gd name="connsiteY14" fmla="*/ 578 h 10000"/>
                    <a:gd name="connsiteX15" fmla="*/ 6698 w 9634"/>
                    <a:gd name="connsiteY15" fmla="*/ 321 h 10000"/>
                    <a:gd name="connsiteX16" fmla="*/ 6239 w 9634"/>
                    <a:gd name="connsiteY16" fmla="*/ 192 h 10000"/>
                    <a:gd name="connsiteX17" fmla="*/ 5780 w 9634"/>
                    <a:gd name="connsiteY17" fmla="*/ 0 h 10000"/>
                    <a:gd name="connsiteX18" fmla="*/ 5229 w 9634"/>
                    <a:gd name="connsiteY18" fmla="*/ 0 h 10000"/>
                    <a:gd name="connsiteX19" fmla="*/ 5229 w 9634"/>
                    <a:gd name="connsiteY19" fmla="*/ 0 h 10000"/>
                    <a:gd name="connsiteX20" fmla="*/ 4770 w 9634"/>
                    <a:gd name="connsiteY20" fmla="*/ 0 h 10000"/>
                    <a:gd name="connsiteX21" fmla="*/ 4313 w 9634"/>
                    <a:gd name="connsiteY21" fmla="*/ 192 h 10000"/>
                    <a:gd name="connsiteX22" fmla="*/ 3853 w 9634"/>
                    <a:gd name="connsiteY22" fmla="*/ 321 h 10000"/>
                    <a:gd name="connsiteX23" fmla="*/ 3395 w 9634"/>
                    <a:gd name="connsiteY23" fmla="*/ 578 h 10000"/>
                    <a:gd name="connsiteX24" fmla="*/ 3118 w 9634"/>
                    <a:gd name="connsiteY24" fmla="*/ 898 h 10000"/>
                    <a:gd name="connsiteX25" fmla="*/ 2844 w 9634"/>
                    <a:gd name="connsiteY25" fmla="*/ 1282 h 10000"/>
                    <a:gd name="connsiteX26" fmla="*/ 2661 w 9634"/>
                    <a:gd name="connsiteY26" fmla="*/ 1731 h 10000"/>
                    <a:gd name="connsiteX27" fmla="*/ 2661 w 9634"/>
                    <a:gd name="connsiteY27" fmla="*/ 2180 h 10000"/>
                    <a:gd name="connsiteX28" fmla="*/ 2661 w 9634"/>
                    <a:gd name="connsiteY28" fmla="*/ 2180 h 10000"/>
                    <a:gd name="connsiteX29" fmla="*/ 2752 w 9634"/>
                    <a:gd name="connsiteY29" fmla="*/ 2757 h 10000"/>
                    <a:gd name="connsiteX30" fmla="*/ 3118 w 9634"/>
                    <a:gd name="connsiteY30" fmla="*/ 3333 h 10000"/>
                    <a:gd name="connsiteX31" fmla="*/ 3578 w 9634"/>
                    <a:gd name="connsiteY31" fmla="*/ 3847 h 10000"/>
                    <a:gd name="connsiteX32" fmla="*/ 4037 w 9634"/>
                    <a:gd name="connsiteY32" fmla="*/ 4230 h 10000"/>
                    <a:gd name="connsiteX33" fmla="*/ 4037 w 9634"/>
                    <a:gd name="connsiteY33" fmla="*/ 4230 h 10000"/>
                    <a:gd name="connsiteX34" fmla="*/ 3028 w 9634"/>
                    <a:gd name="connsiteY34" fmla="*/ 4551 h 10000"/>
                    <a:gd name="connsiteX35" fmla="*/ 2202 w 9634"/>
                    <a:gd name="connsiteY35" fmla="*/ 4937 h 10000"/>
                    <a:gd name="connsiteX36" fmla="*/ 1468 w 9634"/>
                    <a:gd name="connsiteY36" fmla="*/ 5513 h 10000"/>
                    <a:gd name="connsiteX37" fmla="*/ 917 w 9634"/>
                    <a:gd name="connsiteY37" fmla="*/ 6281 h 10000"/>
                    <a:gd name="connsiteX38" fmla="*/ 459 w 9634"/>
                    <a:gd name="connsiteY38" fmla="*/ 7050 h 10000"/>
                    <a:gd name="connsiteX39" fmla="*/ 183 w 9634"/>
                    <a:gd name="connsiteY39" fmla="*/ 7949 h 10000"/>
                    <a:gd name="connsiteX40" fmla="*/ 0 w 9634"/>
                    <a:gd name="connsiteY40" fmla="*/ 8911 h 10000"/>
                    <a:gd name="connsiteX41" fmla="*/ 0 w 9634"/>
                    <a:gd name="connsiteY41" fmla="*/ 1000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9634" h="10000">
                      <a:moveTo>
                        <a:pt x="9634" y="6281"/>
                      </a:moveTo>
                      <a:lnTo>
                        <a:pt x="9083" y="5513"/>
                      </a:lnTo>
                      <a:lnTo>
                        <a:pt x="8349" y="4937"/>
                      </a:lnTo>
                      <a:lnTo>
                        <a:pt x="7431" y="4551"/>
                      </a:lnTo>
                      <a:lnTo>
                        <a:pt x="6422" y="4230"/>
                      </a:lnTo>
                      <a:lnTo>
                        <a:pt x="6422" y="4230"/>
                      </a:lnTo>
                      <a:lnTo>
                        <a:pt x="6973" y="3847"/>
                      </a:lnTo>
                      <a:lnTo>
                        <a:pt x="7340" y="3333"/>
                      </a:lnTo>
                      <a:cubicBezTo>
                        <a:pt x="7432" y="3142"/>
                        <a:pt x="7523" y="2948"/>
                        <a:pt x="7616" y="2757"/>
                      </a:cubicBezTo>
                      <a:lnTo>
                        <a:pt x="7890" y="2180"/>
                      </a:lnTo>
                      <a:lnTo>
                        <a:pt x="7890" y="2180"/>
                      </a:lnTo>
                      <a:cubicBezTo>
                        <a:pt x="7860" y="2030"/>
                        <a:pt x="7828" y="1881"/>
                        <a:pt x="7798" y="1731"/>
                      </a:cubicBezTo>
                      <a:cubicBezTo>
                        <a:pt x="7738" y="1581"/>
                        <a:pt x="7676" y="1431"/>
                        <a:pt x="7616" y="1282"/>
                      </a:cubicBezTo>
                      <a:cubicBezTo>
                        <a:pt x="7553" y="1154"/>
                        <a:pt x="7493" y="1026"/>
                        <a:pt x="7431" y="898"/>
                      </a:cubicBezTo>
                      <a:lnTo>
                        <a:pt x="7064" y="578"/>
                      </a:lnTo>
                      <a:lnTo>
                        <a:pt x="6698" y="321"/>
                      </a:lnTo>
                      <a:lnTo>
                        <a:pt x="6239" y="192"/>
                      </a:lnTo>
                      <a:lnTo>
                        <a:pt x="5780" y="0"/>
                      </a:lnTo>
                      <a:lnTo>
                        <a:pt x="5229" y="0"/>
                      </a:lnTo>
                      <a:lnTo>
                        <a:pt x="5229" y="0"/>
                      </a:lnTo>
                      <a:lnTo>
                        <a:pt x="4770" y="0"/>
                      </a:lnTo>
                      <a:lnTo>
                        <a:pt x="4313" y="192"/>
                      </a:lnTo>
                      <a:lnTo>
                        <a:pt x="3853" y="321"/>
                      </a:lnTo>
                      <a:lnTo>
                        <a:pt x="3395" y="578"/>
                      </a:lnTo>
                      <a:lnTo>
                        <a:pt x="3118" y="898"/>
                      </a:lnTo>
                      <a:lnTo>
                        <a:pt x="2844" y="1282"/>
                      </a:lnTo>
                      <a:cubicBezTo>
                        <a:pt x="2784" y="1431"/>
                        <a:pt x="2721" y="1581"/>
                        <a:pt x="2661" y="1731"/>
                      </a:cubicBezTo>
                      <a:lnTo>
                        <a:pt x="2661" y="2180"/>
                      </a:lnTo>
                      <a:lnTo>
                        <a:pt x="2661" y="2180"/>
                      </a:lnTo>
                      <a:cubicBezTo>
                        <a:pt x="2691" y="2372"/>
                        <a:pt x="2722" y="2564"/>
                        <a:pt x="2752" y="2757"/>
                      </a:cubicBezTo>
                      <a:lnTo>
                        <a:pt x="3118" y="3333"/>
                      </a:lnTo>
                      <a:lnTo>
                        <a:pt x="3578" y="3847"/>
                      </a:lnTo>
                      <a:lnTo>
                        <a:pt x="4037" y="4230"/>
                      </a:lnTo>
                      <a:lnTo>
                        <a:pt x="4037" y="4230"/>
                      </a:lnTo>
                      <a:lnTo>
                        <a:pt x="3028" y="4551"/>
                      </a:lnTo>
                      <a:lnTo>
                        <a:pt x="2202" y="4937"/>
                      </a:lnTo>
                      <a:lnTo>
                        <a:pt x="1468" y="5513"/>
                      </a:lnTo>
                      <a:lnTo>
                        <a:pt x="917" y="6281"/>
                      </a:lnTo>
                      <a:lnTo>
                        <a:pt x="459" y="7050"/>
                      </a:lnTo>
                      <a:lnTo>
                        <a:pt x="183" y="7949"/>
                      </a:lnTo>
                      <a:lnTo>
                        <a:pt x="0" y="8911"/>
                      </a:lnTo>
                      <a:lnTo>
                        <a:pt x="0" y="10000"/>
                      </a:lnTo>
                    </a:path>
                  </a:pathLst>
                </a:custGeom>
                <a:noFill/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>
                    <a:defRPr/>
                  </a:pPr>
                  <a:endParaRPr lang="en-US" sz="1800">
                    <a:solidFill>
                      <a:srgbClr val="263147"/>
                    </a:solidFill>
                    <a:cs typeface="Arial" charset="0"/>
                  </a:endParaRPr>
                </a:p>
              </p:txBody>
            </p:sp>
            <p:cxnSp>
              <p:nvCxnSpPr>
                <p:cNvPr id="25" name="Connecteur droit 325"/>
                <p:cNvCxnSpPr/>
                <p:nvPr/>
              </p:nvCxnSpPr>
              <p:spPr>
                <a:xfrm flipV="1">
                  <a:off x="4476193" y="4957472"/>
                  <a:ext cx="87297" cy="4115"/>
                </a:xfrm>
                <a:prstGeom prst="line">
                  <a:avLst/>
                </a:prstGeom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9" name="Groupe 32"/>
            <p:cNvGrpSpPr>
              <a:grpSpLocks/>
            </p:cNvGrpSpPr>
            <p:nvPr userDrawn="1"/>
          </p:nvGrpSpPr>
          <p:grpSpPr bwMode="auto">
            <a:xfrm>
              <a:off x="8691235" y="2740981"/>
              <a:ext cx="389203" cy="362534"/>
              <a:chOff x="4999013" y="3508177"/>
              <a:chExt cx="228601" cy="217487"/>
            </a:xfrm>
          </p:grpSpPr>
          <p:sp>
            <p:nvSpPr>
              <p:cNvPr id="16" name="Freeform 213"/>
              <p:cNvSpPr>
                <a:spLocks/>
              </p:cNvSpPr>
              <p:nvPr/>
            </p:nvSpPr>
            <p:spPr bwMode="auto">
              <a:xfrm>
                <a:off x="4999361" y="3508591"/>
                <a:ext cx="85862" cy="83804"/>
              </a:xfrm>
              <a:custGeom>
                <a:avLst/>
                <a:gdLst/>
                <a:ahLst/>
                <a:cxnLst>
                  <a:cxn ang="0">
                    <a:pos x="54" y="42"/>
                  </a:cxn>
                  <a:cxn ang="0">
                    <a:pos x="54" y="42"/>
                  </a:cxn>
                  <a:cxn ang="0">
                    <a:pos x="54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2" y="53"/>
                  </a:cxn>
                  <a:cxn ang="0">
                    <a:pos x="12" y="53"/>
                  </a:cxn>
                  <a:cxn ang="0">
                    <a:pos x="7" y="53"/>
                  </a:cxn>
                  <a:cxn ang="0">
                    <a:pos x="3" y="51"/>
                  </a:cxn>
                  <a:cxn ang="0">
                    <a:pos x="0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7"/>
                  </a:cxn>
                  <a:cxn ang="0">
                    <a:pos x="3" y="3"/>
                  </a:cxn>
                  <a:cxn ang="0">
                    <a:pos x="7" y="0"/>
                  </a:cxn>
                  <a:cxn ang="0">
                    <a:pos x="12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4" y="7"/>
                  </a:cxn>
                  <a:cxn ang="0">
                    <a:pos x="54" y="12"/>
                  </a:cxn>
                  <a:cxn ang="0">
                    <a:pos x="54" y="42"/>
                  </a:cxn>
                </a:cxnLst>
                <a:rect l="0" t="0" r="r" b="b"/>
                <a:pathLst>
                  <a:path w="54" h="53">
                    <a:moveTo>
                      <a:pt x="54" y="42"/>
                    </a:moveTo>
                    <a:lnTo>
                      <a:pt x="54" y="42"/>
                    </a:lnTo>
                    <a:lnTo>
                      <a:pt x="54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2" y="53"/>
                    </a:lnTo>
                    <a:lnTo>
                      <a:pt x="12" y="53"/>
                    </a:lnTo>
                    <a:lnTo>
                      <a:pt x="7" y="53"/>
                    </a:lnTo>
                    <a:lnTo>
                      <a:pt x="3" y="51"/>
                    </a:lnTo>
                    <a:lnTo>
                      <a:pt x="0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7" y="0"/>
                    </a:lnTo>
                    <a:lnTo>
                      <a:pt x="1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4" y="7"/>
                    </a:lnTo>
                    <a:lnTo>
                      <a:pt x="54" y="12"/>
                    </a:lnTo>
                    <a:lnTo>
                      <a:pt x="54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7" name="Freeform 214"/>
              <p:cNvSpPr>
                <a:spLocks/>
              </p:cNvSpPr>
              <p:nvPr/>
            </p:nvSpPr>
            <p:spPr bwMode="auto">
              <a:xfrm>
                <a:off x="5139770" y="3508591"/>
                <a:ext cx="87881" cy="83804"/>
              </a:xfrm>
              <a:custGeom>
                <a:avLst/>
                <a:gdLst/>
                <a:ahLst/>
                <a:cxnLst>
                  <a:cxn ang="0">
                    <a:pos x="55" y="42"/>
                  </a:cxn>
                  <a:cxn ang="0">
                    <a:pos x="55" y="42"/>
                  </a:cxn>
                  <a:cxn ang="0">
                    <a:pos x="53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1" y="53"/>
                  </a:cxn>
                  <a:cxn ang="0">
                    <a:pos x="11" y="53"/>
                  </a:cxn>
                  <a:cxn ang="0">
                    <a:pos x="8" y="53"/>
                  </a:cxn>
                  <a:cxn ang="0">
                    <a:pos x="4" y="51"/>
                  </a:cxn>
                  <a:cxn ang="0">
                    <a:pos x="1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4" y="3"/>
                  </a:cxn>
                  <a:cxn ang="0">
                    <a:pos x="8" y="0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3" y="7"/>
                  </a:cxn>
                  <a:cxn ang="0">
                    <a:pos x="55" y="12"/>
                  </a:cxn>
                  <a:cxn ang="0">
                    <a:pos x="55" y="42"/>
                  </a:cxn>
                </a:cxnLst>
                <a:rect l="0" t="0" r="r" b="b"/>
                <a:pathLst>
                  <a:path w="55" h="53">
                    <a:moveTo>
                      <a:pt x="55" y="42"/>
                    </a:moveTo>
                    <a:lnTo>
                      <a:pt x="55" y="42"/>
                    </a:lnTo>
                    <a:lnTo>
                      <a:pt x="53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1" y="53"/>
                    </a:lnTo>
                    <a:lnTo>
                      <a:pt x="11" y="53"/>
                    </a:lnTo>
                    <a:lnTo>
                      <a:pt x="8" y="53"/>
                    </a:lnTo>
                    <a:lnTo>
                      <a:pt x="4" y="51"/>
                    </a:lnTo>
                    <a:lnTo>
                      <a:pt x="1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4" y="3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3" y="7"/>
                    </a:lnTo>
                    <a:lnTo>
                      <a:pt x="55" y="12"/>
                    </a:lnTo>
                    <a:lnTo>
                      <a:pt x="55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8" name="Freeform 215"/>
              <p:cNvSpPr>
                <a:spLocks/>
              </p:cNvSpPr>
              <p:nvPr/>
            </p:nvSpPr>
            <p:spPr bwMode="auto">
              <a:xfrm>
                <a:off x="5071081" y="3640011"/>
                <a:ext cx="84851" cy="85709"/>
              </a:xfrm>
              <a:custGeom>
                <a:avLst/>
                <a:gdLst/>
                <a:ahLst/>
                <a:cxnLst>
                  <a:cxn ang="0">
                    <a:pos x="36" y="54"/>
                  </a:cxn>
                  <a:cxn ang="0">
                    <a:pos x="29" y="54"/>
                  </a:cxn>
                  <a:cxn ang="0">
                    <a:pos x="11" y="54"/>
                  </a:cxn>
                  <a:cxn ang="0">
                    <a:pos x="11" y="54"/>
                  </a:cxn>
                  <a:cxn ang="0">
                    <a:pos x="7" y="53"/>
                  </a:cxn>
                  <a:cxn ang="0">
                    <a:pos x="3" y="50"/>
                  </a:cxn>
                  <a:cxn ang="0">
                    <a:pos x="1" y="46"/>
                  </a:cxn>
                  <a:cxn ang="0">
                    <a:pos x="0" y="43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3" y="3"/>
                  </a:cxn>
                  <a:cxn ang="0">
                    <a:pos x="7" y="1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1"/>
                  </a:cxn>
                  <a:cxn ang="0">
                    <a:pos x="50" y="3"/>
                  </a:cxn>
                  <a:cxn ang="0">
                    <a:pos x="53" y="7"/>
                  </a:cxn>
                  <a:cxn ang="0">
                    <a:pos x="54" y="12"/>
                  </a:cxn>
                  <a:cxn ang="0">
                    <a:pos x="54" y="43"/>
                  </a:cxn>
                </a:cxnLst>
                <a:rect l="0" t="0" r="r" b="b"/>
                <a:pathLst>
                  <a:path w="54" h="54">
                    <a:moveTo>
                      <a:pt x="36" y="54"/>
                    </a:moveTo>
                    <a:lnTo>
                      <a:pt x="29" y="54"/>
                    </a:lnTo>
                    <a:lnTo>
                      <a:pt x="11" y="54"/>
                    </a:lnTo>
                    <a:lnTo>
                      <a:pt x="11" y="54"/>
                    </a:lnTo>
                    <a:lnTo>
                      <a:pt x="7" y="53"/>
                    </a:lnTo>
                    <a:lnTo>
                      <a:pt x="3" y="50"/>
                    </a:lnTo>
                    <a:lnTo>
                      <a:pt x="1" y="46"/>
                    </a:lnTo>
                    <a:lnTo>
                      <a:pt x="0" y="43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3" y="3"/>
                    </a:lnTo>
                    <a:lnTo>
                      <a:pt x="7" y="1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1"/>
                    </a:lnTo>
                    <a:lnTo>
                      <a:pt x="50" y="3"/>
                    </a:lnTo>
                    <a:lnTo>
                      <a:pt x="53" y="7"/>
                    </a:lnTo>
                    <a:lnTo>
                      <a:pt x="54" y="12"/>
                    </a:lnTo>
                    <a:lnTo>
                      <a:pt x="54" y="43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9" name="Freeform 216"/>
              <p:cNvSpPr>
                <a:spLocks/>
              </p:cNvSpPr>
              <p:nvPr/>
            </p:nvSpPr>
            <p:spPr bwMode="auto">
              <a:xfrm>
                <a:off x="5037746" y="3596204"/>
                <a:ext cx="148490" cy="17142"/>
              </a:xfrm>
              <a:custGeom>
                <a:avLst/>
                <a:gdLst/>
                <a:ahLst/>
                <a:cxnLst>
                  <a:cxn ang="0">
                    <a:pos x="94" y="0"/>
                  </a:cxn>
                  <a:cxn ang="0">
                    <a:pos x="94" y="0"/>
                  </a:cxn>
                  <a:cxn ang="0">
                    <a:pos x="94" y="5"/>
                  </a:cxn>
                  <a:cxn ang="0">
                    <a:pos x="92" y="9"/>
                  </a:cxn>
                  <a:cxn ang="0">
                    <a:pos x="88" y="10"/>
                  </a:cxn>
                  <a:cxn ang="0">
                    <a:pos x="83" y="11"/>
                  </a:cxn>
                  <a:cxn ang="0">
                    <a:pos x="47" y="11"/>
                  </a:cxn>
                  <a:cxn ang="0">
                    <a:pos x="12" y="11"/>
                  </a:cxn>
                  <a:cxn ang="0">
                    <a:pos x="12" y="11"/>
                  </a:cxn>
                  <a:cxn ang="0">
                    <a:pos x="8" y="10"/>
                  </a:cxn>
                  <a:cxn ang="0">
                    <a:pos x="4" y="9"/>
                  </a:cxn>
                  <a:cxn ang="0">
                    <a:pos x="2" y="5"/>
                  </a:cxn>
                  <a:cxn ang="0">
                    <a:pos x="0" y="0"/>
                  </a:cxn>
                </a:cxnLst>
                <a:rect l="0" t="0" r="r" b="b"/>
                <a:pathLst>
                  <a:path w="94" h="11">
                    <a:moveTo>
                      <a:pt x="94" y="0"/>
                    </a:moveTo>
                    <a:lnTo>
                      <a:pt x="94" y="0"/>
                    </a:lnTo>
                    <a:lnTo>
                      <a:pt x="94" y="5"/>
                    </a:lnTo>
                    <a:lnTo>
                      <a:pt x="92" y="9"/>
                    </a:lnTo>
                    <a:lnTo>
                      <a:pt x="88" y="10"/>
                    </a:lnTo>
                    <a:lnTo>
                      <a:pt x="83" y="11"/>
                    </a:lnTo>
                    <a:lnTo>
                      <a:pt x="47" y="11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8" y="10"/>
                    </a:lnTo>
                    <a:lnTo>
                      <a:pt x="4" y="9"/>
                    </a:lnTo>
                    <a:lnTo>
                      <a:pt x="2" y="5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0" name="Line 217"/>
              <p:cNvSpPr>
                <a:spLocks noChangeShapeType="1"/>
              </p:cNvSpPr>
              <p:nvPr/>
            </p:nvSpPr>
            <p:spPr bwMode="auto">
              <a:xfrm flipV="1">
                <a:off x="5112496" y="3613346"/>
                <a:ext cx="2020" cy="26665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10" name="Groupe 281"/>
            <p:cNvGrpSpPr>
              <a:grpSpLocks/>
            </p:cNvGrpSpPr>
            <p:nvPr userDrawn="1"/>
          </p:nvGrpSpPr>
          <p:grpSpPr bwMode="auto">
            <a:xfrm>
              <a:off x="5543115" y="3570780"/>
              <a:ext cx="562532" cy="335672"/>
              <a:chOff x="3909988" y="7116564"/>
              <a:chExt cx="268288" cy="163512"/>
            </a:xfrm>
          </p:grpSpPr>
          <p:sp>
            <p:nvSpPr>
              <p:cNvPr id="12" name="Line 326"/>
              <p:cNvSpPr>
                <a:spLocks noChangeShapeType="1"/>
              </p:cNvSpPr>
              <p:nvPr/>
            </p:nvSpPr>
            <p:spPr bwMode="auto">
              <a:xfrm>
                <a:off x="3909880" y="7120976"/>
                <a:ext cx="1640" cy="1577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3" name="Line 327"/>
              <p:cNvSpPr>
                <a:spLocks noChangeShapeType="1"/>
              </p:cNvSpPr>
              <p:nvPr/>
            </p:nvSpPr>
            <p:spPr bwMode="auto">
              <a:xfrm>
                <a:off x="3911520" y="7278723"/>
                <a:ext cx="266571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4" name="Freeform 328"/>
              <p:cNvSpPr>
                <a:spLocks/>
              </p:cNvSpPr>
              <p:nvPr/>
            </p:nvSpPr>
            <p:spPr bwMode="auto">
              <a:xfrm>
                <a:off x="3936127" y="7143401"/>
                <a:ext cx="179628" cy="115991"/>
              </a:xfrm>
              <a:custGeom>
                <a:avLst/>
                <a:gdLst/>
                <a:ahLst/>
                <a:cxnLst>
                  <a:cxn ang="0">
                    <a:pos x="0" y="73"/>
                  </a:cxn>
                  <a:cxn ang="0">
                    <a:pos x="34" y="39"/>
                  </a:cxn>
                  <a:cxn ang="0">
                    <a:pos x="55" y="59"/>
                  </a:cxn>
                  <a:cxn ang="0">
                    <a:pos x="114" y="0"/>
                  </a:cxn>
                </a:cxnLst>
                <a:rect l="0" t="0" r="r" b="b"/>
                <a:pathLst>
                  <a:path w="114" h="73">
                    <a:moveTo>
                      <a:pt x="0" y="73"/>
                    </a:moveTo>
                    <a:lnTo>
                      <a:pt x="34" y="39"/>
                    </a:lnTo>
                    <a:lnTo>
                      <a:pt x="55" y="59"/>
                    </a:lnTo>
                    <a:lnTo>
                      <a:pt x="114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5" name="Freeform 329"/>
              <p:cNvSpPr>
                <a:spLocks/>
              </p:cNvSpPr>
              <p:nvPr/>
            </p:nvSpPr>
            <p:spPr bwMode="auto">
              <a:xfrm>
                <a:off x="4087867" y="7116337"/>
                <a:ext cx="50854" cy="556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2" y="0"/>
                  </a:cxn>
                  <a:cxn ang="0">
                    <a:pos x="32" y="35"/>
                  </a:cxn>
                </a:cxnLst>
                <a:rect l="0" t="0" r="r" b="b"/>
                <a:pathLst>
                  <a:path w="32" h="35">
                    <a:moveTo>
                      <a:pt x="0" y="0"/>
                    </a:moveTo>
                    <a:lnTo>
                      <a:pt x="32" y="0"/>
                    </a:lnTo>
                    <a:lnTo>
                      <a:pt x="32" y="3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sp>
          <p:nvSpPr>
            <p:cNvPr id="11" name="Freeform 72"/>
            <p:cNvSpPr>
              <a:spLocks/>
            </p:cNvSpPr>
            <p:nvPr userDrawn="1"/>
          </p:nvSpPr>
          <p:spPr bwMode="auto">
            <a:xfrm>
              <a:off x="2579688" y="3656035"/>
              <a:ext cx="581290" cy="349236"/>
            </a:xfrm>
            <a:custGeom>
              <a:avLst/>
              <a:gdLst/>
              <a:ahLst/>
              <a:cxnLst>
                <a:cxn ang="0">
                  <a:pos x="180" y="132"/>
                </a:cxn>
                <a:cxn ang="0">
                  <a:pos x="193" y="129"/>
                </a:cxn>
                <a:cxn ang="0">
                  <a:pos x="204" y="121"/>
                </a:cxn>
                <a:cxn ang="0">
                  <a:pos x="212" y="110"/>
                </a:cxn>
                <a:cxn ang="0">
                  <a:pos x="215" y="97"/>
                </a:cxn>
                <a:cxn ang="0">
                  <a:pos x="215" y="90"/>
                </a:cxn>
                <a:cxn ang="0">
                  <a:pos x="208" y="77"/>
                </a:cxn>
                <a:cxn ang="0">
                  <a:pos x="199" y="68"/>
                </a:cxn>
                <a:cxn ang="0">
                  <a:pos x="187" y="63"/>
                </a:cxn>
                <a:cxn ang="0">
                  <a:pos x="180" y="62"/>
                </a:cxn>
                <a:cxn ang="0">
                  <a:pos x="179" y="62"/>
                </a:cxn>
                <a:cxn ang="0">
                  <a:pos x="179" y="61"/>
                </a:cxn>
                <a:cxn ang="0">
                  <a:pos x="174" y="36"/>
                </a:cxn>
                <a:cxn ang="0">
                  <a:pos x="161" y="17"/>
                </a:cxn>
                <a:cxn ang="0">
                  <a:pos x="142" y="5"/>
                </a:cxn>
                <a:cxn ang="0">
                  <a:pos x="120" y="0"/>
                </a:cxn>
                <a:cxn ang="0">
                  <a:pos x="109" y="1"/>
                </a:cxn>
                <a:cxn ang="0">
                  <a:pos x="92" y="6"/>
                </a:cxn>
                <a:cxn ang="0">
                  <a:pos x="78" y="17"/>
                </a:cxn>
                <a:cxn ang="0">
                  <a:pos x="66" y="31"/>
                </a:cxn>
                <a:cxn ang="0">
                  <a:pos x="62" y="39"/>
                </a:cxn>
                <a:cxn ang="0">
                  <a:pos x="47" y="36"/>
                </a:cxn>
                <a:cxn ang="0">
                  <a:pos x="38" y="38"/>
                </a:cxn>
                <a:cxn ang="0">
                  <a:pos x="21" y="45"/>
                </a:cxn>
                <a:cxn ang="0">
                  <a:pos x="8" y="58"/>
                </a:cxn>
                <a:cxn ang="0">
                  <a:pos x="2" y="75"/>
                </a:cxn>
                <a:cxn ang="0">
                  <a:pos x="0" y="85"/>
                </a:cxn>
                <a:cxn ang="0">
                  <a:pos x="4" y="102"/>
                </a:cxn>
                <a:cxn ang="0">
                  <a:pos x="14" y="118"/>
                </a:cxn>
                <a:cxn ang="0">
                  <a:pos x="30" y="128"/>
                </a:cxn>
                <a:cxn ang="0">
                  <a:pos x="47" y="132"/>
                </a:cxn>
                <a:cxn ang="0">
                  <a:pos x="147" y="132"/>
                </a:cxn>
              </a:cxnLst>
              <a:rect l="0" t="0" r="r" b="b"/>
              <a:pathLst>
                <a:path w="215" h="132">
                  <a:moveTo>
                    <a:pt x="180" y="132"/>
                  </a:moveTo>
                  <a:lnTo>
                    <a:pt x="180" y="132"/>
                  </a:lnTo>
                  <a:lnTo>
                    <a:pt x="187" y="132"/>
                  </a:lnTo>
                  <a:lnTo>
                    <a:pt x="193" y="129"/>
                  </a:lnTo>
                  <a:lnTo>
                    <a:pt x="199" y="125"/>
                  </a:lnTo>
                  <a:lnTo>
                    <a:pt x="204" y="121"/>
                  </a:lnTo>
                  <a:lnTo>
                    <a:pt x="208" y="116"/>
                  </a:lnTo>
                  <a:lnTo>
                    <a:pt x="212" y="110"/>
                  </a:lnTo>
                  <a:lnTo>
                    <a:pt x="215" y="104"/>
                  </a:lnTo>
                  <a:lnTo>
                    <a:pt x="215" y="97"/>
                  </a:lnTo>
                  <a:lnTo>
                    <a:pt x="215" y="97"/>
                  </a:lnTo>
                  <a:lnTo>
                    <a:pt x="215" y="90"/>
                  </a:lnTo>
                  <a:lnTo>
                    <a:pt x="212" y="83"/>
                  </a:lnTo>
                  <a:lnTo>
                    <a:pt x="208" y="77"/>
                  </a:lnTo>
                  <a:lnTo>
                    <a:pt x="204" y="72"/>
                  </a:lnTo>
                  <a:lnTo>
                    <a:pt x="199" y="68"/>
                  </a:lnTo>
                  <a:lnTo>
                    <a:pt x="193" y="64"/>
                  </a:lnTo>
                  <a:lnTo>
                    <a:pt x="187" y="63"/>
                  </a:lnTo>
                  <a:lnTo>
                    <a:pt x="180" y="62"/>
                  </a:lnTo>
                  <a:lnTo>
                    <a:pt x="180" y="62"/>
                  </a:lnTo>
                  <a:lnTo>
                    <a:pt x="179" y="62"/>
                  </a:lnTo>
                  <a:lnTo>
                    <a:pt x="179" y="62"/>
                  </a:lnTo>
                  <a:lnTo>
                    <a:pt x="179" y="61"/>
                  </a:lnTo>
                  <a:lnTo>
                    <a:pt x="179" y="61"/>
                  </a:lnTo>
                  <a:lnTo>
                    <a:pt x="178" y="48"/>
                  </a:lnTo>
                  <a:lnTo>
                    <a:pt x="174" y="36"/>
                  </a:lnTo>
                  <a:lnTo>
                    <a:pt x="169" y="26"/>
                  </a:lnTo>
                  <a:lnTo>
                    <a:pt x="161" y="17"/>
                  </a:lnTo>
                  <a:lnTo>
                    <a:pt x="152" y="10"/>
                  </a:lnTo>
                  <a:lnTo>
                    <a:pt x="142" y="5"/>
                  </a:lnTo>
                  <a:lnTo>
                    <a:pt x="131" y="1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09" y="1"/>
                  </a:lnTo>
                  <a:lnTo>
                    <a:pt x="101" y="2"/>
                  </a:lnTo>
                  <a:lnTo>
                    <a:pt x="92" y="6"/>
                  </a:lnTo>
                  <a:lnTo>
                    <a:pt x="84" y="11"/>
                  </a:lnTo>
                  <a:lnTo>
                    <a:pt x="78" y="17"/>
                  </a:lnTo>
                  <a:lnTo>
                    <a:pt x="71" y="24"/>
                  </a:lnTo>
                  <a:lnTo>
                    <a:pt x="66" y="31"/>
                  </a:lnTo>
                  <a:lnTo>
                    <a:pt x="62" y="39"/>
                  </a:lnTo>
                  <a:lnTo>
                    <a:pt x="62" y="39"/>
                  </a:lnTo>
                  <a:lnTo>
                    <a:pt x="55" y="38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38" y="38"/>
                  </a:lnTo>
                  <a:lnTo>
                    <a:pt x="30" y="40"/>
                  </a:lnTo>
                  <a:lnTo>
                    <a:pt x="21" y="45"/>
                  </a:lnTo>
                  <a:lnTo>
                    <a:pt x="14" y="50"/>
                  </a:lnTo>
                  <a:lnTo>
                    <a:pt x="8" y="58"/>
                  </a:lnTo>
                  <a:lnTo>
                    <a:pt x="4" y="66"/>
                  </a:lnTo>
                  <a:lnTo>
                    <a:pt x="2" y="7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2" y="94"/>
                  </a:lnTo>
                  <a:lnTo>
                    <a:pt x="4" y="102"/>
                  </a:lnTo>
                  <a:lnTo>
                    <a:pt x="8" y="111"/>
                  </a:lnTo>
                  <a:lnTo>
                    <a:pt x="14" y="118"/>
                  </a:lnTo>
                  <a:lnTo>
                    <a:pt x="21" y="124"/>
                  </a:lnTo>
                  <a:lnTo>
                    <a:pt x="30" y="128"/>
                  </a:lnTo>
                  <a:lnTo>
                    <a:pt x="38" y="130"/>
                  </a:lnTo>
                  <a:lnTo>
                    <a:pt x="47" y="132"/>
                  </a:lnTo>
                  <a:lnTo>
                    <a:pt x="47" y="132"/>
                  </a:lnTo>
                  <a:lnTo>
                    <a:pt x="147" y="132"/>
                  </a:lnTo>
                </a:path>
              </a:pathLst>
            </a:custGeom>
            <a:noFill/>
            <a:ln w="1905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lIns="83969" tIns="41985" rIns="83969" bIns="41985"/>
            <a:lstStyle/>
            <a:p>
              <a:pPr defTabSz="914400">
                <a:defRPr/>
              </a:pPr>
              <a:endParaRPr lang="en-US" sz="1800">
                <a:solidFill>
                  <a:srgbClr val="263147"/>
                </a:solidFill>
                <a:cs typeface="Arial" charset="0"/>
              </a:endParaRPr>
            </a:p>
          </p:txBody>
        </p:sp>
      </p:grpSp>
      <p:graphicFrame>
        <p:nvGraphicFramePr>
          <p:cNvPr id="42" name="Object 2" hidden="1"/>
          <p:cNvGraphicFramePr>
            <a:graphicFrameLocks noChangeAspect="1"/>
          </p:cNvGraphicFramePr>
          <p:nvPr/>
        </p:nvGraphicFramePr>
        <p:xfrm>
          <a:off x="0" y="0"/>
          <a:ext cx="158222" cy="158750"/>
        </p:xfrm>
        <a:graphic>
          <a:graphicData uri="http://schemas.openxmlformats.org/presentationml/2006/ole">
            <p:oleObj spid="_x0000_s506883" name="think-cell Slide" r:id="rId6" imgW="360" imgH="360" progId="">
              <p:embed/>
            </p:oleObj>
          </a:graphicData>
        </a:graphic>
      </p:graphicFrame>
      <p:sp>
        <p:nvSpPr>
          <p:cNvPr id="43" name="Rectangle 7"/>
          <p:cNvSpPr/>
          <p:nvPr>
            <p:custDataLst>
              <p:tags r:id="rId2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xmlns="" val="414389464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6679" name="Picture 7" descr="Isis-Mobile-Wallet"/>
          <p:cNvPicPr>
            <a:picLocks noChangeAspect="1" noChangeArrowheads="1"/>
          </p:cNvPicPr>
          <p:nvPr userDrawn="1"/>
        </p:nvPicPr>
        <p:blipFill>
          <a:blip r:embed="rId4" cstate="print"/>
          <a:srcRect r="27500"/>
          <a:stretch>
            <a:fillRect/>
          </a:stretch>
        </p:blipFill>
        <p:spPr bwMode="auto">
          <a:xfrm>
            <a:off x="0" y="0"/>
            <a:ext cx="9906000" cy="49530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222" cy="158750"/>
        </p:xfrm>
        <a:graphic>
          <a:graphicData uri="http://schemas.openxmlformats.org/presentationml/2006/ole">
            <p:oleObj spid="_x0000_s507906" name="think-cell Slide" r:id="rId5" imgW="360" imgH="360" progId="">
              <p:embed/>
            </p:oleObj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/>
        </p:nvGraphicFramePr>
        <p:xfrm>
          <a:off x="0" y="0"/>
          <a:ext cx="158222" cy="158750"/>
        </p:xfrm>
        <a:graphic>
          <a:graphicData uri="http://schemas.openxmlformats.org/presentationml/2006/ole">
            <p:oleObj spid="_x0000_s507907" name="think-cell Slide" r:id="rId6" imgW="360" imgH="360" progId="">
              <p:embed/>
            </p:oleObj>
          </a:graphicData>
        </a:graphic>
      </p:graphicFrame>
      <p:sp>
        <p:nvSpPr>
          <p:cNvPr id="43" name="Rectangle 7"/>
          <p:cNvSpPr/>
          <p:nvPr>
            <p:custDataLst>
              <p:tags r:id="rId2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xmlns="" val="414389464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512002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513026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14050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515074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516098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17122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2491" name="think-cell Slide" r:id="rId5" imgW="360" imgH="360" progId="">
              <p:embed/>
            </p:oleObj>
          </a:graphicData>
        </a:graphic>
      </p:graphicFrame>
      <p:sp>
        <p:nvSpPr>
          <p:cNvPr id="7" name="Rectangle 7"/>
          <p:cNvSpPr/>
          <p:nvPr userDrawn="1">
            <p:custDataLst>
              <p:tags r:id="rId2"/>
            </p:custDataLst>
          </p:nvPr>
        </p:nvSpPr>
        <p:spPr bwMode="auto">
          <a:xfrm flipV="1">
            <a:off x="-1176" y="3384915"/>
            <a:ext cx="9907177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4686300"/>
            <a:ext cx="9906000" cy="1052000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32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pic>
        <p:nvPicPr>
          <p:cNvPr id="10" name="Image 9" descr="shutterstock_80837125.png"/>
          <p:cNvPicPr>
            <a:picLocks noChangeAspect="1"/>
          </p:cNvPicPr>
          <p:nvPr userDrawn="1"/>
        </p:nvPicPr>
        <p:blipFill>
          <a:blip r:embed="rId6" cstate="email"/>
          <a:stretch>
            <a:fillRect/>
          </a:stretch>
        </p:blipFill>
        <p:spPr>
          <a:xfrm>
            <a:off x="973601" y="971046"/>
            <a:ext cx="7198781" cy="4797156"/>
          </a:xfrm>
          <a:prstGeom prst="rect">
            <a:avLst/>
          </a:prstGeom>
        </p:spPr>
      </p:pic>
      <p:sp>
        <p:nvSpPr>
          <p:cNvPr id="12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0" y="5740404"/>
            <a:ext cx="9906000" cy="536575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fontAlgn="t">
              <a:spcAft>
                <a:spcPct val="0"/>
              </a:spcAft>
              <a:buClrTx/>
              <a:buFontTx/>
              <a:buNone/>
              <a:defRPr lang="en-US" sz="2000" b="0" kern="1200" cap="none" baseline="0" noProof="0" dirty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914342" rtl="0" eaLnBrk="1" latinLnBrk="0" hangingPunct="1">
              <a:spcBef>
                <a:spcPct val="0"/>
              </a:spcBef>
              <a:buNone/>
            </a:pPr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18146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519170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525314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526338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27362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5283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529410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30434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 descr="test5.jpg"/>
          <p:cNvPicPr>
            <a:picLocks noChangeAspect="1"/>
          </p:cNvPicPr>
          <p:nvPr userDrawn="1"/>
        </p:nvPicPr>
        <p:blipFill>
          <a:blip r:embed="rId5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7130" name="think-cell Slide" r:id="rId6" imgW="360" imgH="360" progId="">
              <p:embed/>
            </p:oleObj>
          </a:graphicData>
        </a:graphic>
      </p:graphicFrame>
      <p:sp>
        <p:nvSpPr>
          <p:cNvPr id="4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1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482600"/>
            <a:ext cx="9906000" cy="113030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0" y="1625600"/>
            <a:ext cx="9906000" cy="77470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 fontAlgn="t">
              <a:spcAft>
                <a:spcPct val="0"/>
              </a:spcAft>
              <a:buClrTx/>
              <a:buFontTx/>
              <a:buNone/>
              <a:defRPr lang="en-US" sz="2000" kern="1200" noProof="0" dirty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31458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532482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536578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537602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38626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539650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540674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41698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19300001341921131607747429122_ps.jpg"/>
          <p:cNvPicPr>
            <a:picLocks noChangeAspect="1"/>
          </p:cNvPicPr>
          <p:nvPr userDrawn="1"/>
        </p:nvPicPr>
        <p:blipFill>
          <a:blip r:embed="rId2" cstate="print"/>
          <a:srcRect r="26042" b="17664"/>
          <a:stretch>
            <a:fillRect/>
          </a:stretch>
        </p:blipFill>
        <p:spPr>
          <a:xfrm>
            <a:off x="0" y="633410"/>
            <a:ext cx="9906000" cy="6224590"/>
          </a:xfrm>
          <a:prstGeom prst="rect">
            <a:avLst/>
          </a:prstGeom>
        </p:spPr>
      </p:pic>
      <p:pic>
        <p:nvPicPr>
          <p:cNvPr id="18" name="Picture 17" descr="Header_Title Slide_PPT Template_3.png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0" y="1"/>
            <a:ext cx="9906000" cy="2516697"/>
          </a:xfrm>
          <a:prstGeom prst="rect">
            <a:avLst/>
          </a:prstGeom>
        </p:spPr>
      </p:pic>
      <p:pic>
        <p:nvPicPr>
          <p:cNvPr id="22" name="Picture 21" descr="Header_PPT Template.png"/>
          <p:cNvPicPr>
            <a:picLocks noChangeAspect="1"/>
          </p:cNvPicPr>
          <p:nvPr userDrawn="1"/>
        </p:nvPicPr>
        <p:blipFill>
          <a:blip r:embed="rId4" cstate="screen"/>
          <a:stretch>
            <a:fillRect/>
          </a:stretch>
        </p:blipFill>
        <p:spPr>
          <a:xfrm>
            <a:off x="0" y="0"/>
            <a:ext cx="9906000" cy="2516696"/>
          </a:xfrm>
          <a:prstGeom prst="rect">
            <a:avLst/>
          </a:prstGeom>
        </p:spPr>
      </p:pic>
      <p:pic>
        <p:nvPicPr>
          <p:cNvPr id="16" name="Picture 15" descr="capgemini logo.png"/>
          <p:cNvPicPr>
            <a:picLocks noChangeAspect="1"/>
          </p:cNvPicPr>
          <p:nvPr userDrawn="1"/>
        </p:nvPicPr>
        <p:blipFill>
          <a:blip r:embed="rId5" cstate="screen">
            <a:lum bright="100000"/>
          </a:blip>
          <a:stretch>
            <a:fillRect/>
          </a:stretch>
        </p:blipFill>
        <p:spPr>
          <a:xfrm>
            <a:off x="428497" y="625233"/>
            <a:ext cx="2995200" cy="643531"/>
          </a:xfrm>
          <a:prstGeom prst="rect">
            <a:avLst/>
          </a:prstGeom>
        </p:spPr>
      </p:pic>
      <p:pic>
        <p:nvPicPr>
          <p:cNvPr id="21" name="Picture 20" descr="logo.png"/>
          <p:cNvPicPr>
            <a:picLocks noChangeAspect="1"/>
          </p:cNvPicPr>
          <p:nvPr userDrawn="1"/>
        </p:nvPicPr>
        <p:blipFill>
          <a:blip r:embed="rId6" cstate="screen">
            <a:lum bright="100000"/>
          </a:blip>
          <a:stretch>
            <a:fillRect/>
          </a:stretch>
        </p:blipFill>
        <p:spPr>
          <a:xfrm>
            <a:off x="7800511" y="260650"/>
            <a:ext cx="1755000" cy="1223403"/>
          </a:xfrm>
          <a:prstGeom prst="rect">
            <a:avLst/>
          </a:prstGeom>
        </p:spPr>
      </p:pic>
      <p:pic>
        <p:nvPicPr>
          <p:cNvPr id="13" name="Picture 12" descr="Footer_PPT Template_2.png"/>
          <p:cNvPicPr preferRelativeResize="0">
            <a:picLocks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14" name="Image 7" descr="Capgemini_Slogan_RGB.png"/>
          <p:cNvPicPr>
            <a:picLocks noChangeAspect="1"/>
          </p:cNvPicPr>
          <p:nvPr userDrawn="1"/>
        </p:nvPicPr>
        <p:blipFill>
          <a:blip r:embed="rId8" cstate="screen">
            <a:lum bright="100000"/>
          </a:blip>
          <a:stretch>
            <a:fillRect/>
          </a:stretch>
        </p:blipFill>
        <p:spPr>
          <a:xfrm>
            <a:off x="6747199" y="6390282"/>
            <a:ext cx="2925000" cy="279087"/>
          </a:xfrm>
          <a:prstGeom prst="rect">
            <a:avLst/>
          </a:prstGeom>
        </p:spPr>
      </p:pic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742952" y="2636912"/>
            <a:ext cx="5458189" cy="1512168"/>
          </a:xfrm>
        </p:spPr>
        <p:txBody>
          <a:bodyPr anchor="b">
            <a:noAutofit/>
          </a:bodyPr>
          <a:lstStyle>
            <a:lvl1pPr algn="l">
              <a:defRPr sz="4800" b="0" spc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3" name="Subtitle 2"/>
          <p:cNvSpPr>
            <a:spLocks noGrp="1"/>
          </p:cNvSpPr>
          <p:nvPr>
            <p:ph type="subTitle" idx="1"/>
          </p:nvPr>
        </p:nvSpPr>
        <p:spPr>
          <a:xfrm>
            <a:off x="740534" y="4149144"/>
            <a:ext cx="5460607" cy="576000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42722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543746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548866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549890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50914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551938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552962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53986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Header_Title Slide_PPT Template_3.png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0" y="1"/>
            <a:ext cx="9906000" cy="2516697"/>
          </a:xfrm>
          <a:prstGeom prst="rect">
            <a:avLst/>
          </a:prstGeom>
        </p:spPr>
      </p:pic>
      <p:pic>
        <p:nvPicPr>
          <p:cNvPr id="22" name="Picture 21" descr="Header_PPT Template.png"/>
          <p:cNvPicPr>
            <a:picLocks noChangeAspect="1"/>
          </p:cNvPicPr>
          <p:nvPr userDrawn="1"/>
        </p:nvPicPr>
        <p:blipFill>
          <a:blip r:embed="rId4" cstate="screen"/>
          <a:stretch>
            <a:fillRect/>
          </a:stretch>
        </p:blipFill>
        <p:spPr>
          <a:xfrm>
            <a:off x="0" y="0"/>
            <a:ext cx="9906000" cy="2516696"/>
          </a:xfrm>
          <a:prstGeom prst="rect">
            <a:avLst/>
          </a:prstGeom>
        </p:spPr>
      </p:pic>
      <p:pic>
        <p:nvPicPr>
          <p:cNvPr id="23" name="Picture 22" descr="capgemini logo.png"/>
          <p:cNvPicPr>
            <a:picLocks noChangeAspect="1"/>
          </p:cNvPicPr>
          <p:nvPr userDrawn="1"/>
        </p:nvPicPr>
        <p:blipFill>
          <a:blip r:embed="rId5" cstate="screen">
            <a:lum bright="100000"/>
          </a:blip>
          <a:stretch>
            <a:fillRect/>
          </a:stretch>
        </p:blipFill>
        <p:spPr>
          <a:xfrm>
            <a:off x="428497" y="625233"/>
            <a:ext cx="2995200" cy="643531"/>
          </a:xfrm>
          <a:prstGeom prst="rect">
            <a:avLst/>
          </a:prstGeom>
        </p:spPr>
      </p:pic>
      <p:pic>
        <p:nvPicPr>
          <p:cNvPr id="25" name="Picture 24" descr="logo.png"/>
          <p:cNvPicPr>
            <a:picLocks noChangeAspect="1"/>
          </p:cNvPicPr>
          <p:nvPr userDrawn="1"/>
        </p:nvPicPr>
        <p:blipFill>
          <a:blip r:embed="rId6" cstate="screen">
            <a:lum bright="100000"/>
          </a:blip>
          <a:stretch>
            <a:fillRect/>
          </a:stretch>
        </p:blipFill>
        <p:spPr>
          <a:xfrm>
            <a:off x="7800511" y="260650"/>
            <a:ext cx="1755000" cy="1223403"/>
          </a:xfrm>
          <a:prstGeom prst="rect">
            <a:avLst/>
          </a:prstGeom>
        </p:spPr>
      </p:pic>
      <p:pic>
        <p:nvPicPr>
          <p:cNvPr id="26" name="Picture 25" descr="Footer_PPT Template_2.png"/>
          <p:cNvPicPr preferRelativeResize="0">
            <a:picLocks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7" name="Image 7" descr="Capgemini_Slogan_RGB.png"/>
          <p:cNvPicPr>
            <a:picLocks noChangeAspect="1"/>
          </p:cNvPicPr>
          <p:nvPr userDrawn="1"/>
        </p:nvPicPr>
        <p:blipFill>
          <a:blip r:embed="rId8" cstate="screen">
            <a:lum bright="100000"/>
          </a:blip>
          <a:stretch>
            <a:fillRect/>
          </a:stretch>
        </p:blipFill>
        <p:spPr>
          <a:xfrm>
            <a:off x="6747199" y="6390282"/>
            <a:ext cx="2925000" cy="27908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ctrTitle"/>
          </p:nvPr>
        </p:nvSpPr>
        <p:spPr>
          <a:xfrm>
            <a:off x="742952" y="2636912"/>
            <a:ext cx="5458189" cy="1512168"/>
          </a:xfrm>
        </p:spPr>
        <p:txBody>
          <a:bodyPr anchor="b">
            <a:noAutofit/>
          </a:bodyPr>
          <a:lstStyle>
            <a:lvl1pPr algn="l">
              <a:defRPr sz="4800" b="0" spc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740534" y="4149144"/>
            <a:ext cx="5460607" cy="576000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13" name="Picture 1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-195572" y="1340768"/>
            <a:ext cx="10297144" cy="504056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55010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556034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2" name="Picture 2" descr="D:\Users\sbandyop\Downloads\ACE VI_FINAL_woman with mobile.png"/>
          <p:cNvPicPr>
            <a:picLocks noChangeAspect="1" noChangeArrowheads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3302000" y="1905005"/>
            <a:ext cx="6438900" cy="2960117"/>
          </a:xfrm>
          <a:prstGeom prst="rect">
            <a:avLst/>
          </a:prstGeom>
          <a:noFill/>
        </p:spPr>
      </p:pic>
      <p:pic>
        <p:nvPicPr>
          <p:cNvPr id="12" name="Picture 11" descr="Header_Title Slide_PPT Template_3.png"/>
          <p:cNvPicPr>
            <a:picLocks noChangeAspect="1"/>
          </p:cNvPicPr>
          <p:nvPr/>
        </p:nvPicPr>
        <p:blipFill>
          <a:blip r:embed="rId5" cstate="email"/>
          <a:stretch>
            <a:fillRect/>
          </a:stretch>
        </p:blipFill>
        <p:spPr>
          <a:xfrm>
            <a:off x="0" y="6"/>
            <a:ext cx="9906000" cy="2516697"/>
          </a:xfrm>
          <a:prstGeom prst="rect">
            <a:avLst/>
          </a:prstGeom>
        </p:spPr>
      </p:pic>
      <p:pic>
        <p:nvPicPr>
          <p:cNvPr id="22" name="Picture 21" descr="Header_PPT Template.png"/>
          <p:cNvPicPr>
            <a:picLocks noChangeAspect="1"/>
          </p:cNvPicPr>
          <p:nvPr/>
        </p:nvPicPr>
        <p:blipFill>
          <a:blip r:embed="rId6" cstate="email"/>
          <a:stretch>
            <a:fillRect/>
          </a:stretch>
        </p:blipFill>
        <p:spPr>
          <a:xfrm>
            <a:off x="0" y="0"/>
            <a:ext cx="9906000" cy="2516696"/>
          </a:xfrm>
          <a:prstGeom prst="rect">
            <a:avLst/>
          </a:prstGeom>
        </p:spPr>
      </p:pic>
      <p:pic>
        <p:nvPicPr>
          <p:cNvPr id="23" name="Picture 22" descr="capgemini logo.png"/>
          <p:cNvPicPr>
            <a:picLocks noChangeAspect="1"/>
          </p:cNvPicPr>
          <p:nvPr/>
        </p:nvPicPr>
        <p:blipFill>
          <a:blip r:embed="rId7" cstate="email">
            <a:lum bright="100000"/>
          </a:blip>
          <a:stretch>
            <a:fillRect/>
          </a:stretch>
        </p:blipFill>
        <p:spPr>
          <a:xfrm>
            <a:off x="428497" y="625237"/>
            <a:ext cx="2995200" cy="643531"/>
          </a:xfrm>
          <a:prstGeom prst="rect">
            <a:avLst/>
          </a:prstGeom>
        </p:spPr>
      </p:pic>
      <p:pic>
        <p:nvPicPr>
          <p:cNvPr id="26" name="Picture 25" descr="Footer_PPT Template_2.png"/>
          <p:cNvPicPr preferRelativeResize="0">
            <a:picLocks/>
          </p:cNvPicPr>
          <p:nvPr/>
        </p:nvPicPr>
        <p:blipFill>
          <a:blip r:embed="rId8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7" name="Image 7" descr="Capgemini_Slogan_RGB.png"/>
          <p:cNvPicPr>
            <a:picLocks noChangeAspect="1"/>
          </p:cNvPicPr>
          <p:nvPr/>
        </p:nvPicPr>
        <p:blipFill>
          <a:blip r:embed="rId9" cstate="email">
            <a:lum bright="100000"/>
          </a:blip>
          <a:stretch>
            <a:fillRect/>
          </a:stretch>
        </p:blipFill>
        <p:spPr>
          <a:xfrm>
            <a:off x="6747199" y="6390281"/>
            <a:ext cx="2925000" cy="27908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4" y="4202089"/>
            <a:ext cx="9905999" cy="1512168"/>
          </a:xfrm>
        </p:spPr>
        <p:txBody>
          <a:bodyPr anchor="b">
            <a:noAutofit/>
          </a:bodyPr>
          <a:lstStyle>
            <a:lvl1pPr algn="l">
              <a:defRPr sz="4800" b="0" spc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-2746" y="5672400"/>
            <a:ext cx="9910389" cy="576000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11" name="Picture 10" descr="logo.png"/>
          <p:cNvPicPr>
            <a:picLocks noChangeAspect="1"/>
          </p:cNvPicPr>
          <p:nvPr userDrawn="1"/>
        </p:nvPicPr>
        <p:blipFill>
          <a:blip r:embed="rId10" cstate="email">
            <a:lum bright="100000"/>
          </a:blip>
          <a:stretch>
            <a:fillRect/>
          </a:stretch>
        </p:blipFill>
        <p:spPr>
          <a:xfrm>
            <a:off x="7800511" y="260649"/>
            <a:ext cx="1755000" cy="122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861365275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 descr="mw2.jpg"/>
          <p:cNvPicPr>
            <a:picLocks noChangeAspect="1"/>
          </p:cNvPicPr>
          <p:nvPr userDrawn="1"/>
        </p:nvPicPr>
        <p:blipFill>
          <a:blip r:embed="rId4" cstate="email"/>
          <a:stretch>
            <a:fillRect/>
          </a:stretch>
        </p:blipFill>
        <p:spPr>
          <a:xfrm>
            <a:off x="0" y="2"/>
            <a:ext cx="9906000" cy="5325133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222" cy="158750"/>
        </p:xfrm>
        <a:graphic>
          <a:graphicData uri="http://schemas.openxmlformats.org/presentationml/2006/ole">
            <p:oleObj spid="_x0000_s561154" name="think-cell Slide" r:id="rId5" imgW="360" imgH="360" progId="">
              <p:embed/>
            </p:oleObj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/>
        </p:nvGraphicFramePr>
        <p:xfrm>
          <a:off x="0" y="0"/>
          <a:ext cx="158222" cy="158750"/>
        </p:xfrm>
        <a:graphic>
          <a:graphicData uri="http://schemas.openxmlformats.org/presentationml/2006/ole">
            <p:oleObj spid="_x0000_s561155" name="think-cell Slide" r:id="rId6" imgW="360" imgH="360" progId="">
              <p:embed/>
            </p:oleObj>
          </a:graphicData>
        </a:graphic>
      </p:graphicFrame>
      <p:sp>
        <p:nvSpPr>
          <p:cNvPr id="43" name="Rectangle 7"/>
          <p:cNvSpPr/>
          <p:nvPr>
            <p:custDataLst>
              <p:tags r:id="rId2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xmlns="" val="4143894643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7701" name="Picture 5" descr="http://talent.capgemini.com/media_library/Medias/News_Illustrations/mobile_transformation.jpg"/>
          <p:cNvPicPr>
            <a:picLocks noChangeAspect="1" noChangeArrowheads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" y="0"/>
            <a:ext cx="9905999" cy="48006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222" cy="158750"/>
        </p:xfrm>
        <a:graphic>
          <a:graphicData uri="http://schemas.openxmlformats.org/presentationml/2006/ole">
            <p:oleObj spid="_x0000_s562178" name="think-cell Slide" r:id="rId5" imgW="360" imgH="360" progId="">
              <p:embed/>
            </p:oleObj>
          </a:graphicData>
        </a:graphic>
      </p:graphicFrame>
      <p:grpSp>
        <p:nvGrpSpPr>
          <p:cNvPr id="4" name="Group 18"/>
          <p:cNvGrpSpPr>
            <a:grpSpLocks/>
          </p:cNvGrpSpPr>
          <p:nvPr/>
        </p:nvGrpSpPr>
        <p:grpSpPr bwMode="auto">
          <a:xfrm>
            <a:off x="2579688" y="700734"/>
            <a:ext cx="6500750" cy="1502721"/>
            <a:chOff x="2579688" y="2502608"/>
            <a:chExt cx="6500750" cy="1502663"/>
          </a:xfrm>
        </p:grpSpPr>
        <p:grpSp>
          <p:nvGrpSpPr>
            <p:cNvPr id="5" name="Groupe 709"/>
            <p:cNvGrpSpPr>
              <a:grpSpLocks/>
            </p:cNvGrpSpPr>
            <p:nvPr userDrawn="1"/>
          </p:nvGrpSpPr>
          <p:grpSpPr bwMode="auto">
            <a:xfrm>
              <a:off x="8084783" y="2883520"/>
              <a:ext cx="386117" cy="518177"/>
              <a:chOff x="2344714" y="4924226"/>
              <a:chExt cx="184150" cy="252413"/>
            </a:xfrm>
          </p:grpSpPr>
          <p:sp>
            <p:nvSpPr>
              <p:cNvPr id="40" name="Freeform 449"/>
              <p:cNvSpPr>
                <a:spLocks/>
              </p:cNvSpPr>
              <p:nvPr/>
            </p:nvSpPr>
            <p:spPr bwMode="auto">
              <a:xfrm>
                <a:off x="2344694" y="4923950"/>
                <a:ext cx="184548" cy="252859"/>
              </a:xfrm>
              <a:custGeom>
                <a:avLst/>
                <a:gdLst/>
                <a:ahLst/>
                <a:cxnLst>
                  <a:cxn ang="0">
                    <a:pos x="97" y="159"/>
                  </a:cxn>
                  <a:cxn ang="0">
                    <a:pos x="20" y="159"/>
                  </a:cxn>
                  <a:cxn ang="0">
                    <a:pos x="20" y="159"/>
                  </a:cxn>
                  <a:cxn ang="0">
                    <a:pos x="15" y="159"/>
                  </a:cxn>
                  <a:cxn ang="0">
                    <a:pos x="13" y="157"/>
                  </a:cxn>
                  <a:cxn ang="0">
                    <a:pos x="6" y="154"/>
                  </a:cxn>
                  <a:cxn ang="0">
                    <a:pos x="1" y="147"/>
                  </a:cxn>
                  <a:cxn ang="0">
                    <a:pos x="0" y="143"/>
                  </a:cxn>
                  <a:cxn ang="0">
                    <a:pos x="0" y="140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15"/>
                  </a:cxn>
                  <a:cxn ang="0">
                    <a:pos x="1" y="12"/>
                  </a:cxn>
                  <a:cxn ang="0">
                    <a:pos x="6" y="5"/>
                  </a:cxn>
                  <a:cxn ang="0">
                    <a:pos x="13" y="2"/>
                  </a:cxn>
                  <a:cxn ang="0">
                    <a:pos x="15" y="0"/>
                  </a:cxn>
                  <a:cxn ang="0">
                    <a:pos x="20" y="0"/>
                  </a:cxn>
                  <a:cxn ang="0">
                    <a:pos x="97" y="0"/>
                  </a:cxn>
                  <a:cxn ang="0">
                    <a:pos x="97" y="0"/>
                  </a:cxn>
                  <a:cxn ang="0">
                    <a:pos x="101" y="0"/>
                  </a:cxn>
                  <a:cxn ang="0">
                    <a:pos x="105" y="2"/>
                  </a:cxn>
                  <a:cxn ang="0">
                    <a:pos x="111" y="5"/>
                  </a:cxn>
                  <a:cxn ang="0">
                    <a:pos x="115" y="12"/>
                  </a:cxn>
                  <a:cxn ang="0">
                    <a:pos x="116" y="15"/>
                  </a:cxn>
                  <a:cxn ang="0">
                    <a:pos x="116" y="19"/>
                  </a:cxn>
                  <a:cxn ang="0">
                    <a:pos x="116" y="159"/>
                  </a:cxn>
                </a:cxnLst>
                <a:rect l="0" t="0" r="r" b="b"/>
                <a:pathLst>
                  <a:path w="116" h="159">
                    <a:moveTo>
                      <a:pt x="97" y="159"/>
                    </a:moveTo>
                    <a:lnTo>
                      <a:pt x="20" y="159"/>
                    </a:lnTo>
                    <a:lnTo>
                      <a:pt x="20" y="159"/>
                    </a:lnTo>
                    <a:lnTo>
                      <a:pt x="15" y="159"/>
                    </a:lnTo>
                    <a:lnTo>
                      <a:pt x="13" y="157"/>
                    </a:lnTo>
                    <a:lnTo>
                      <a:pt x="6" y="154"/>
                    </a:lnTo>
                    <a:lnTo>
                      <a:pt x="1" y="147"/>
                    </a:lnTo>
                    <a:lnTo>
                      <a:pt x="0" y="143"/>
                    </a:lnTo>
                    <a:lnTo>
                      <a:pt x="0" y="140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5"/>
                    </a:lnTo>
                    <a:lnTo>
                      <a:pt x="1" y="12"/>
                    </a:lnTo>
                    <a:lnTo>
                      <a:pt x="6" y="5"/>
                    </a:lnTo>
                    <a:lnTo>
                      <a:pt x="13" y="2"/>
                    </a:lnTo>
                    <a:lnTo>
                      <a:pt x="15" y="0"/>
                    </a:lnTo>
                    <a:lnTo>
                      <a:pt x="20" y="0"/>
                    </a:lnTo>
                    <a:lnTo>
                      <a:pt x="97" y="0"/>
                    </a:lnTo>
                    <a:lnTo>
                      <a:pt x="97" y="0"/>
                    </a:lnTo>
                    <a:lnTo>
                      <a:pt x="101" y="0"/>
                    </a:lnTo>
                    <a:lnTo>
                      <a:pt x="105" y="2"/>
                    </a:lnTo>
                    <a:lnTo>
                      <a:pt x="111" y="5"/>
                    </a:lnTo>
                    <a:lnTo>
                      <a:pt x="115" y="12"/>
                    </a:lnTo>
                    <a:lnTo>
                      <a:pt x="116" y="15"/>
                    </a:lnTo>
                    <a:lnTo>
                      <a:pt x="116" y="19"/>
                    </a:lnTo>
                    <a:lnTo>
                      <a:pt x="116" y="15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41" name="Freeform 450"/>
              <p:cNvSpPr>
                <a:spLocks/>
              </p:cNvSpPr>
              <p:nvPr/>
            </p:nvSpPr>
            <p:spPr bwMode="auto">
              <a:xfrm>
                <a:off x="2365199" y="4944828"/>
                <a:ext cx="145178" cy="231981"/>
              </a:xfrm>
              <a:custGeom>
                <a:avLst/>
                <a:gdLst/>
                <a:ahLst/>
                <a:cxnLst>
                  <a:cxn ang="0">
                    <a:pos x="32" y="129"/>
                  </a:cxn>
                  <a:cxn ang="0">
                    <a:pos x="32" y="129"/>
                  </a:cxn>
                  <a:cxn ang="0">
                    <a:pos x="34" y="133"/>
                  </a:cxn>
                  <a:cxn ang="0">
                    <a:pos x="35" y="136"/>
                  </a:cxn>
                  <a:cxn ang="0">
                    <a:pos x="39" y="137"/>
                  </a:cxn>
                  <a:cxn ang="0">
                    <a:pos x="41" y="138"/>
                  </a:cxn>
                  <a:cxn ang="0">
                    <a:pos x="41" y="138"/>
                  </a:cxn>
                  <a:cxn ang="0">
                    <a:pos x="45" y="137"/>
                  </a:cxn>
                  <a:cxn ang="0">
                    <a:pos x="48" y="136"/>
                  </a:cxn>
                  <a:cxn ang="0">
                    <a:pos x="49" y="133"/>
                  </a:cxn>
                  <a:cxn ang="0">
                    <a:pos x="50" y="129"/>
                  </a:cxn>
                  <a:cxn ang="0">
                    <a:pos x="50" y="129"/>
                  </a:cxn>
                  <a:cxn ang="0">
                    <a:pos x="49" y="125"/>
                  </a:cxn>
                  <a:cxn ang="0">
                    <a:pos x="48" y="123"/>
                  </a:cxn>
                  <a:cxn ang="0">
                    <a:pos x="45" y="122"/>
                  </a:cxn>
                  <a:cxn ang="0">
                    <a:pos x="41" y="120"/>
                  </a:cxn>
                  <a:cxn ang="0">
                    <a:pos x="7" y="120"/>
                  </a:cxn>
                  <a:cxn ang="0">
                    <a:pos x="7" y="120"/>
                  </a:cxn>
                  <a:cxn ang="0">
                    <a:pos x="5" y="120"/>
                  </a:cxn>
                  <a:cxn ang="0">
                    <a:pos x="2" y="119"/>
                  </a:cxn>
                  <a:cxn ang="0">
                    <a:pos x="1" y="117"/>
                  </a:cxn>
                  <a:cxn ang="0">
                    <a:pos x="0" y="11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1" y="4"/>
                  </a:cxn>
                  <a:cxn ang="0">
                    <a:pos x="2" y="2"/>
                  </a:cxn>
                  <a:cxn ang="0">
                    <a:pos x="5" y="1"/>
                  </a:cxn>
                  <a:cxn ang="0">
                    <a:pos x="7" y="0"/>
                  </a:cxn>
                  <a:cxn ang="0">
                    <a:pos x="84" y="0"/>
                  </a:cxn>
                  <a:cxn ang="0">
                    <a:pos x="84" y="0"/>
                  </a:cxn>
                  <a:cxn ang="0">
                    <a:pos x="87" y="1"/>
                  </a:cxn>
                  <a:cxn ang="0">
                    <a:pos x="88" y="2"/>
                  </a:cxn>
                  <a:cxn ang="0">
                    <a:pos x="89" y="4"/>
                  </a:cxn>
                  <a:cxn ang="0">
                    <a:pos x="91" y="6"/>
                  </a:cxn>
                  <a:cxn ang="0">
                    <a:pos x="91" y="139"/>
                  </a:cxn>
                  <a:cxn ang="0">
                    <a:pos x="91" y="139"/>
                  </a:cxn>
                  <a:cxn ang="0">
                    <a:pos x="89" y="142"/>
                  </a:cxn>
                  <a:cxn ang="0">
                    <a:pos x="88" y="144"/>
                  </a:cxn>
                  <a:cxn ang="0">
                    <a:pos x="87" y="146"/>
                  </a:cxn>
                  <a:cxn ang="0">
                    <a:pos x="84" y="146"/>
                  </a:cxn>
                </a:cxnLst>
                <a:rect l="0" t="0" r="r" b="b"/>
                <a:pathLst>
                  <a:path w="91" h="146">
                    <a:moveTo>
                      <a:pt x="32" y="129"/>
                    </a:moveTo>
                    <a:lnTo>
                      <a:pt x="32" y="129"/>
                    </a:lnTo>
                    <a:lnTo>
                      <a:pt x="34" y="133"/>
                    </a:lnTo>
                    <a:lnTo>
                      <a:pt x="35" y="136"/>
                    </a:lnTo>
                    <a:lnTo>
                      <a:pt x="39" y="137"/>
                    </a:lnTo>
                    <a:lnTo>
                      <a:pt x="41" y="138"/>
                    </a:lnTo>
                    <a:lnTo>
                      <a:pt x="41" y="138"/>
                    </a:lnTo>
                    <a:lnTo>
                      <a:pt x="45" y="137"/>
                    </a:lnTo>
                    <a:lnTo>
                      <a:pt x="48" y="136"/>
                    </a:lnTo>
                    <a:lnTo>
                      <a:pt x="49" y="133"/>
                    </a:lnTo>
                    <a:lnTo>
                      <a:pt x="50" y="129"/>
                    </a:lnTo>
                    <a:lnTo>
                      <a:pt x="50" y="129"/>
                    </a:lnTo>
                    <a:lnTo>
                      <a:pt x="49" y="125"/>
                    </a:lnTo>
                    <a:lnTo>
                      <a:pt x="48" y="123"/>
                    </a:lnTo>
                    <a:lnTo>
                      <a:pt x="45" y="122"/>
                    </a:lnTo>
                    <a:lnTo>
                      <a:pt x="41" y="120"/>
                    </a:lnTo>
                    <a:lnTo>
                      <a:pt x="7" y="120"/>
                    </a:lnTo>
                    <a:lnTo>
                      <a:pt x="7" y="120"/>
                    </a:lnTo>
                    <a:lnTo>
                      <a:pt x="5" y="120"/>
                    </a:lnTo>
                    <a:lnTo>
                      <a:pt x="2" y="119"/>
                    </a:lnTo>
                    <a:lnTo>
                      <a:pt x="1" y="117"/>
                    </a:lnTo>
                    <a:lnTo>
                      <a:pt x="0" y="11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5" y="1"/>
                    </a:lnTo>
                    <a:lnTo>
                      <a:pt x="7" y="0"/>
                    </a:lnTo>
                    <a:lnTo>
                      <a:pt x="84" y="0"/>
                    </a:lnTo>
                    <a:lnTo>
                      <a:pt x="84" y="0"/>
                    </a:lnTo>
                    <a:lnTo>
                      <a:pt x="87" y="1"/>
                    </a:lnTo>
                    <a:lnTo>
                      <a:pt x="88" y="2"/>
                    </a:lnTo>
                    <a:lnTo>
                      <a:pt x="89" y="4"/>
                    </a:lnTo>
                    <a:lnTo>
                      <a:pt x="91" y="6"/>
                    </a:lnTo>
                    <a:lnTo>
                      <a:pt x="91" y="139"/>
                    </a:lnTo>
                    <a:lnTo>
                      <a:pt x="91" y="139"/>
                    </a:lnTo>
                    <a:lnTo>
                      <a:pt x="89" y="142"/>
                    </a:lnTo>
                    <a:lnTo>
                      <a:pt x="88" y="144"/>
                    </a:lnTo>
                    <a:lnTo>
                      <a:pt x="87" y="146"/>
                    </a:lnTo>
                    <a:lnTo>
                      <a:pt x="84" y="146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6" name="Groupe 836"/>
            <p:cNvGrpSpPr>
              <a:grpSpLocks/>
            </p:cNvGrpSpPr>
            <p:nvPr userDrawn="1"/>
          </p:nvGrpSpPr>
          <p:grpSpPr bwMode="auto">
            <a:xfrm>
              <a:off x="6165033" y="2867225"/>
              <a:ext cx="722304" cy="534472"/>
              <a:chOff x="1163614" y="7062589"/>
              <a:chExt cx="344488" cy="260350"/>
            </a:xfrm>
          </p:grpSpPr>
          <p:sp>
            <p:nvSpPr>
              <p:cNvPr id="26" name="Freeform 578"/>
              <p:cNvSpPr>
                <a:spLocks/>
              </p:cNvSpPr>
              <p:nvPr/>
            </p:nvSpPr>
            <p:spPr bwMode="auto">
              <a:xfrm>
                <a:off x="1477958" y="7108914"/>
                <a:ext cx="30348" cy="166252"/>
              </a:xfrm>
              <a:custGeom>
                <a:avLst/>
                <a:gdLst/>
                <a:ahLst/>
                <a:cxnLst>
                  <a:cxn ang="0">
                    <a:pos x="0" y="105"/>
                  </a:cxn>
                  <a:cxn ang="0">
                    <a:pos x="0" y="105"/>
                  </a:cxn>
                  <a:cxn ang="0">
                    <a:pos x="7" y="94"/>
                  </a:cxn>
                  <a:cxn ang="0">
                    <a:pos x="14" y="81"/>
                  </a:cxn>
                  <a:cxn ang="0">
                    <a:pos x="17" y="67"/>
                  </a:cxn>
                  <a:cxn ang="0">
                    <a:pos x="19" y="52"/>
                  </a:cxn>
                  <a:cxn ang="0">
                    <a:pos x="19" y="52"/>
                  </a:cxn>
                  <a:cxn ang="0">
                    <a:pos x="17" y="38"/>
                  </a:cxn>
                  <a:cxn ang="0">
                    <a:pos x="14" y="24"/>
                  </a:cxn>
                  <a:cxn ang="0">
                    <a:pos x="7" y="12"/>
                  </a:cxn>
                  <a:cxn ang="0">
                    <a:pos x="0" y="0"/>
                  </a:cxn>
                </a:cxnLst>
                <a:rect l="0" t="0" r="r" b="b"/>
                <a:pathLst>
                  <a:path w="19" h="105">
                    <a:moveTo>
                      <a:pt x="0" y="105"/>
                    </a:moveTo>
                    <a:lnTo>
                      <a:pt x="0" y="105"/>
                    </a:lnTo>
                    <a:lnTo>
                      <a:pt x="7" y="94"/>
                    </a:lnTo>
                    <a:lnTo>
                      <a:pt x="14" y="81"/>
                    </a:lnTo>
                    <a:lnTo>
                      <a:pt x="17" y="67"/>
                    </a:lnTo>
                    <a:lnTo>
                      <a:pt x="19" y="52"/>
                    </a:lnTo>
                    <a:lnTo>
                      <a:pt x="19" y="52"/>
                    </a:lnTo>
                    <a:lnTo>
                      <a:pt x="17" y="38"/>
                    </a:lnTo>
                    <a:lnTo>
                      <a:pt x="14" y="24"/>
                    </a:lnTo>
                    <a:lnTo>
                      <a:pt x="7" y="12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7" name="Freeform 579"/>
              <p:cNvSpPr>
                <a:spLocks/>
              </p:cNvSpPr>
              <p:nvPr/>
            </p:nvSpPr>
            <p:spPr bwMode="auto">
              <a:xfrm>
                <a:off x="1277825" y="7273619"/>
                <a:ext cx="10170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7" y="7"/>
                  </a:cxn>
                  <a:cxn ang="0">
                    <a:pos x="13" y="13"/>
                  </a:cxn>
                  <a:cxn ang="0">
                    <a:pos x="21" y="18"/>
                  </a:cxn>
                  <a:cxn ang="0">
                    <a:pos x="28" y="22"/>
                  </a:cxn>
                  <a:cxn ang="0">
                    <a:pos x="36" y="26"/>
                  </a:cxn>
                  <a:cxn ang="0">
                    <a:pos x="45" y="28"/>
                  </a:cxn>
                  <a:cxn ang="0">
                    <a:pos x="54" y="29"/>
                  </a:cxn>
                  <a:cxn ang="0">
                    <a:pos x="64" y="31"/>
                  </a:cxn>
                </a:cxnLst>
                <a:rect l="0" t="0" r="r" b="b"/>
                <a:pathLst>
                  <a:path w="64" h="31">
                    <a:moveTo>
                      <a:pt x="0" y="0"/>
                    </a:moveTo>
                    <a:lnTo>
                      <a:pt x="0" y="0"/>
                    </a:lnTo>
                    <a:lnTo>
                      <a:pt x="7" y="7"/>
                    </a:lnTo>
                    <a:lnTo>
                      <a:pt x="13" y="13"/>
                    </a:lnTo>
                    <a:lnTo>
                      <a:pt x="21" y="18"/>
                    </a:lnTo>
                    <a:lnTo>
                      <a:pt x="28" y="22"/>
                    </a:lnTo>
                    <a:lnTo>
                      <a:pt x="36" y="26"/>
                    </a:lnTo>
                    <a:lnTo>
                      <a:pt x="45" y="28"/>
                    </a:lnTo>
                    <a:lnTo>
                      <a:pt x="54" y="29"/>
                    </a:lnTo>
                    <a:lnTo>
                      <a:pt x="64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8" name="Line 580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9" name="Line 581"/>
              <p:cNvSpPr>
                <a:spLocks noChangeShapeType="1"/>
              </p:cNvSpPr>
              <p:nvPr/>
            </p:nvSpPr>
            <p:spPr bwMode="auto">
              <a:xfrm>
                <a:off x="1277825" y="7108914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0" name="Freeform 582"/>
              <p:cNvSpPr>
                <a:spLocks/>
              </p:cNvSpPr>
              <p:nvPr/>
            </p:nvSpPr>
            <p:spPr bwMode="auto">
              <a:xfrm>
                <a:off x="1277825" y="7062518"/>
                <a:ext cx="200134" cy="46396"/>
              </a:xfrm>
              <a:custGeom>
                <a:avLst/>
                <a:gdLst/>
                <a:ahLst/>
                <a:cxnLst>
                  <a:cxn ang="0">
                    <a:pos x="0" y="29"/>
                  </a:cxn>
                  <a:cxn ang="0">
                    <a:pos x="0" y="29"/>
                  </a:cxn>
                  <a:cxn ang="0">
                    <a:pos x="7" y="23"/>
                  </a:cxn>
                  <a:cxn ang="0">
                    <a:pos x="13" y="17"/>
                  </a:cxn>
                  <a:cxn ang="0">
                    <a:pos x="21" y="12"/>
                  </a:cxn>
                  <a:cxn ang="0">
                    <a:pos x="28" y="8"/>
                  </a:cxn>
                  <a:cxn ang="0">
                    <a:pos x="37" y="4"/>
                  </a:cxn>
                  <a:cxn ang="0">
                    <a:pos x="45" y="3"/>
                  </a:cxn>
                  <a:cxn ang="0">
                    <a:pos x="54" y="0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73" y="0"/>
                  </a:cxn>
                  <a:cxn ang="0">
                    <a:pos x="81" y="3"/>
                  </a:cxn>
                  <a:cxn ang="0">
                    <a:pos x="90" y="4"/>
                  </a:cxn>
                  <a:cxn ang="0">
                    <a:pos x="98" y="8"/>
                  </a:cxn>
                  <a:cxn ang="0">
                    <a:pos x="105" y="12"/>
                  </a:cxn>
                  <a:cxn ang="0">
                    <a:pos x="113" y="17"/>
                  </a:cxn>
                  <a:cxn ang="0">
                    <a:pos x="119" y="23"/>
                  </a:cxn>
                  <a:cxn ang="0">
                    <a:pos x="126" y="29"/>
                  </a:cxn>
                </a:cxnLst>
                <a:rect l="0" t="0" r="r" b="b"/>
                <a:pathLst>
                  <a:path w="126" h="29">
                    <a:moveTo>
                      <a:pt x="0" y="29"/>
                    </a:moveTo>
                    <a:lnTo>
                      <a:pt x="0" y="29"/>
                    </a:lnTo>
                    <a:lnTo>
                      <a:pt x="7" y="23"/>
                    </a:lnTo>
                    <a:lnTo>
                      <a:pt x="13" y="17"/>
                    </a:lnTo>
                    <a:lnTo>
                      <a:pt x="21" y="12"/>
                    </a:lnTo>
                    <a:lnTo>
                      <a:pt x="28" y="8"/>
                    </a:lnTo>
                    <a:lnTo>
                      <a:pt x="37" y="4"/>
                    </a:lnTo>
                    <a:lnTo>
                      <a:pt x="45" y="3"/>
                    </a:lnTo>
                    <a:lnTo>
                      <a:pt x="5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73" y="0"/>
                    </a:lnTo>
                    <a:lnTo>
                      <a:pt x="81" y="3"/>
                    </a:lnTo>
                    <a:lnTo>
                      <a:pt x="90" y="4"/>
                    </a:lnTo>
                    <a:lnTo>
                      <a:pt x="98" y="8"/>
                    </a:lnTo>
                    <a:lnTo>
                      <a:pt x="105" y="12"/>
                    </a:lnTo>
                    <a:lnTo>
                      <a:pt x="113" y="17"/>
                    </a:lnTo>
                    <a:lnTo>
                      <a:pt x="119" y="23"/>
                    </a:lnTo>
                    <a:lnTo>
                      <a:pt x="126" y="2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1" name="Freeform 583"/>
              <p:cNvSpPr>
                <a:spLocks/>
              </p:cNvSpPr>
              <p:nvPr/>
            </p:nvSpPr>
            <p:spPr bwMode="auto">
              <a:xfrm>
                <a:off x="1277825" y="7108914"/>
                <a:ext cx="200134" cy="2165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3" y="7"/>
                  </a:cxn>
                  <a:cxn ang="0">
                    <a:pos x="28" y="10"/>
                  </a:cxn>
                  <a:cxn ang="0">
                    <a:pos x="45" y="13"/>
                  </a:cxn>
                  <a:cxn ang="0">
                    <a:pos x="62" y="14"/>
                  </a:cxn>
                  <a:cxn ang="0">
                    <a:pos x="62" y="14"/>
                  </a:cxn>
                  <a:cxn ang="0">
                    <a:pos x="81" y="13"/>
                  </a:cxn>
                  <a:cxn ang="0">
                    <a:pos x="98" y="10"/>
                  </a:cxn>
                  <a:cxn ang="0">
                    <a:pos x="113" y="5"/>
                  </a:cxn>
                  <a:cxn ang="0">
                    <a:pos x="126" y="0"/>
                  </a:cxn>
                </a:cxnLst>
                <a:rect l="0" t="0" r="r" b="b"/>
                <a:pathLst>
                  <a:path w="126" h="14">
                    <a:moveTo>
                      <a:pt x="0" y="0"/>
                    </a:moveTo>
                    <a:lnTo>
                      <a:pt x="0" y="0"/>
                    </a:lnTo>
                    <a:lnTo>
                      <a:pt x="13" y="7"/>
                    </a:lnTo>
                    <a:lnTo>
                      <a:pt x="28" y="10"/>
                    </a:lnTo>
                    <a:lnTo>
                      <a:pt x="45" y="13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1" y="13"/>
                    </a:lnTo>
                    <a:lnTo>
                      <a:pt x="98" y="10"/>
                    </a:lnTo>
                    <a:lnTo>
                      <a:pt x="113" y="5"/>
                    </a:lnTo>
                    <a:lnTo>
                      <a:pt x="126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2" name="Freeform 584"/>
              <p:cNvSpPr>
                <a:spLocks/>
              </p:cNvSpPr>
              <p:nvPr/>
            </p:nvSpPr>
            <p:spPr bwMode="auto">
              <a:xfrm>
                <a:off x="1277825" y="7251968"/>
                <a:ext cx="200134" cy="23198"/>
              </a:xfrm>
              <a:custGeom>
                <a:avLst/>
                <a:gdLst/>
                <a:ahLst/>
                <a:cxnLst>
                  <a:cxn ang="0">
                    <a:pos x="126" y="14"/>
                  </a:cxn>
                  <a:cxn ang="0">
                    <a:pos x="126" y="14"/>
                  </a:cxn>
                  <a:cxn ang="0">
                    <a:pos x="113" y="9"/>
                  </a:cxn>
                  <a:cxn ang="0">
                    <a:pos x="98" y="4"/>
                  </a:cxn>
                  <a:cxn ang="0">
                    <a:pos x="81" y="2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45" y="2"/>
                  </a:cxn>
                  <a:cxn ang="0">
                    <a:pos x="28" y="4"/>
                  </a:cxn>
                  <a:cxn ang="0">
                    <a:pos x="13" y="9"/>
                  </a:cxn>
                  <a:cxn ang="0">
                    <a:pos x="0" y="15"/>
                  </a:cxn>
                </a:cxnLst>
                <a:rect l="0" t="0" r="r" b="b"/>
                <a:pathLst>
                  <a:path w="126" h="15">
                    <a:moveTo>
                      <a:pt x="126" y="14"/>
                    </a:moveTo>
                    <a:lnTo>
                      <a:pt x="126" y="14"/>
                    </a:lnTo>
                    <a:lnTo>
                      <a:pt x="113" y="9"/>
                    </a:lnTo>
                    <a:lnTo>
                      <a:pt x="98" y="4"/>
                    </a:lnTo>
                    <a:lnTo>
                      <a:pt x="81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45" y="2"/>
                    </a:lnTo>
                    <a:lnTo>
                      <a:pt x="28" y="4"/>
                    </a:lnTo>
                    <a:lnTo>
                      <a:pt x="13" y="9"/>
                    </a:lnTo>
                    <a:lnTo>
                      <a:pt x="0" y="1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3" name="Freeform 585"/>
              <p:cNvSpPr>
                <a:spLocks/>
              </p:cNvSpPr>
              <p:nvPr/>
            </p:nvSpPr>
            <p:spPr bwMode="auto">
              <a:xfrm>
                <a:off x="1308173" y="7062518"/>
                <a:ext cx="141078" cy="260591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81"/>
                  </a:cxn>
                  <a:cxn ang="0">
                    <a:pos x="2" y="65"/>
                  </a:cxn>
                  <a:cxn ang="0">
                    <a:pos x="4" y="50"/>
                  </a:cxn>
                  <a:cxn ang="0">
                    <a:pos x="8" y="36"/>
                  </a:cxn>
                  <a:cxn ang="0">
                    <a:pos x="13" y="24"/>
                  </a:cxn>
                  <a:cxn ang="0">
                    <a:pos x="19" y="14"/>
                  </a:cxn>
                  <a:cxn ang="0">
                    <a:pos x="27" y="7"/>
                  </a:cxn>
                  <a:cxn ang="0">
                    <a:pos x="36" y="1"/>
                  </a:cxn>
                  <a:cxn ang="0">
                    <a:pos x="40" y="0"/>
                  </a:cxn>
                  <a:cxn ang="0">
                    <a:pos x="45" y="0"/>
                  </a:cxn>
                  <a:cxn ang="0">
                    <a:pos x="45" y="0"/>
                  </a:cxn>
                  <a:cxn ang="0">
                    <a:pos x="48" y="0"/>
                  </a:cxn>
                  <a:cxn ang="0">
                    <a:pos x="54" y="1"/>
                  </a:cxn>
                  <a:cxn ang="0">
                    <a:pos x="61" y="7"/>
                  </a:cxn>
                  <a:cxn ang="0">
                    <a:pos x="69" y="14"/>
                  </a:cxn>
                  <a:cxn ang="0">
                    <a:pos x="75" y="24"/>
                  </a:cxn>
                  <a:cxn ang="0">
                    <a:pos x="81" y="36"/>
                  </a:cxn>
                  <a:cxn ang="0">
                    <a:pos x="85" y="50"/>
                  </a:cxn>
                  <a:cxn ang="0">
                    <a:pos x="88" y="65"/>
                  </a:cxn>
                  <a:cxn ang="0">
                    <a:pos x="89" y="81"/>
                  </a:cxn>
                  <a:cxn ang="0">
                    <a:pos x="89" y="81"/>
                  </a:cxn>
                  <a:cxn ang="0">
                    <a:pos x="88" y="98"/>
                  </a:cxn>
                  <a:cxn ang="0">
                    <a:pos x="85" y="113"/>
                  </a:cxn>
                  <a:cxn ang="0">
                    <a:pos x="81" y="127"/>
                  </a:cxn>
                  <a:cxn ang="0">
                    <a:pos x="75" y="140"/>
                  </a:cxn>
                  <a:cxn ang="0">
                    <a:pos x="69" y="150"/>
                  </a:cxn>
                  <a:cxn ang="0">
                    <a:pos x="61" y="157"/>
                  </a:cxn>
                  <a:cxn ang="0">
                    <a:pos x="54" y="161"/>
                  </a:cxn>
                  <a:cxn ang="0">
                    <a:pos x="48" y="162"/>
                  </a:cxn>
                  <a:cxn ang="0">
                    <a:pos x="45" y="164"/>
                  </a:cxn>
                  <a:cxn ang="0">
                    <a:pos x="45" y="164"/>
                  </a:cxn>
                  <a:cxn ang="0">
                    <a:pos x="38" y="162"/>
                  </a:cxn>
                  <a:cxn ang="0">
                    <a:pos x="33" y="160"/>
                  </a:cxn>
                  <a:cxn ang="0">
                    <a:pos x="27" y="157"/>
                  </a:cxn>
                  <a:cxn ang="0">
                    <a:pos x="22" y="152"/>
                  </a:cxn>
                  <a:cxn ang="0">
                    <a:pos x="18" y="147"/>
                  </a:cxn>
                  <a:cxn ang="0">
                    <a:pos x="13" y="140"/>
                  </a:cxn>
                  <a:cxn ang="0">
                    <a:pos x="9" y="132"/>
                  </a:cxn>
                  <a:cxn ang="0">
                    <a:pos x="7" y="124"/>
                  </a:cxn>
                </a:cxnLst>
                <a:rect l="0" t="0" r="r" b="b"/>
                <a:pathLst>
                  <a:path w="89" h="164">
                    <a:moveTo>
                      <a:pt x="0" y="81"/>
                    </a:moveTo>
                    <a:lnTo>
                      <a:pt x="0" y="81"/>
                    </a:lnTo>
                    <a:lnTo>
                      <a:pt x="2" y="65"/>
                    </a:lnTo>
                    <a:lnTo>
                      <a:pt x="4" y="50"/>
                    </a:lnTo>
                    <a:lnTo>
                      <a:pt x="8" y="36"/>
                    </a:lnTo>
                    <a:lnTo>
                      <a:pt x="13" y="24"/>
                    </a:lnTo>
                    <a:lnTo>
                      <a:pt x="19" y="14"/>
                    </a:lnTo>
                    <a:lnTo>
                      <a:pt x="27" y="7"/>
                    </a:lnTo>
                    <a:lnTo>
                      <a:pt x="36" y="1"/>
                    </a:lnTo>
                    <a:lnTo>
                      <a:pt x="40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8" y="0"/>
                    </a:lnTo>
                    <a:lnTo>
                      <a:pt x="54" y="1"/>
                    </a:lnTo>
                    <a:lnTo>
                      <a:pt x="61" y="7"/>
                    </a:lnTo>
                    <a:lnTo>
                      <a:pt x="69" y="14"/>
                    </a:lnTo>
                    <a:lnTo>
                      <a:pt x="75" y="24"/>
                    </a:lnTo>
                    <a:lnTo>
                      <a:pt x="81" y="36"/>
                    </a:lnTo>
                    <a:lnTo>
                      <a:pt x="85" y="50"/>
                    </a:lnTo>
                    <a:lnTo>
                      <a:pt x="88" y="65"/>
                    </a:lnTo>
                    <a:lnTo>
                      <a:pt x="89" y="81"/>
                    </a:lnTo>
                    <a:lnTo>
                      <a:pt x="89" y="81"/>
                    </a:lnTo>
                    <a:lnTo>
                      <a:pt x="88" y="98"/>
                    </a:lnTo>
                    <a:lnTo>
                      <a:pt x="85" y="113"/>
                    </a:lnTo>
                    <a:lnTo>
                      <a:pt x="81" y="127"/>
                    </a:lnTo>
                    <a:lnTo>
                      <a:pt x="75" y="140"/>
                    </a:lnTo>
                    <a:lnTo>
                      <a:pt x="69" y="150"/>
                    </a:lnTo>
                    <a:lnTo>
                      <a:pt x="61" y="157"/>
                    </a:lnTo>
                    <a:lnTo>
                      <a:pt x="54" y="161"/>
                    </a:lnTo>
                    <a:lnTo>
                      <a:pt x="48" y="162"/>
                    </a:lnTo>
                    <a:lnTo>
                      <a:pt x="45" y="164"/>
                    </a:lnTo>
                    <a:lnTo>
                      <a:pt x="45" y="164"/>
                    </a:lnTo>
                    <a:lnTo>
                      <a:pt x="38" y="162"/>
                    </a:lnTo>
                    <a:lnTo>
                      <a:pt x="33" y="160"/>
                    </a:lnTo>
                    <a:lnTo>
                      <a:pt x="27" y="157"/>
                    </a:lnTo>
                    <a:lnTo>
                      <a:pt x="22" y="152"/>
                    </a:lnTo>
                    <a:lnTo>
                      <a:pt x="18" y="147"/>
                    </a:lnTo>
                    <a:lnTo>
                      <a:pt x="13" y="140"/>
                    </a:lnTo>
                    <a:lnTo>
                      <a:pt x="9" y="132"/>
                    </a:lnTo>
                    <a:lnTo>
                      <a:pt x="7" y="124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4" name="Line 586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26083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5" name="Line 587"/>
              <p:cNvSpPr>
                <a:spLocks noChangeShapeType="1"/>
              </p:cNvSpPr>
              <p:nvPr/>
            </p:nvSpPr>
            <p:spPr bwMode="auto">
              <a:xfrm flipV="1">
                <a:off x="1379532" y="7062518"/>
                <a:ext cx="820" cy="260591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6" name="Line 588"/>
              <p:cNvSpPr>
                <a:spLocks noChangeShapeType="1"/>
              </p:cNvSpPr>
              <p:nvPr/>
            </p:nvSpPr>
            <p:spPr bwMode="auto">
              <a:xfrm>
                <a:off x="1163814" y="7167682"/>
                <a:ext cx="83662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7" name="Freeform 589"/>
              <p:cNvSpPr>
                <a:spLocks/>
              </p:cNvSpPr>
              <p:nvPr/>
            </p:nvSpPr>
            <p:spPr bwMode="auto">
              <a:xfrm>
                <a:off x="1247477" y="7143711"/>
                <a:ext cx="25427" cy="4717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" y="15"/>
                  </a:cxn>
                  <a:cxn ang="0">
                    <a:pos x="0" y="30"/>
                  </a:cxn>
                </a:cxnLst>
                <a:rect l="0" t="0" r="r" b="b"/>
                <a:pathLst>
                  <a:path w="16" h="30">
                    <a:moveTo>
                      <a:pt x="0" y="0"/>
                    </a:moveTo>
                    <a:lnTo>
                      <a:pt x="16" y="15"/>
                    </a:lnTo>
                    <a:lnTo>
                      <a:pt x="0" y="3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8" name="Line 590"/>
              <p:cNvSpPr>
                <a:spLocks noChangeShapeType="1"/>
              </p:cNvSpPr>
              <p:nvPr/>
            </p:nvSpPr>
            <p:spPr bwMode="auto">
              <a:xfrm>
                <a:off x="1231892" y="7235730"/>
                <a:ext cx="86943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9" name="Freeform 591"/>
              <p:cNvSpPr>
                <a:spLocks/>
              </p:cNvSpPr>
              <p:nvPr/>
            </p:nvSpPr>
            <p:spPr bwMode="auto">
              <a:xfrm>
                <a:off x="1318836" y="7210212"/>
                <a:ext cx="2378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" y="16"/>
                  </a:cxn>
                  <a:cxn ang="0">
                    <a:pos x="0" y="31"/>
                  </a:cxn>
                </a:cxnLst>
                <a:rect l="0" t="0" r="r" b="b"/>
                <a:pathLst>
                  <a:path w="15" h="31">
                    <a:moveTo>
                      <a:pt x="0" y="0"/>
                    </a:moveTo>
                    <a:lnTo>
                      <a:pt x="15" y="16"/>
                    </a:lnTo>
                    <a:lnTo>
                      <a:pt x="0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7" name="Groupe 320"/>
            <p:cNvGrpSpPr>
              <a:grpSpLocks/>
            </p:cNvGrpSpPr>
            <p:nvPr userDrawn="1"/>
          </p:nvGrpSpPr>
          <p:grpSpPr bwMode="auto">
            <a:xfrm>
              <a:off x="4610305" y="2502608"/>
              <a:ext cx="442816" cy="482367"/>
              <a:chOff x="4430703" y="4715239"/>
              <a:chExt cx="374626" cy="416805"/>
            </a:xfrm>
          </p:grpSpPr>
          <p:sp>
            <p:nvSpPr>
              <p:cNvPr id="21" name="Freeform 897"/>
              <p:cNvSpPr>
                <a:spLocks/>
              </p:cNvSpPr>
              <p:nvPr/>
            </p:nvSpPr>
            <p:spPr bwMode="auto">
              <a:xfrm>
                <a:off x="4649334" y="4788757"/>
                <a:ext cx="155680" cy="256503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4912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0" fmla="*/ 4737 w 9825"/>
                  <a:gd name="connsiteY0" fmla="*/ 10000 h 10000"/>
                  <a:gd name="connsiteX1" fmla="*/ 4737 w 9825"/>
                  <a:gd name="connsiteY1" fmla="*/ 10000 h 10000"/>
                  <a:gd name="connsiteX2" fmla="*/ 6579 w 9825"/>
                  <a:gd name="connsiteY2" fmla="*/ 10000 h 10000"/>
                  <a:gd name="connsiteX3" fmla="*/ 8246 w 9825"/>
                  <a:gd name="connsiteY3" fmla="*/ 9938 h 10000"/>
                  <a:gd name="connsiteX4" fmla="*/ 9386 w 9825"/>
                  <a:gd name="connsiteY4" fmla="*/ 9814 h 10000"/>
                  <a:gd name="connsiteX5" fmla="*/ 9737 w 9825"/>
                  <a:gd name="connsiteY5" fmla="*/ 9752 h 10000"/>
                  <a:gd name="connsiteX6" fmla="*/ 9825 w 9825"/>
                  <a:gd name="connsiteY6" fmla="*/ 9689 h 10000"/>
                  <a:gd name="connsiteX7" fmla="*/ 9825 w 9825"/>
                  <a:gd name="connsiteY7" fmla="*/ 9689 h 10000"/>
                  <a:gd name="connsiteX8" fmla="*/ 9825 w 9825"/>
                  <a:gd name="connsiteY8" fmla="*/ 8634 h 10000"/>
                  <a:gd name="connsiteX9" fmla="*/ 9737 w 9825"/>
                  <a:gd name="connsiteY9" fmla="*/ 7702 h 10000"/>
                  <a:gd name="connsiteX10" fmla="*/ 9386 w 9825"/>
                  <a:gd name="connsiteY10" fmla="*/ 6832 h 10000"/>
                  <a:gd name="connsiteX11" fmla="*/ 9036 w 9825"/>
                  <a:gd name="connsiteY11" fmla="*/ 6087 h 10000"/>
                  <a:gd name="connsiteX12" fmla="*/ 8509 w 9825"/>
                  <a:gd name="connsiteY12" fmla="*/ 5342 h 10000"/>
                  <a:gd name="connsiteX13" fmla="*/ 7807 w 9825"/>
                  <a:gd name="connsiteY13" fmla="*/ 4783 h 10000"/>
                  <a:gd name="connsiteX14" fmla="*/ 6930 w 9825"/>
                  <a:gd name="connsiteY14" fmla="*/ 4410 h 10000"/>
                  <a:gd name="connsiteX15" fmla="*/ 5965 w 9825"/>
                  <a:gd name="connsiteY15" fmla="*/ 4099 h 10000"/>
                  <a:gd name="connsiteX16" fmla="*/ 5965 w 9825"/>
                  <a:gd name="connsiteY16" fmla="*/ 4099 h 10000"/>
                  <a:gd name="connsiteX17" fmla="*/ 6492 w 9825"/>
                  <a:gd name="connsiteY17" fmla="*/ 3727 h 10000"/>
                  <a:gd name="connsiteX18" fmla="*/ 6843 w 9825"/>
                  <a:gd name="connsiteY18" fmla="*/ 3230 h 10000"/>
                  <a:gd name="connsiteX19" fmla="*/ 7106 w 9825"/>
                  <a:gd name="connsiteY19" fmla="*/ 2671 h 10000"/>
                  <a:gd name="connsiteX20" fmla="*/ 7369 w 9825"/>
                  <a:gd name="connsiteY20" fmla="*/ 2112 h 10000"/>
                  <a:gd name="connsiteX21" fmla="*/ 7369 w 9825"/>
                  <a:gd name="connsiteY21" fmla="*/ 2112 h 10000"/>
                  <a:gd name="connsiteX22" fmla="*/ 7281 w 9825"/>
                  <a:gd name="connsiteY22" fmla="*/ 1677 h 10000"/>
                  <a:gd name="connsiteX23" fmla="*/ 7106 w 9825"/>
                  <a:gd name="connsiteY23" fmla="*/ 1242 h 10000"/>
                  <a:gd name="connsiteX24" fmla="*/ 6930 w 9825"/>
                  <a:gd name="connsiteY24" fmla="*/ 870 h 10000"/>
                  <a:gd name="connsiteX25" fmla="*/ 6579 w 9825"/>
                  <a:gd name="connsiteY25" fmla="*/ 559 h 10000"/>
                  <a:gd name="connsiteX26" fmla="*/ 6229 w 9825"/>
                  <a:gd name="connsiteY26" fmla="*/ 311 h 10000"/>
                  <a:gd name="connsiteX27" fmla="*/ 5790 w 9825"/>
                  <a:gd name="connsiteY27" fmla="*/ 186 h 10000"/>
                  <a:gd name="connsiteX28" fmla="*/ 5351 w 9825"/>
                  <a:gd name="connsiteY28" fmla="*/ 0 h 10000"/>
                  <a:gd name="connsiteX29" fmla="*/ 4825 w 9825"/>
                  <a:gd name="connsiteY29" fmla="*/ 0 h 10000"/>
                  <a:gd name="connsiteX30" fmla="*/ 4825 w 9825"/>
                  <a:gd name="connsiteY30" fmla="*/ 0 h 10000"/>
                  <a:gd name="connsiteX31" fmla="*/ 4386 w 9825"/>
                  <a:gd name="connsiteY31" fmla="*/ 0 h 10000"/>
                  <a:gd name="connsiteX32" fmla="*/ 3948 w 9825"/>
                  <a:gd name="connsiteY32" fmla="*/ 186 h 10000"/>
                  <a:gd name="connsiteX33" fmla="*/ 3509 w 9825"/>
                  <a:gd name="connsiteY33" fmla="*/ 311 h 10000"/>
                  <a:gd name="connsiteX34" fmla="*/ 3071 w 9825"/>
                  <a:gd name="connsiteY34" fmla="*/ 559 h 10000"/>
                  <a:gd name="connsiteX35" fmla="*/ 2807 w 9825"/>
                  <a:gd name="connsiteY35" fmla="*/ 870 h 10000"/>
                  <a:gd name="connsiteX36" fmla="*/ 2544 w 9825"/>
                  <a:gd name="connsiteY36" fmla="*/ 1242 h 10000"/>
                  <a:gd name="connsiteX37" fmla="*/ 2369 w 9825"/>
                  <a:gd name="connsiteY37" fmla="*/ 1677 h 10000"/>
                  <a:gd name="connsiteX38" fmla="*/ 2369 w 9825"/>
                  <a:gd name="connsiteY38" fmla="*/ 2112 h 10000"/>
                  <a:gd name="connsiteX39" fmla="*/ 2369 w 9825"/>
                  <a:gd name="connsiteY39" fmla="*/ 2112 h 10000"/>
                  <a:gd name="connsiteX40" fmla="*/ 2457 w 9825"/>
                  <a:gd name="connsiteY40" fmla="*/ 2671 h 10000"/>
                  <a:gd name="connsiteX41" fmla="*/ 2807 w 9825"/>
                  <a:gd name="connsiteY41" fmla="*/ 3230 h 10000"/>
                  <a:gd name="connsiteX42" fmla="*/ 3246 w 9825"/>
                  <a:gd name="connsiteY42" fmla="*/ 3727 h 10000"/>
                  <a:gd name="connsiteX43" fmla="*/ 3685 w 9825"/>
                  <a:gd name="connsiteY43" fmla="*/ 4099 h 10000"/>
                  <a:gd name="connsiteX44" fmla="*/ 3685 w 9825"/>
                  <a:gd name="connsiteY44" fmla="*/ 4099 h 10000"/>
                  <a:gd name="connsiteX45" fmla="*/ 2720 w 9825"/>
                  <a:gd name="connsiteY45" fmla="*/ 4410 h 10000"/>
                  <a:gd name="connsiteX46" fmla="*/ 1930 w 9825"/>
                  <a:gd name="connsiteY46" fmla="*/ 4783 h 10000"/>
                  <a:gd name="connsiteX47" fmla="*/ 1229 w 9825"/>
                  <a:gd name="connsiteY47" fmla="*/ 5342 h 10000"/>
                  <a:gd name="connsiteX48" fmla="*/ 702 w 9825"/>
                  <a:gd name="connsiteY48" fmla="*/ 6087 h 10000"/>
                  <a:gd name="connsiteX49" fmla="*/ 264 w 9825"/>
                  <a:gd name="connsiteY49" fmla="*/ 6832 h 10000"/>
                  <a:gd name="connsiteX50" fmla="*/ 0 w 9825"/>
                  <a:gd name="connsiteY50" fmla="*/ 7702 h 10000"/>
                  <a:gd name="connsiteX0" fmla="*/ 4552 w 9731"/>
                  <a:gd name="connsiteY0" fmla="*/ 10000 h 10000"/>
                  <a:gd name="connsiteX1" fmla="*/ 4552 w 9731"/>
                  <a:gd name="connsiteY1" fmla="*/ 10000 h 10000"/>
                  <a:gd name="connsiteX2" fmla="*/ 6427 w 9731"/>
                  <a:gd name="connsiteY2" fmla="*/ 10000 h 10000"/>
                  <a:gd name="connsiteX3" fmla="*/ 8124 w 9731"/>
                  <a:gd name="connsiteY3" fmla="*/ 9938 h 10000"/>
                  <a:gd name="connsiteX4" fmla="*/ 9284 w 9731"/>
                  <a:gd name="connsiteY4" fmla="*/ 9814 h 10000"/>
                  <a:gd name="connsiteX5" fmla="*/ 9641 w 9731"/>
                  <a:gd name="connsiteY5" fmla="*/ 9752 h 10000"/>
                  <a:gd name="connsiteX6" fmla="*/ 9731 w 9731"/>
                  <a:gd name="connsiteY6" fmla="*/ 9689 h 10000"/>
                  <a:gd name="connsiteX7" fmla="*/ 9731 w 9731"/>
                  <a:gd name="connsiteY7" fmla="*/ 9689 h 10000"/>
                  <a:gd name="connsiteX8" fmla="*/ 9731 w 9731"/>
                  <a:gd name="connsiteY8" fmla="*/ 8634 h 10000"/>
                  <a:gd name="connsiteX9" fmla="*/ 9641 w 9731"/>
                  <a:gd name="connsiteY9" fmla="*/ 7702 h 10000"/>
                  <a:gd name="connsiteX10" fmla="*/ 9284 w 9731"/>
                  <a:gd name="connsiteY10" fmla="*/ 6832 h 10000"/>
                  <a:gd name="connsiteX11" fmla="*/ 8928 w 9731"/>
                  <a:gd name="connsiteY11" fmla="*/ 6087 h 10000"/>
                  <a:gd name="connsiteX12" fmla="*/ 8392 w 9731"/>
                  <a:gd name="connsiteY12" fmla="*/ 5342 h 10000"/>
                  <a:gd name="connsiteX13" fmla="*/ 7677 w 9731"/>
                  <a:gd name="connsiteY13" fmla="*/ 4783 h 10000"/>
                  <a:gd name="connsiteX14" fmla="*/ 6784 w 9731"/>
                  <a:gd name="connsiteY14" fmla="*/ 4410 h 10000"/>
                  <a:gd name="connsiteX15" fmla="*/ 5802 w 9731"/>
                  <a:gd name="connsiteY15" fmla="*/ 4099 h 10000"/>
                  <a:gd name="connsiteX16" fmla="*/ 5802 w 9731"/>
                  <a:gd name="connsiteY16" fmla="*/ 4099 h 10000"/>
                  <a:gd name="connsiteX17" fmla="*/ 6339 w 9731"/>
                  <a:gd name="connsiteY17" fmla="*/ 3727 h 10000"/>
                  <a:gd name="connsiteX18" fmla="*/ 6696 w 9731"/>
                  <a:gd name="connsiteY18" fmla="*/ 3230 h 10000"/>
                  <a:gd name="connsiteX19" fmla="*/ 6964 w 9731"/>
                  <a:gd name="connsiteY19" fmla="*/ 2671 h 10000"/>
                  <a:gd name="connsiteX20" fmla="*/ 7231 w 9731"/>
                  <a:gd name="connsiteY20" fmla="*/ 2112 h 10000"/>
                  <a:gd name="connsiteX21" fmla="*/ 7231 w 9731"/>
                  <a:gd name="connsiteY21" fmla="*/ 2112 h 10000"/>
                  <a:gd name="connsiteX22" fmla="*/ 7142 w 9731"/>
                  <a:gd name="connsiteY22" fmla="*/ 1677 h 10000"/>
                  <a:gd name="connsiteX23" fmla="*/ 6964 w 9731"/>
                  <a:gd name="connsiteY23" fmla="*/ 1242 h 10000"/>
                  <a:gd name="connsiteX24" fmla="*/ 6784 w 9731"/>
                  <a:gd name="connsiteY24" fmla="*/ 870 h 10000"/>
                  <a:gd name="connsiteX25" fmla="*/ 6427 w 9731"/>
                  <a:gd name="connsiteY25" fmla="*/ 559 h 10000"/>
                  <a:gd name="connsiteX26" fmla="*/ 6071 w 9731"/>
                  <a:gd name="connsiteY26" fmla="*/ 311 h 10000"/>
                  <a:gd name="connsiteX27" fmla="*/ 5624 w 9731"/>
                  <a:gd name="connsiteY27" fmla="*/ 186 h 10000"/>
                  <a:gd name="connsiteX28" fmla="*/ 5177 w 9731"/>
                  <a:gd name="connsiteY28" fmla="*/ 0 h 10000"/>
                  <a:gd name="connsiteX29" fmla="*/ 4642 w 9731"/>
                  <a:gd name="connsiteY29" fmla="*/ 0 h 10000"/>
                  <a:gd name="connsiteX30" fmla="*/ 4642 w 9731"/>
                  <a:gd name="connsiteY30" fmla="*/ 0 h 10000"/>
                  <a:gd name="connsiteX31" fmla="*/ 4195 w 9731"/>
                  <a:gd name="connsiteY31" fmla="*/ 0 h 10000"/>
                  <a:gd name="connsiteX32" fmla="*/ 3749 w 9731"/>
                  <a:gd name="connsiteY32" fmla="*/ 186 h 10000"/>
                  <a:gd name="connsiteX33" fmla="*/ 3303 w 9731"/>
                  <a:gd name="connsiteY33" fmla="*/ 311 h 10000"/>
                  <a:gd name="connsiteX34" fmla="*/ 2857 w 9731"/>
                  <a:gd name="connsiteY34" fmla="*/ 559 h 10000"/>
                  <a:gd name="connsiteX35" fmla="*/ 2588 w 9731"/>
                  <a:gd name="connsiteY35" fmla="*/ 870 h 10000"/>
                  <a:gd name="connsiteX36" fmla="*/ 2320 w 9731"/>
                  <a:gd name="connsiteY36" fmla="*/ 1242 h 10000"/>
                  <a:gd name="connsiteX37" fmla="*/ 2142 w 9731"/>
                  <a:gd name="connsiteY37" fmla="*/ 1677 h 10000"/>
                  <a:gd name="connsiteX38" fmla="*/ 2142 w 9731"/>
                  <a:gd name="connsiteY38" fmla="*/ 2112 h 10000"/>
                  <a:gd name="connsiteX39" fmla="*/ 2142 w 9731"/>
                  <a:gd name="connsiteY39" fmla="*/ 2112 h 10000"/>
                  <a:gd name="connsiteX40" fmla="*/ 2232 w 9731"/>
                  <a:gd name="connsiteY40" fmla="*/ 2671 h 10000"/>
                  <a:gd name="connsiteX41" fmla="*/ 2588 w 9731"/>
                  <a:gd name="connsiteY41" fmla="*/ 3230 h 10000"/>
                  <a:gd name="connsiteX42" fmla="*/ 3035 w 9731"/>
                  <a:gd name="connsiteY42" fmla="*/ 3727 h 10000"/>
                  <a:gd name="connsiteX43" fmla="*/ 3482 w 9731"/>
                  <a:gd name="connsiteY43" fmla="*/ 4099 h 10000"/>
                  <a:gd name="connsiteX44" fmla="*/ 3482 w 9731"/>
                  <a:gd name="connsiteY44" fmla="*/ 4099 h 10000"/>
                  <a:gd name="connsiteX45" fmla="*/ 2499 w 9731"/>
                  <a:gd name="connsiteY45" fmla="*/ 4410 h 10000"/>
                  <a:gd name="connsiteX46" fmla="*/ 1695 w 9731"/>
                  <a:gd name="connsiteY46" fmla="*/ 4783 h 10000"/>
                  <a:gd name="connsiteX47" fmla="*/ 982 w 9731"/>
                  <a:gd name="connsiteY47" fmla="*/ 5342 h 10000"/>
                  <a:gd name="connsiteX48" fmla="*/ 446 w 9731"/>
                  <a:gd name="connsiteY48" fmla="*/ 6087 h 10000"/>
                  <a:gd name="connsiteX49" fmla="*/ 0 w 9731"/>
                  <a:gd name="connsiteY49" fmla="*/ 6832 h 10000"/>
                  <a:gd name="connsiteX0" fmla="*/ 4220 w 9542"/>
                  <a:gd name="connsiteY0" fmla="*/ 10000 h 10000"/>
                  <a:gd name="connsiteX1" fmla="*/ 4220 w 9542"/>
                  <a:gd name="connsiteY1" fmla="*/ 10000 h 10000"/>
                  <a:gd name="connsiteX2" fmla="*/ 6147 w 9542"/>
                  <a:gd name="connsiteY2" fmla="*/ 10000 h 10000"/>
                  <a:gd name="connsiteX3" fmla="*/ 7891 w 9542"/>
                  <a:gd name="connsiteY3" fmla="*/ 9938 h 10000"/>
                  <a:gd name="connsiteX4" fmla="*/ 9083 w 9542"/>
                  <a:gd name="connsiteY4" fmla="*/ 9814 h 10000"/>
                  <a:gd name="connsiteX5" fmla="*/ 9450 w 9542"/>
                  <a:gd name="connsiteY5" fmla="*/ 9752 h 10000"/>
                  <a:gd name="connsiteX6" fmla="*/ 9542 w 9542"/>
                  <a:gd name="connsiteY6" fmla="*/ 9689 h 10000"/>
                  <a:gd name="connsiteX7" fmla="*/ 9542 w 9542"/>
                  <a:gd name="connsiteY7" fmla="*/ 9689 h 10000"/>
                  <a:gd name="connsiteX8" fmla="*/ 9542 w 9542"/>
                  <a:gd name="connsiteY8" fmla="*/ 8634 h 10000"/>
                  <a:gd name="connsiteX9" fmla="*/ 9450 w 9542"/>
                  <a:gd name="connsiteY9" fmla="*/ 7702 h 10000"/>
                  <a:gd name="connsiteX10" fmla="*/ 9083 w 9542"/>
                  <a:gd name="connsiteY10" fmla="*/ 6832 h 10000"/>
                  <a:gd name="connsiteX11" fmla="*/ 8717 w 9542"/>
                  <a:gd name="connsiteY11" fmla="*/ 6087 h 10000"/>
                  <a:gd name="connsiteX12" fmla="*/ 8166 w 9542"/>
                  <a:gd name="connsiteY12" fmla="*/ 5342 h 10000"/>
                  <a:gd name="connsiteX13" fmla="*/ 7431 w 9542"/>
                  <a:gd name="connsiteY13" fmla="*/ 4783 h 10000"/>
                  <a:gd name="connsiteX14" fmla="*/ 6514 w 9542"/>
                  <a:gd name="connsiteY14" fmla="*/ 4410 h 10000"/>
                  <a:gd name="connsiteX15" fmla="*/ 5504 w 9542"/>
                  <a:gd name="connsiteY15" fmla="*/ 4099 h 10000"/>
                  <a:gd name="connsiteX16" fmla="*/ 5504 w 9542"/>
                  <a:gd name="connsiteY16" fmla="*/ 4099 h 10000"/>
                  <a:gd name="connsiteX17" fmla="*/ 6056 w 9542"/>
                  <a:gd name="connsiteY17" fmla="*/ 3727 h 10000"/>
                  <a:gd name="connsiteX18" fmla="*/ 6423 w 9542"/>
                  <a:gd name="connsiteY18" fmla="*/ 3230 h 10000"/>
                  <a:gd name="connsiteX19" fmla="*/ 6699 w 9542"/>
                  <a:gd name="connsiteY19" fmla="*/ 2671 h 10000"/>
                  <a:gd name="connsiteX20" fmla="*/ 6973 w 9542"/>
                  <a:gd name="connsiteY20" fmla="*/ 2112 h 10000"/>
                  <a:gd name="connsiteX21" fmla="*/ 6973 w 9542"/>
                  <a:gd name="connsiteY21" fmla="*/ 2112 h 10000"/>
                  <a:gd name="connsiteX22" fmla="*/ 6881 w 9542"/>
                  <a:gd name="connsiteY22" fmla="*/ 1677 h 10000"/>
                  <a:gd name="connsiteX23" fmla="*/ 6699 w 9542"/>
                  <a:gd name="connsiteY23" fmla="*/ 1242 h 10000"/>
                  <a:gd name="connsiteX24" fmla="*/ 6514 w 9542"/>
                  <a:gd name="connsiteY24" fmla="*/ 870 h 10000"/>
                  <a:gd name="connsiteX25" fmla="*/ 6147 w 9542"/>
                  <a:gd name="connsiteY25" fmla="*/ 559 h 10000"/>
                  <a:gd name="connsiteX26" fmla="*/ 5781 w 9542"/>
                  <a:gd name="connsiteY26" fmla="*/ 311 h 10000"/>
                  <a:gd name="connsiteX27" fmla="*/ 5321 w 9542"/>
                  <a:gd name="connsiteY27" fmla="*/ 186 h 10000"/>
                  <a:gd name="connsiteX28" fmla="*/ 4862 w 9542"/>
                  <a:gd name="connsiteY28" fmla="*/ 0 h 10000"/>
                  <a:gd name="connsiteX29" fmla="*/ 4312 w 9542"/>
                  <a:gd name="connsiteY29" fmla="*/ 0 h 10000"/>
                  <a:gd name="connsiteX30" fmla="*/ 4312 w 9542"/>
                  <a:gd name="connsiteY30" fmla="*/ 0 h 10000"/>
                  <a:gd name="connsiteX31" fmla="*/ 3853 w 9542"/>
                  <a:gd name="connsiteY31" fmla="*/ 0 h 10000"/>
                  <a:gd name="connsiteX32" fmla="*/ 3395 w 9542"/>
                  <a:gd name="connsiteY32" fmla="*/ 186 h 10000"/>
                  <a:gd name="connsiteX33" fmla="*/ 2936 w 9542"/>
                  <a:gd name="connsiteY33" fmla="*/ 311 h 10000"/>
                  <a:gd name="connsiteX34" fmla="*/ 2478 w 9542"/>
                  <a:gd name="connsiteY34" fmla="*/ 559 h 10000"/>
                  <a:gd name="connsiteX35" fmla="*/ 2202 w 9542"/>
                  <a:gd name="connsiteY35" fmla="*/ 870 h 10000"/>
                  <a:gd name="connsiteX36" fmla="*/ 1926 w 9542"/>
                  <a:gd name="connsiteY36" fmla="*/ 1242 h 10000"/>
                  <a:gd name="connsiteX37" fmla="*/ 1743 w 9542"/>
                  <a:gd name="connsiteY37" fmla="*/ 1677 h 10000"/>
                  <a:gd name="connsiteX38" fmla="*/ 1743 w 9542"/>
                  <a:gd name="connsiteY38" fmla="*/ 2112 h 10000"/>
                  <a:gd name="connsiteX39" fmla="*/ 1743 w 9542"/>
                  <a:gd name="connsiteY39" fmla="*/ 2112 h 10000"/>
                  <a:gd name="connsiteX40" fmla="*/ 1836 w 9542"/>
                  <a:gd name="connsiteY40" fmla="*/ 2671 h 10000"/>
                  <a:gd name="connsiteX41" fmla="*/ 2202 w 9542"/>
                  <a:gd name="connsiteY41" fmla="*/ 3230 h 10000"/>
                  <a:gd name="connsiteX42" fmla="*/ 2661 w 9542"/>
                  <a:gd name="connsiteY42" fmla="*/ 3727 h 10000"/>
                  <a:gd name="connsiteX43" fmla="*/ 3120 w 9542"/>
                  <a:gd name="connsiteY43" fmla="*/ 4099 h 10000"/>
                  <a:gd name="connsiteX44" fmla="*/ 3120 w 9542"/>
                  <a:gd name="connsiteY44" fmla="*/ 4099 h 10000"/>
                  <a:gd name="connsiteX45" fmla="*/ 2110 w 9542"/>
                  <a:gd name="connsiteY45" fmla="*/ 4410 h 10000"/>
                  <a:gd name="connsiteX46" fmla="*/ 1284 w 9542"/>
                  <a:gd name="connsiteY46" fmla="*/ 4783 h 10000"/>
                  <a:gd name="connsiteX47" fmla="*/ 551 w 9542"/>
                  <a:gd name="connsiteY47" fmla="*/ 5342 h 10000"/>
                  <a:gd name="connsiteX48" fmla="*/ 0 w 9542"/>
                  <a:gd name="connsiteY48" fmla="*/ 6087 h 10000"/>
                  <a:gd name="connsiteX0" fmla="*/ 3846 w 9423"/>
                  <a:gd name="connsiteY0" fmla="*/ 10000 h 10000"/>
                  <a:gd name="connsiteX1" fmla="*/ 3846 w 9423"/>
                  <a:gd name="connsiteY1" fmla="*/ 10000 h 10000"/>
                  <a:gd name="connsiteX2" fmla="*/ 5865 w 9423"/>
                  <a:gd name="connsiteY2" fmla="*/ 10000 h 10000"/>
                  <a:gd name="connsiteX3" fmla="*/ 7693 w 9423"/>
                  <a:gd name="connsiteY3" fmla="*/ 9938 h 10000"/>
                  <a:gd name="connsiteX4" fmla="*/ 8942 w 9423"/>
                  <a:gd name="connsiteY4" fmla="*/ 9814 h 10000"/>
                  <a:gd name="connsiteX5" fmla="*/ 9327 w 9423"/>
                  <a:gd name="connsiteY5" fmla="*/ 9752 h 10000"/>
                  <a:gd name="connsiteX6" fmla="*/ 9423 w 9423"/>
                  <a:gd name="connsiteY6" fmla="*/ 9689 h 10000"/>
                  <a:gd name="connsiteX7" fmla="*/ 9423 w 9423"/>
                  <a:gd name="connsiteY7" fmla="*/ 9689 h 10000"/>
                  <a:gd name="connsiteX8" fmla="*/ 9423 w 9423"/>
                  <a:gd name="connsiteY8" fmla="*/ 8634 h 10000"/>
                  <a:gd name="connsiteX9" fmla="*/ 9327 w 9423"/>
                  <a:gd name="connsiteY9" fmla="*/ 7702 h 10000"/>
                  <a:gd name="connsiteX10" fmla="*/ 8942 w 9423"/>
                  <a:gd name="connsiteY10" fmla="*/ 6832 h 10000"/>
                  <a:gd name="connsiteX11" fmla="*/ 8558 w 9423"/>
                  <a:gd name="connsiteY11" fmla="*/ 6087 h 10000"/>
                  <a:gd name="connsiteX12" fmla="*/ 7981 w 9423"/>
                  <a:gd name="connsiteY12" fmla="*/ 5342 h 10000"/>
                  <a:gd name="connsiteX13" fmla="*/ 7211 w 9423"/>
                  <a:gd name="connsiteY13" fmla="*/ 4783 h 10000"/>
                  <a:gd name="connsiteX14" fmla="*/ 6250 w 9423"/>
                  <a:gd name="connsiteY14" fmla="*/ 4410 h 10000"/>
                  <a:gd name="connsiteX15" fmla="*/ 5191 w 9423"/>
                  <a:gd name="connsiteY15" fmla="*/ 4099 h 10000"/>
                  <a:gd name="connsiteX16" fmla="*/ 5191 w 9423"/>
                  <a:gd name="connsiteY16" fmla="*/ 4099 h 10000"/>
                  <a:gd name="connsiteX17" fmla="*/ 5770 w 9423"/>
                  <a:gd name="connsiteY17" fmla="*/ 3727 h 10000"/>
                  <a:gd name="connsiteX18" fmla="*/ 6154 w 9423"/>
                  <a:gd name="connsiteY18" fmla="*/ 3230 h 10000"/>
                  <a:gd name="connsiteX19" fmla="*/ 6444 w 9423"/>
                  <a:gd name="connsiteY19" fmla="*/ 2671 h 10000"/>
                  <a:gd name="connsiteX20" fmla="*/ 6731 w 9423"/>
                  <a:gd name="connsiteY20" fmla="*/ 2112 h 10000"/>
                  <a:gd name="connsiteX21" fmla="*/ 6731 w 9423"/>
                  <a:gd name="connsiteY21" fmla="*/ 2112 h 10000"/>
                  <a:gd name="connsiteX22" fmla="*/ 6634 w 9423"/>
                  <a:gd name="connsiteY22" fmla="*/ 1677 h 10000"/>
                  <a:gd name="connsiteX23" fmla="*/ 6444 w 9423"/>
                  <a:gd name="connsiteY23" fmla="*/ 1242 h 10000"/>
                  <a:gd name="connsiteX24" fmla="*/ 6250 w 9423"/>
                  <a:gd name="connsiteY24" fmla="*/ 870 h 10000"/>
                  <a:gd name="connsiteX25" fmla="*/ 5865 w 9423"/>
                  <a:gd name="connsiteY25" fmla="*/ 559 h 10000"/>
                  <a:gd name="connsiteX26" fmla="*/ 5481 w 9423"/>
                  <a:gd name="connsiteY26" fmla="*/ 311 h 10000"/>
                  <a:gd name="connsiteX27" fmla="*/ 4999 w 9423"/>
                  <a:gd name="connsiteY27" fmla="*/ 186 h 10000"/>
                  <a:gd name="connsiteX28" fmla="*/ 4518 w 9423"/>
                  <a:gd name="connsiteY28" fmla="*/ 0 h 10000"/>
                  <a:gd name="connsiteX29" fmla="*/ 3942 w 9423"/>
                  <a:gd name="connsiteY29" fmla="*/ 0 h 10000"/>
                  <a:gd name="connsiteX30" fmla="*/ 3942 w 9423"/>
                  <a:gd name="connsiteY30" fmla="*/ 0 h 10000"/>
                  <a:gd name="connsiteX31" fmla="*/ 3461 w 9423"/>
                  <a:gd name="connsiteY31" fmla="*/ 0 h 10000"/>
                  <a:gd name="connsiteX32" fmla="*/ 2981 w 9423"/>
                  <a:gd name="connsiteY32" fmla="*/ 186 h 10000"/>
                  <a:gd name="connsiteX33" fmla="*/ 2500 w 9423"/>
                  <a:gd name="connsiteY33" fmla="*/ 311 h 10000"/>
                  <a:gd name="connsiteX34" fmla="*/ 2020 w 9423"/>
                  <a:gd name="connsiteY34" fmla="*/ 559 h 10000"/>
                  <a:gd name="connsiteX35" fmla="*/ 1731 w 9423"/>
                  <a:gd name="connsiteY35" fmla="*/ 870 h 10000"/>
                  <a:gd name="connsiteX36" fmla="*/ 1441 w 9423"/>
                  <a:gd name="connsiteY36" fmla="*/ 1242 h 10000"/>
                  <a:gd name="connsiteX37" fmla="*/ 1250 w 9423"/>
                  <a:gd name="connsiteY37" fmla="*/ 1677 h 10000"/>
                  <a:gd name="connsiteX38" fmla="*/ 1250 w 9423"/>
                  <a:gd name="connsiteY38" fmla="*/ 2112 h 10000"/>
                  <a:gd name="connsiteX39" fmla="*/ 1250 w 9423"/>
                  <a:gd name="connsiteY39" fmla="*/ 2112 h 10000"/>
                  <a:gd name="connsiteX40" fmla="*/ 1347 w 9423"/>
                  <a:gd name="connsiteY40" fmla="*/ 2671 h 10000"/>
                  <a:gd name="connsiteX41" fmla="*/ 1731 w 9423"/>
                  <a:gd name="connsiteY41" fmla="*/ 3230 h 10000"/>
                  <a:gd name="connsiteX42" fmla="*/ 2212 w 9423"/>
                  <a:gd name="connsiteY42" fmla="*/ 3727 h 10000"/>
                  <a:gd name="connsiteX43" fmla="*/ 2693 w 9423"/>
                  <a:gd name="connsiteY43" fmla="*/ 4099 h 10000"/>
                  <a:gd name="connsiteX44" fmla="*/ 2693 w 9423"/>
                  <a:gd name="connsiteY44" fmla="*/ 4099 h 10000"/>
                  <a:gd name="connsiteX45" fmla="*/ 1634 w 9423"/>
                  <a:gd name="connsiteY45" fmla="*/ 4410 h 10000"/>
                  <a:gd name="connsiteX46" fmla="*/ 769 w 9423"/>
                  <a:gd name="connsiteY46" fmla="*/ 4783 h 10000"/>
                  <a:gd name="connsiteX47" fmla="*/ 0 w 9423"/>
                  <a:gd name="connsiteY47" fmla="*/ 5342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9423" h="10000">
                    <a:moveTo>
                      <a:pt x="3846" y="10000"/>
                    </a:moveTo>
                    <a:lnTo>
                      <a:pt x="3846" y="10000"/>
                    </a:lnTo>
                    <a:lnTo>
                      <a:pt x="5865" y="10000"/>
                    </a:lnTo>
                    <a:lnTo>
                      <a:pt x="7693" y="9938"/>
                    </a:lnTo>
                    <a:lnTo>
                      <a:pt x="8942" y="9814"/>
                    </a:lnTo>
                    <a:lnTo>
                      <a:pt x="9327" y="9752"/>
                    </a:lnTo>
                    <a:lnTo>
                      <a:pt x="9423" y="9689"/>
                    </a:lnTo>
                    <a:lnTo>
                      <a:pt x="9423" y="9689"/>
                    </a:lnTo>
                    <a:lnTo>
                      <a:pt x="9423" y="8634"/>
                    </a:lnTo>
                    <a:cubicBezTo>
                      <a:pt x="9391" y="8323"/>
                      <a:pt x="9358" y="8013"/>
                      <a:pt x="9327" y="7702"/>
                    </a:cubicBezTo>
                    <a:lnTo>
                      <a:pt x="8942" y="6832"/>
                    </a:lnTo>
                    <a:lnTo>
                      <a:pt x="8558" y="6087"/>
                    </a:lnTo>
                    <a:lnTo>
                      <a:pt x="7981" y="5342"/>
                    </a:lnTo>
                    <a:lnTo>
                      <a:pt x="7211" y="4783"/>
                    </a:lnTo>
                    <a:lnTo>
                      <a:pt x="6250" y="4410"/>
                    </a:lnTo>
                    <a:lnTo>
                      <a:pt x="5191" y="4099"/>
                    </a:lnTo>
                    <a:lnTo>
                      <a:pt x="5191" y="4099"/>
                    </a:lnTo>
                    <a:lnTo>
                      <a:pt x="5770" y="3727"/>
                    </a:lnTo>
                    <a:lnTo>
                      <a:pt x="6154" y="3230"/>
                    </a:lnTo>
                    <a:cubicBezTo>
                      <a:pt x="6251" y="3044"/>
                      <a:pt x="6347" y="2857"/>
                      <a:pt x="6444" y="2671"/>
                    </a:cubicBezTo>
                    <a:cubicBezTo>
                      <a:pt x="6540" y="2485"/>
                      <a:pt x="6635" y="2298"/>
                      <a:pt x="6731" y="2112"/>
                    </a:cubicBezTo>
                    <a:lnTo>
                      <a:pt x="6731" y="2112"/>
                    </a:lnTo>
                    <a:cubicBezTo>
                      <a:pt x="6699" y="1967"/>
                      <a:pt x="6666" y="1822"/>
                      <a:pt x="6634" y="1677"/>
                    </a:cubicBezTo>
                    <a:cubicBezTo>
                      <a:pt x="6571" y="1532"/>
                      <a:pt x="6506" y="1387"/>
                      <a:pt x="6444" y="1242"/>
                    </a:cubicBezTo>
                    <a:lnTo>
                      <a:pt x="6250" y="870"/>
                    </a:lnTo>
                    <a:lnTo>
                      <a:pt x="5865" y="559"/>
                    </a:lnTo>
                    <a:lnTo>
                      <a:pt x="5481" y="311"/>
                    </a:lnTo>
                    <a:lnTo>
                      <a:pt x="4999" y="186"/>
                    </a:lnTo>
                    <a:lnTo>
                      <a:pt x="4518" y="0"/>
                    </a:lnTo>
                    <a:lnTo>
                      <a:pt x="3942" y="0"/>
                    </a:lnTo>
                    <a:lnTo>
                      <a:pt x="3942" y="0"/>
                    </a:lnTo>
                    <a:lnTo>
                      <a:pt x="3461" y="0"/>
                    </a:lnTo>
                    <a:lnTo>
                      <a:pt x="2981" y="186"/>
                    </a:lnTo>
                    <a:lnTo>
                      <a:pt x="2500" y="311"/>
                    </a:lnTo>
                    <a:lnTo>
                      <a:pt x="2020" y="559"/>
                    </a:lnTo>
                    <a:lnTo>
                      <a:pt x="1731" y="870"/>
                    </a:lnTo>
                    <a:lnTo>
                      <a:pt x="1441" y="1242"/>
                    </a:lnTo>
                    <a:cubicBezTo>
                      <a:pt x="1379" y="1387"/>
                      <a:pt x="1314" y="1532"/>
                      <a:pt x="1250" y="1677"/>
                    </a:cubicBezTo>
                    <a:lnTo>
                      <a:pt x="1250" y="2112"/>
                    </a:lnTo>
                    <a:lnTo>
                      <a:pt x="1250" y="2112"/>
                    </a:lnTo>
                    <a:cubicBezTo>
                      <a:pt x="1282" y="2298"/>
                      <a:pt x="1315" y="2485"/>
                      <a:pt x="1347" y="2671"/>
                    </a:cubicBezTo>
                    <a:lnTo>
                      <a:pt x="1731" y="3230"/>
                    </a:lnTo>
                    <a:lnTo>
                      <a:pt x="2212" y="3727"/>
                    </a:lnTo>
                    <a:lnTo>
                      <a:pt x="2693" y="4099"/>
                    </a:lnTo>
                    <a:lnTo>
                      <a:pt x="2693" y="4099"/>
                    </a:lnTo>
                    <a:lnTo>
                      <a:pt x="1634" y="4410"/>
                    </a:lnTo>
                    <a:lnTo>
                      <a:pt x="769" y="4783"/>
                    </a:lnTo>
                    <a:lnTo>
                      <a:pt x="0" y="5342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2" name="Freeform 897"/>
              <p:cNvSpPr>
                <a:spLocks/>
              </p:cNvSpPr>
              <p:nvPr/>
            </p:nvSpPr>
            <p:spPr bwMode="auto">
              <a:xfrm>
                <a:off x="4509658" y="4876544"/>
                <a:ext cx="181869" cy="255132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2666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52" fmla="*/ 0 w 10000"/>
                  <a:gd name="connsiteY52" fmla="*/ 9689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10000" h="10000">
                    <a:moveTo>
                      <a:pt x="4912" y="10000"/>
                    </a:moveTo>
                    <a:lnTo>
                      <a:pt x="2666" y="10000"/>
                    </a:lnTo>
                    <a:lnTo>
                      <a:pt x="6754" y="10000"/>
                    </a:lnTo>
                    <a:lnTo>
                      <a:pt x="8421" y="9938"/>
                    </a:lnTo>
                    <a:lnTo>
                      <a:pt x="9561" y="9814"/>
                    </a:lnTo>
                    <a:lnTo>
                      <a:pt x="9912" y="9752"/>
                    </a:lnTo>
                    <a:lnTo>
                      <a:pt x="10000" y="9689"/>
                    </a:lnTo>
                    <a:lnTo>
                      <a:pt x="10000" y="9689"/>
                    </a:lnTo>
                    <a:lnTo>
                      <a:pt x="10000" y="8634"/>
                    </a:lnTo>
                    <a:cubicBezTo>
                      <a:pt x="9971" y="8323"/>
                      <a:pt x="9941" y="8013"/>
                      <a:pt x="9912" y="7702"/>
                    </a:cubicBezTo>
                    <a:lnTo>
                      <a:pt x="9561" y="6832"/>
                    </a:lnTo>
                    <a:lnTo>
                      <a:pt x="9211" y="6087"/>
                    </a:lnTo>
                    <a:lnTo>
                      <a:pt x="8684" y="5342"/>
                    </a:lnTo>
                    <a:lnTo>
                      <a:pt x="7982" y="4783"/>
                    </a:lnTo>
                    <a:lnTo>
                      <a:pt x="7105" y="4410"/>
                    </a:lnTo>
                    <a:lnTo>
                      <a:pt x="6140" y="4099"/>
                    </a:lnTo>
                    <a:lnTo>
                      <a:pt x="6140" y="4099"/>
                    </a:lnTo>
                    <a:lnTo>
                      <a:pt x="6667" y="3727"/>
                    </a:lnTo>
                    <a:lnTo>
                      <a:pt x="7018" y="3230"/>
                    </a:lnTo>
                    <a:cubicBezTo>
                      <a:pt x="7106" y="3044"/>
                      <a:pt x="7193" y="2857"/>
                      <a:pt x="7281" y="2671"/>
                    </a:cubicBezTo>
                    <a:cubicBezTo>
                      <a:pt x="7369" y="2485"/>
                      <a:pt x="7456" y="2298"/>
                      <a:pt x="7544" y="2112"/>
                    </a:cubicBezTo>
                    <a:lnTo>
                      <a:pt x="7544" y="2112"/>
                    </a:lnTo>
                    <a:cubicBezTo>
                      <a:pt x="7515" y="1967"/>
                      <a:pt x="7485" y="1822"/>
                      <a:pt x="7456" y="1677"/>
                    </a:cubicBezTo>
                    <a:cubicBezTo>
                      <a:pt x="7398" y="1532"/>
                      <a:pt x="7339" y="1387"/>
                      <a:pt x="7281" y="1242"/>
                    </a:cubicBezTo>
                    <a:cubicBezTo>
                      <a:pt x="7222" y="1118"/>
                      <a:pt x="7164" y="994"/>
                      <a:pt x="7105" y="870"/>
                    </a:cubicBezTo>
                    <a:lnTo>
                      <a:pt x="6754" y="559"/>
                    </a:lnTo>
                    <a:lnTo>
                      <a:pt x="6404" y="311"/>
                    </a:lnTo>
                    <a:lnTo>
                      <a:pt x="5965" y="186"/>
                    </a:lnTo>
                    <a:lnTo>
                      <a:pt x="5526" y="0"/>
                    </a:lnTo>
                    <a:lnTo>
                      <a:pt x="5000" y="0"/>
                    </a:lnTo>
                    <a:lnTo>
                      <a:pt x="5000" y="0"/>
                    </a:lnTo>
                    <a:lnTo>
                      <a:pt x="4561" y="0"/>
                    </a:lnTo>
                    <a:lnTo>
                      <a:pt x="4123" y="186"/>
                    </a:lnTo>
                    <a:lnTo>
                      <a:pt x="3684" y="311"/>
                    </a:lnTo>
                    <a:lnTo>
                      <a:pt x="3246" y="559"/>
                    </a:lnTo>
                    <a:lnTo>
                      <a:pt x="2982" y="870"/>
                    </a:lnTo>
                    <a:lnTo>
                      <a:pt x="2719" y="1242"/>
                    </a:lnTo>
                    <a:cubicBezTo>
                      <a:pt x="2661" y="1387"/>
                      <a:pt x="2602" y="1532"/>
                      <a:pt x="2544" y="1677"/>
                    </a:cubicBezTo>
                    <a:lnTo>
                      <a:pt x="2544" y="2112"/>
                    </a:lnTo>
                    <a:lnTo>
                      <a:pt x="2544" y="2112"/>
                    </a:lnTo>
                    <a:cubicBezTo>
                      <a:pt x="2573" y="2298"/>
                      <a:pt x="2603" y="2485"/>
                      <a:pt x="2632" y="2671"/>
                    </a:cubicBezTo>
                    <a:lnTo>
                      <a:pt x="2982" y="3230"/>
                    </a:lnTo>
                    <a:lnTo>
                      <a:pt x="3421" y="3727"/>
                    </a:lnTo>
                    <a:lnTo>
                      <a:pt x="3860" y="4099"/>
                    </a:lnTo>
                    <a:lnTo>
                      <a:pt x="3860" y="4099"/>
                    </a:lnTo>
                    <a:lnTo>
                      <a:pt x="2895" y="4410"/>
                    </a:lnTo>
                    <a:lnTo>
                      <a:pt x="2105" y="4783"/>
                    </a:lnTo>
                    <a:lnTo>
                      <a:pt x="1404" y="5342"/>
                    </a:lnTo>
                    <a:lnTo>
                      <a:pt x="877" y="6087"/>
                    </a:lnTo>
                    <a:lnTo>
                      <a:pt x="439" y="6832"/>
                    </a:lnTo>
                    <a:lnTo>
                      <a:pt x="175" y="7702"/>
                    </a:lnTo>
                    <a:cubicBezTo>
                      <a:pt x="117" y="8013"/>
                      <a:pt x="58" y="8323"/>
                      <a:pt x="0" y="8634"/>
                    </a:cubicBezTo>
                    <a:lnTo>
                      <a:pt x="0" y="968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grpSp>
            <p:nvGrpSpPr>
              <p:cNvPr id="8" name="Groupe 78"/>
              <p:cNvGrpSpPr>
                <a:grpSpLocks/>
              </p:cNvGrpSpPr>
              <p:nvPr/>
            </p:nvGrpSpPr>
            <p:grpSpPr bwMode="auto">
              <a:xfrm>
                <a:off x="4430703" y="4715239"/>
                <a:ext cx="166698" cy="247657"/>
                <a:chOff x="4430703" y="4715239"/>
                <a:chExt cx="166698" cy="247657"/>
              </a:xfrm>
            </p:grpSpPr>
            <p:sp>
              <p:nvSpPr>
                <p:cNvPr id="24" name="Freeform 897"/>
                <p:cNvSpPr>
                  <a:spLocks/>
                </p:cNvSpPr>
                <p:nvPr/>
              </p:nvSpPr>
              <p:spPr bwMode="auto">
                <a:xfrm>
                  <a:off x="4431090" y="4714686"/>
                  <a:ext cx="165865" cy="248273"/>
                </a:xfrm>
                <a:custGeom>
                  <a:avLst/>
                  <a:gdLst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6754 w 10000"/>
                    <a:gd name="connsiteY2" fmla="*/ 10000 h 10000"/>
                    <a:gd name="connsiteX3" fmla="*/ 8421 w 10000"/>
                    <a:gd name="connsiteY3" fmla="*/ 9938 h 10000"/>
                    <a:gd name="connsiteX4" fmla="*/ 9561 w 10000"/>
                    <a:gd name="connsiteY4" fmla="*/ 9814 h 10000"/>
                    <a:gd name="connsiteX5" fmla="*/ 9912 w 10000"/>
                    <a:gd name="connsiteY5" fmla="*/ 9752 h 10000"/>
                    <a:gd name="connsiteX6" fmla="*/ 10000 w 10000"/>
                    <a:gd name="connsiteY6" fmla="*/ 9689 h 10000"/>
                    <a:gd name="connsiteX7" fmla="*/ 10000 w 10000"/>
                    <a:gd name="connsiteY7" fmla="*/ 9689 h 10000"/>
                    <a:gd name="connsiteX8" fmla="*/ 10000 w 10000"/>
                    <a:gd name="connsiteY8" fmla="*/ 8634 h 10000"/>
                    <a:gd name="connsiteX9" fmla="*/ 9912 w 10000"/>
                    <a:gd name="connsiteY9" fmla="*/ 7702 h 10000"/>
                    <a:gd name="connsiteX10" fmla="*/ 9561 w 10000"/>
                    <a:gd name="connsiteY10" fmla="*/ 6832 h 10000"/>
                    <a:gd name="connsiteX11" fmla="*/ 9211 w 10000"/>
                    <a:gd name="connsiteY11" fmla="*/ 6087 h 10000"/>
                    <a:gd name="connsiteX12" fmla="*/ 8684 w 10000"/>
                    <a:gd name="connsiteY12" fmla="*/ 5342 h 10000"/>
                    <a:gd name="connsiteX13" fmla="*/ 7982 w 10000"/>
                    <a:gd name="connsiteY13" fmla="*/ 4783 h 10000"/>
                    <a:gd name="connsiteX14" fmla="*/ 7105 w 10000"/>
                    <a:gd name="connsiteY14" fmla="*/ 4410 h 10000"/>
                    <a:gd name="connsiteX15" fmla="*/ 6140 w 10000"/>
                    <a:gd name="connsiteY15" fmla="*/ 4099 h 10000"/>
                    <a:gd name="connsiteX16" fmla="*/ 6140 w 10000"/>
                    <a:gd name="connsiteY16" fmla="*/ 4099 h 10000"/>
                    <a:gd name="connsiteX17" fmla="*/ 6667 w 10000"/>
                    <a:gd name="connsiteY17" fmla="*/ 3727 h 10000"/>
                    <a:gd name="connsiteX18" fmla="*/ 7018 w 10000"/>
                    <a:gd name="connsiteY18" fmla="*/ 3230 h 10000"/>
                    <a:gd name="connsiteX19" fmla="*/ 7281 w 10000"/>
                    <a:gd name="connsiteY19" fmla="*/ 2671 h 10000"/>
                    <a:gd name="connsiteX20" fmla="*/ 7544 w 10000"/>
                    <a:gd name="connsiteY20" fmla="*/ 2112 h 10000"/>
                    <a:gd name="connsiteX21" fmla="*/ 7544 w 10000"/>
                    <a:gd name="connsiteY21" fmla="*/ 2112 h 10000"/>
                    <a:gd name="connsiteX22" fmla="*/ 7456 w 10000"/>
                    <a:gd name="connsiteY22" fmla="*/ 1677 h 10000"/>
                    <a:gd name="connsiteX23" fmla="*/ 7281 w 10000"/>
                    <a:gd name="connsiteY23" fmla="*/ 1242 h 10000"/>
                    <a:gd name="connsiteX24" fmla="*/ 7105 w 10000"/>
                    <a:gd name="connsiteY24" fmla="*/ 870 h 10000"/>
                    <a:gd name="connsiteX25" fmla="*/ 6754 w 10000"/>
                    <a:gd name="connsiteY25" fmla="*/ 559 h 10000"/>
                    <a:gd name="connsiteX26" fmla="*/ 6404 w 10000"/>
                    <a:gd name="connsiteY26" fmla="*/ 311 h 10000"/>
                    <a:gd name="connsiteX27" fmla="*/ 5965 w 10000"/>
                    <a:gd name="connsiteY27" fmla="*/ 186 h 10000"/>
                    <a:gd name="connsiteX28" fmla="*/ 5526 w 10000"/>
                    <a:gd name="connsiteY28" fmla="*/ 0 h 10000"/>
                    <a:gd name="connsiteX29" fmla="*/ 5000 w 10000"/>
                    <a:gd name="connsiteY29" fmla="*/ 0 h 10000"/>
                    <a:gd name="connsiteX30" fmla="*/ 5000 w 10000"/>
                    <a:gd name="connsiteY30" fmla="*/ 0 h 10000"/>
                    <a:gd name="connsiteX31" fmla="*/ 4561 w 10000"/>
                    <a:gd name="connsiteY31" fmla="*/ 0 h 10000"/>
                    <a:gd name="connsiteX32" fmla="*/ 4123 w 10000"/>
                    <a:gd name="connsiteY32" fmla="*/ 186 h 10000"/>
                    <a:gd name="connsiteX33" fmla="*/ 3684 w 10000"/>
                    <a:gd name="connsiteY33" fmla="*/ 311 h 10000"/>
                    <a:gd name="connsiteX34" fmla="*/ 3246 w 10000"/>
                    <a:gd name="connsiteY34" fmla="*/ 559 h 10000"/>
                    <a:gd name="connsiteX35" fmla="*/ 2982 w 10000"/>
                    <a:gd name="connsiteY35" fmla="*/ 870 h 10000"/>
                    <a:gd name="connsiteX36" fmla="*/ 2719 w 10000"/>
                    <a:gd name="connsiteY36" fmla="*/ 1242 h 10000"/>
                    <a:gd name="connsiteX37" fmla="*/ 2544 w 10000"/>
                    <a:gd name="connsiteY37" fmla="*/ 1677 h 10000"/>
                    <a:gd name="connsiteX38" fmla="*/ 2544 w 10000"/>
                    <a:gd name="connsiteY38" fmla="*/ 2112 h 10000"/>
                    <a:gd name="connsiteX39" fmla="*/ 2544 w 10000"/>
                    <a:gd name="connsiteY39" fmla="*/ 2112 h 10000"/>
                    <a:gd name="connsiteX40" fmla="*/ 2632 w 10000"/>
                    <a:gd name="connsiteY40" fmla="*/ 2671 h 10000"/>
                    <a:gd name="connsiteX41" fmla="*/ 2982 w 10000"/>
                    <a:gd name="connsiteY41" fmla="*/ 3230 h 10000"/>
                    <a:gd name="connsiteX42" fmla="*/ 3421 w 10000"/>
                    <a:gd name="connsiteY42" fmla="*/ 3727 h 10000"/>
                    <a:gd name="connsiteX43" fmla="*/ 3860 w 10000"/>
                    <a:gd name="connsiteY43" fmla="*/ 4099 h 10000"/>
                    <a:gd name="connsiteX44" fmla="*/ 3860 w 10000"/>
                    <a:gd name="connsiteY44" fmla="*/ 4099 h 10000"/>
                    <a:gd name="connsiteX45" fmla="*/ 2895 w 10000"/>
                    <a:gd name="connsiteY45" fmla="*/ 4410 h 10000"/>
                    <a:gd name="connsiteX46" fmla="*/ 2105 w 10000"/>
                    <a:gd name="connsiteY46" fmla="*/ 4783 h 10000"/>
                    <a:gd name="connsiteX47" fmla="*/ 1404 w 10000"/>
                    <a:gd name="connsiteY47" fmla="*/ 5342 h 10000"/>
                    <a:gd name="connsiteX48" fmla="*/ 877 w 10000"/>
                    <a:gd name="connsiteY48" fmla="*/ 6087 h 10000"/>
                    <a:gd name="connsiteX49" fmla="*/ 439 w 10000"/>
                    <a:gd name="connsiteY49" fmla="*/ 6832 h 10000"/>
                    <a:gd name="connsiteX50" fmla="*/ 175 w 10000"/>
                    <a:gd name="connsiteY50" fmla="*/ 7702 h 10000"/>
                    <a:gd name="connsiteX51" fmla="*/ 0 w 10000"/>
                    <a:gd name="connsiteY51" fmla="*/ 8634 h 10000"/>
                    <a:gd name="connsiteX52" fmla="*/ 0 w 10000"/>
                    <a:gd name="connsiteY52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8421 w 10000"/>
                    <a:gd name="connsiteY2" fmla="*/ 9938 h 10000"/>
                    <a:gd name="connsiteX3" fmla="*/ 9561 w 10000"/>
                    <a:gd name="connsiteY3" fmla="*/ 9814 h 10000"/>
                    <a:gd name="connsiteX4" fmla="*/ 9912 w 10000"/>
                    <a:gd name="connsiteY4" fmla="*/ 9752 h 10000"/>
                    <a:gd name="connsiteX5" fmla="*/ 10000 w 10000"/>
                    <a:gd name="connsiteY5" fmla="*/ 9689 h 10000"/>
                    <a:gd name="connsiteX6" fmla="*/ 10000 w 10000"/>
                    <a:gd name="connsiteY6" fmla="*/ 9689 h 10000"/>
                    <a:gd name="connsiteX7" fmla="*/ 10000 w 10000"/>
                    <a:gd name="connsiteY7" fmla="*/ 8634 h 10000"/>
                    <a:gd name="connsiteX8" fmla="*/ 9912 w 10000"/>
                    <a:gd name="connsiteY8" fmla="*/ 7702 h 10000"/>
                    <a:gd name="connsiteX9" fmla="*/ 9561 w 10000"/>
                    <a:gd name="connsiteY9" fmla="*/ 6832 h 10000"/>
                    <a:gd name="connsiteX10" fmla="*/ 9211 w 10000"/>
                    <a:gd name="connsiteY10" fmla="*/ 6087 h 10000"/>
                    <a:gd name="connsiteX11" fmla="*/ 8684 w 10000"/>
                    <a:gd name="connsiteY11" fmla="*/ 5342 h 10000"/>
                    <a:gd name="connsiteX12" fmla="*/ 7982 w 10000"/>
                    <a:gd name="connsiteY12" fmla="*/ 4783 h 10000"/>
                    <a:gd name="connsiteX13" fmla="*/ 7105 w 10000"/>
                    <a:gd name="connsiteY13" fmla="*/ 4410 h 10000"/>
                    <a:gd name="connsiteX14" fmla="*/ 6140 w 10000"/>
                    <a:gd name="connsiteY14" fmla="*/ 4099 h 10000"/>
                    <a:gd name="connsiteX15" fmla="*/ 6140 w 10000"/>
                    <a:gd name="connsiteY15" fmla="*/ 4099 h 10000"/>
                    <a:gd name="connsiteX16" fmla="*/ 6667 w 10000"/>
                    <a:gd name="connsiteY16" fmla="*/ 3727 h 10000"/>
                    <a:gd name="connsiteX17" fmla="*/ 7018 w 10000"/>
                    <a:gd name="connsiteY17" fmla="*/ 3230 h 10000"/>
                    <a:gd name="connsiteX18" fmla="*/ 7281 w 10000"/>
                    <a:gd name="connsiteY18" fmla="*/ 2671 h 10000"/>
                    <a:gd name="connsiteX19" fmla="*/ 7544 w 10000"/>
                    <a:gd name="connsiteY19" fmla="*/ 2112 h 10000"/>
                    <a:gd name="connsiteX20" fmla="*/ 7544 w 10000"/>
                    <a:gd name="connsiteY20" fmla="*/ 2112 h 10000"/>
                    <a:gd name="connsiteX21" fmla="*/ 7456 w 10000"/>
                    <a:gd name="connsiteY21" fmla="*/ 1677 h 10000"/>
                    <a:gd name="connsiteX22" fmla="*/ 7281 w 10000"/>
                    <a:gd name="connsiteY22" fmla="*/ 1242 h 10000"/>
                    <a:gd name="connsiteX23" fmla="*/ 7105 w 10000"/>
                    <a:gd name="connsiteY23" fmla="*/ 870 h 10000"/>
                    <a:gd name="connsiteX24" fmla="*/ 6754 w 10000"/>
                    <a:gd name="connsiteY24" fmla="*/ 559 h 10000"/>
                    <a:gd name="connsiteX25" fmla="*/ 6404 w 10000"/>
                    <a:gd name="connsiteY25" fmla="*/ 311 h 10000"/>
                    <a:gd name="connsiteX26" fmla="*/ 5965 w 10000"/>
                    <a:gd name="connsiteY26" fmla="*/ 186 h 10000"/>
                    <a:gd name="connsiteX27" fmla="*/ 5526 w 10000"/>
                    <a:gd name="connsiteY27" fmla="*/ 0 h 10000"/>
                    <a:gd name="connsiteX28" fmla="*/ 5000 w 10000"/>
                    <a:gd name="connsiteY28" fmla="*/ 0 h 10000"/>
                    <a:gd name="connsiteX29" fmla="*/ 5000 w 10000"/>
                    <a:gd name="connsiteY29" fmla="*/ 0 h 10000"/>
                    <a:gd name="connsiteX30" fmla="*/ 4561 w 10000"/>
                    <a:gd name="connsiteY30" fmla="*/ 0 h 10000"/>
                    <a:gd name="connsiteX31" fmla="*/ 4123 w 10000"/>
                    <a:gd name="connsiteY31" fmla="*/ 186 h 10000"/>
                    <a:gd name="connsiteX32" fmla="*/ 3684 w 10000"/>
                    <a:gd name="connsiteY32" fmla="*/ 311 h 10000"/>
                    <a:gd name="connsiteX33" fmla="*/ 3246 w 10000"/>
                    <a:gd name="connsiteY33" fmla="*/ 559 h 10000"/>
                    <a:gd name="connsiteX34" fmla="*/ 2982 w 10000"/>
                    <a:gd name="connsiteY34" fmla="*/ 870 h 10000"/>
                    <a:gd name="connsiteX35" fmla="*/ 2719 w 10000"/>
                    <a:gd name="connsiteY35" fmla="*/ 1242 h 10000"/>
                    <a:gd name="connsiteX36" fmla="*/ 2544 w 10000"/>
                    <a:gd name="connsiteY36" fmla="*/ 1677 h 10000"/>
                    <a:gd name="connsiteX37" fmla="*/ 2544 w 10000"/>
                    <a:gd name="connsiteY37" fmla="*/ 2112 h 10000"/>
                    <a:gd name="connsiteX38" fmla="*/ 2544 w 10000"/>
                    <a:gd name="connsiteY38" fmla="*/ 2112 h 10000"/>
                    <a:gd name="connsiteX39" fmla="*/ 2632 w 10000"/>
                    <a:gd name="connsiteY39" fmla="*/ 2671 h 10000"/>
                    <a:gd name="connsiteX40" fmla="*/ 2982 w 10000"/>
                    <a:gd name="connsiteY40" fmla="*/ 3230 h 10000"/>
                    <a:gd name="connsiteX41" fmla="*/ 3421 w 10000"/>
                    <a:gd name="connsiteY41" fmla="*/ 3727 h 10000"/>
                    <a:gd name="connsiteX42" fmla="*/ 3860 w 10000"/>
                    <a:gd name="connsiteY42" fmla="*/ 4099 h 10000"/>
                    <a:gd name="connsiteX43" fmla="*/ 3860 w 10000"/>
                    <a:gd name="connsiteY43" fmla="*/ 4099 h 10000"/>
                    <a:gd name="connsiteX44" fmla="*/ 2895 w 10000"/>
                    <a:gd name="connsiteY44" fmla="*/ 4410 h 10000"/>
                    <a:gd name="connsiteX45" fmla="*/ 2105 w 10000"/>
                    <a:gd name="connsiteY45" fmla="*/ 4783 h 10000"/>
                    <a:gd name="connsiteX46" fmla="*/ 1404 w 10000"/>
                    <a:gd name="connsiteY46" fmla="*/ 5342 h 10000"/>
                    <a:gd name="connsiteX47" fmla="*/ 877 w 10000"/>
                    <a:gd name="connsiteY47" fmla="*/ 6087 h 10000"/>
                    <a:gd name="connsiteX48" fmla="*/ 439 w 10000"/>
                    <a:gd name="connsiteY48" fmla="*/ 6832 h 10000"/>
                    <a:gd name="connsiteX49" fmla="*/ 175 w 10000"/>
                    <a:gd name="connsiteY49" fmla="*/ 7702 h 10000"/>
                    <a:gd name="connsiteX50" fmla="*/ 0 w 10000"/>
                    <a:gd name="connsiteY50" fmla="*/ 8634 h 10000"/>
                    <a:gd name="connsiteX51" fmla="*/ 0 w 10000"/>
                    <a:gd name="connsiteY51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9561 w 10000"/>
                    <a:gd name="connsiteY2" fmla="*/ 9814 h 10000"/>
                    <a:gd name="connsiteX3" fmla="*/ 9912 w 10000"/>
                    <a:gd name="connsiteY3" fmla="*/ 9752 h 10000"/>
                    <a:gd name="connsiteX4" fmla="*/ 10000 w 10000"/>
                    <a:gd name="connsiteY4" fmla="*/ 9689 h 10000"/>
                    <a:gd name="connsiteX5" fmla="*/ 10000 w 10000"/>
                    <a:gd name="connsiteY5" fmla="*/ 9689 h 10000"/>
                    <a:gd name="connsiteX6" fmla="*/ 10000 w 10000"/>
                    <a:gd name="connsiteY6" fmla="*/ 8634 h 10000"/>
                    <a:gd name="connsiteX7" fmla="*/ 9912 w 10000"/>
                    <a:gd name="connsiteY7" fmla="*/ 7702 h 10000"/>
                    <a:gd name="connsiteX8" fmla="*/ 9561 w 10000"/>
                    <a:gd name="connsiteY8" fmla="*/ 6832 h 10000"/>
                    <a:gd name="connsiteX9" fmla="*/ 9211 w 10000"/>
                    <a:gd name="connsiteY9" fmla="*/ 6087 h 10000"/>
                    <a:gd name="connsiteX10" fmla="*/ 8684 w 10000"/>
                    <a:gd name="connsiteY10" fmla="*/ 5342 h 10000"/>
                    <a:gd name="connsiteX11" fmla="*/ 7982 w 10000"/>
                    <a:gd name="connsiteY11" fmla="*/ 4783 h 10000"/>
                    <a:gd name="connsiteX12" fmla="*/ 7105 w 10000"/>
                    <a:gd name="connsiteY12" fmla="*/ 4410 h 10000"/>
                    <a:gd name="connsiteX13" fmla="*/ 6140 w 10000"/>
                    <a:gd name="connsiteY13" fmla="*/ 4099 h 10000"/>
                    <a:gd name="connsiteX14" fmla="*/ 6140 w 10000"/>
                    <a:gd name="connsiteY14" fmla="*/ 4099 h 10000"/>
                    <a:gd name="connsiteX15" fmla="*/ 6667 w 10000"/>
                    <a:gd name="connsiteY15" fmla="*/ 3727 h 10000"/>
                    <a:gd name="connsiteX16" fmla="*/ 7018 w 10000"/>
                    <a:gd name="connsiteY16" fmla="*/ 3230 h 10000"/>
                    <a:gd name="connsiteX17" fmla="*/ 7281 w 10000"/>
                    <a:gd name="connsiteY17" fmla="*/ 2671 h 10000"/>
                    <a:gd name="connsiteX18" fmla="*/ 7544 w 10000"/>
                    <a:gd name="connsiteY18" fmla="*/ 2112 h 10000"/>
                    <a:gd name="connsiteX19" fmla="*/ 7544 w 10000"/>
                    <a:gd name="connsiteY19" fmla="*/ 2112 h 10000"/>
                    <a:gd name="connsiteX20" fmla="*/ 7456 w 10000"/>
                    <a:gd name="connsiteY20" fmla="*/ 1677 h 10000"/>
                    <a:gd name="connsiteX21" fmla="*/ 7281 w 10000"/>
                    <a:gd name="connsiteY21" fmla="*/ 1242 h 10000"/>
                    <a:gd name="connsiteX22" fmla="*/ 7105 w 10000"/>
                    <a:gd name="connsiteY22" fmla="*/ 870 h 10000"/>
                    <a:gd name="connsiteX23" fmla="*/ 6754 w 10000"/>
                    <a:gd name="connsiteY23" fmla="*/ 559 h 10000"/>
                    <a:gd name="connsiteX24" fmla="*/ 6404 w 10000"/>
                    <a:gd name="connsiteY24" fmla="*/ 311 h 10000"/>
                    <a:gd name="connsiteX25" fmla="*/ 5965 w 10000"/>
                    <a:gd name="connsiteY25" fmla="*/ 186 h 10000"/>
                    <a:gd name="connsiteX26" fmla="*/ 5526 w 10000"/>
                    <a:gd name="connsiteY26" fmla="*/ 0 h 10000"/>
                    <a:gd name="connsiteX27" fmla="*/ 5000 w 10000"/>
                    <a:gd name="connsiteY27" fmla="*/ 0 h 10000"/>
                    <a:gd name="connsiteX28" fmla="*/ 5000 w 10000"/>
                    <a:gd name="connsiteY28" fmla="*/ 0 h 10000"/>
                    <a:gd name="connsiteX29" fmla="*/ 4561 w 10000"/>
                    <a:gd name="connsiteY29" fmla="*/ 0 h 10000"/>
                    <a:gd name="connsiteX30" fmla="*/ 4123 w 10000"/>
                    <a:gd name="connsiteY30" fmla="*/ 186 h 10000"/>
                    <a:gd name="connsiteX31" fmla="*/ 3684 w 10000"/>
                    <a:gd name="connsiteY31" fmla="*/ 311 h 10000"/>
                    <a:gd name="connsiteX32" fmla="*/ 3246 w 10000"/>
                    <a:gd name="connsiteY32" fmla="*/ 559 h 10000"/>
                    <a:gd name="connsiteX33" fmla="*/ 2982 w 10000"/>
                    <a:gd name="connsiteY33" fmla="*/ 870 h 10000"/>
                    <a:gd name="connsiteX34" fmla="*/ 2719 w 10000"/>
                    <a:gd name="connsiteY34" fmla="*/ 1242 h 10000"/>
                    <a:gd name="connsiteX35" fmla="*/ 2544 w 10000"/>
                    <a:gd name="connsiteY35" fmla="*/ 1677 h 10000"/>
                    <a:gd name="connsiteX36" fmla="*/ 2544 w 10000"/>
                    <a:gd name="connsiteY36" fmla="*/ 2112 h 10000"/>
                    <a:gd name="connsiteX37" fmla="*/ 2544 w 10000"/>
                    <a:gd name="connsiteY37" fmla="*/ 2112 h 10000"/>
                    <a:gd name="connsiteX38" fmla="*/ 2632 w 10000"/>
                    <a:gd name="connsiteY38" fmla="*/ 2671 h 10000"/>
                    <a:gd name="connsiteX39" fmla="*/ 2982 w 10000"/>
                    <a:gd name="connsiteY39" fmla="*/ 3230 h 10000"/>
                    <a:gd name="connsiteX40" fmla="*/ 3421 w 10000"/>
                    <a:gd name="connsiteY40" fmla="*/ 3727 h 10000"/>
                    <a:gd name="connsiteX41" fmla="*/ 3860 w 10000"/>
                    <a:gd name="connsiteY41" fmla="*/ 4099 h 10000"/>
                    <a:gd name="connsiteX42" fmla="*/ 3860 w 10000"/>
                    <a:gd name="connsiteY42" fmla="*/ 4099 h 10000"/>
                    <a:gd name="connsiteX43" fmla="*/ 2895 w 10000"/>
                    <a:gd name="connsiteY43" fmla="*/ 4410 h 10000"/>
                    <a:gd name="connsiteX44" fmla="*/ 2105 w 10000"/>
                    <a:gd name="connsiteY44" fmla="*/ 4783 h 10000"/>
                    <a:gd name="connsiteX45" fmla="*/ 1404 w 10000"/>
                    <a:gd name="connsiteY45" fmla="*/ 5342 h 10000"/>
                    <a:gd name="connsiteX46" fmla="*/ 877 w 10000"/>
                    <a:gd name="connsiteY46" fmla="*/ 6087 h 10000"/>
                    <a:gd name="connsiteX47" fmla="*/ 439 w 10000"/>
                    <a:gd name="connsiteY47" fmla="*/ 6832 h 10000"/>
                    <a:gd name="connsiteX48" fmla="*/ 175 w 10000"/>
                    <a:gd name="connsiteY48" fmla="*/ 7702 h 10000"/>
                    <a:gd name="connsiteX49" fmla="*/ 0 w 10000"/>
                    <a:gd name="connsiteY49" fmla="*/ 8634 h 10000"/>
                    <a:gd name="connsiteX50" fmla="*/ 0 w 10000"/>
                    <a:gd name="connsiteY50" fmla="*/ 9689 h 10000"/>
                    <a:gd name="connsiteX0" fmla="*/ 4912 w 10000"/>
                    <a:gd name="connsiteY0" fmla="*/ 10000 h 10000"/>
                    <a:gd name="connsiteX1" fmla="*/ 9561 w 10000"/>
                    <a:gd name="connsiteY1" fmla="*/ 9814 h 10000"/>
                    <a:gd name="connsiteX2" fmla="*/ 9912 w 10000"/>
                    <a:gd name="connsiteY2" fmla="*/ 9752 h 10000"/>
                    <a:gd name="connsiteX3" fmla="*/ 10000 w 10000"/>
                    <a:gd name="connsiteY3" fmla="*/ 9689 h 10000"/>
                    <a:gd name="connsiteX4" fmla="*/ 10000 w 10000"/>
                    <a:gd name="connsiteY4" fmla="*/ 9689 h 10000"/>
                    <a:gd name="connsiteX5" fmla="*/ 10000 w 10000"/>
                    <a:gd name="connsiteY5" fmla="*/ 8634 h 10000"/>
                    <a:gd name="connsiteX6" fmla="*/ 9912 w 10000"/>
                    <a:gd name="connsiteY6" fmla="*/ 7702 h 10000"/>
                    <a:gd name="connsiteX7" fmla="*/ 9561 w 10000"/>
                    <a:gd name="connsiteY7" fmla="*/ 6832 h 10000"/>
                    <a:gd name="connsiteX8" fmla="*/ 9211 w 10000"/>
                    <a:gd name="connsiteY8" fmla="*/ 6087 h 10000"/>
                    <a:gd name="connsiteX9" fmla="*/ 8684 w 10000"/>
                    <a:gd name="connsiteY9" fmla="*/ 5342 h 10000"/>
                    <a:gd name="connsiteX10" fmla="*/ 7982 w 10000"/>
                    <a:gd name="connsiteY10" fmla="*/ 4783 h 10000"/>
                    <a:gd name="connsiteX11" fmla="*/ 7105 w 10000"/>
                    <a:gd name="connsiteY11" fmla="*/ 4410 h 10000"/>
                    <a:gd name="connsiteX12" fmla="*/ 6140 w 10000"/>
                    <a:gd name="connsiteY12" fmla="*/ 4099 h 10000"/>
                    <a:gd name="connsiteX13" fmla="*/ 6140 w 10000"/>
                    <a:gd name="connsiteY13" fmla="*/ 4099 h 10000"/>
                    <a:gd name="connsiteX14" fmla="*/ 6667 w 10000"/>
                    <a:gd name="connsiteY14" fmla="*/ 3727 h 10000"/>
                    <a:gd name="connsiteX15" fmla="*/ 7018 w 10000"/>
                    <a:gd name="connsiteY15" fmla="*/ 3230 h 10000"/>
                    <a:gd name="connsiteX16" fmla="*/ 7281 w 10000"/>
                    <a:gd name="connsiteY16" fmla="*/ 2671 h 10000"/>
                    <a:gd name="connsiteX17" fmla="*/ 7544 w 10000"/>
                    <a:gd name="connsiteY17" fmla="*/ 2112 h 10000"/>
                    <a:gd name="connsiteX18" fmla="*/ 7544 w 10000"/>
                    <a:gd name="connsiteY18" fmla="*/ 2112 h 10000"/>
                    <a:gd name="connsiteX19" fmla="*/ 7456 w 10000"/>
                    <a:gd name="connsiteY19" fmla="*/ 1677 h 10000"/>
                    <a:gd name="connsiteX20" fmla="*/ 7281 w 10000"/>
                    <a:gd name="connsiteY20" fmla="*/ 1242 h 10000"/>
                    <a:gd name="connsiteX21" fmla="*/ 7105 w 10000"/>
                    <a:gd name="connsiteY21" fmla="*/ 870 h 10000"/>
                    <a:gd name="connsiteX22" fmla="*/ 6754 w 10000"/>
                    <a:gd name="connsiteY22" fmla="*/ 559 h 10000"/>
                    <a:gd name="connsiteX23" fmla="*/ 6404 w 10000"/>
                    <a:gd name="connsiteY23" fmla="*/ 311 h 10000"/>
                    <a:gd name="connsiteX24" fmla="*/ 5965 w 10000"/>
                    <a:gd name="connsiteY24" fmla="*/ 186 h 10000"/>
                    <a:gd name="connsiteX25" fmla="*/ 5526 w 10000"/>
                    <a:gd name="connsiteY25" fmla="*/ 0 h 10000"/>
                    <a:gd name="connsiteX26" fmla="*/ 5000 w 10000"/>
                    <a:gd name="connsiteY26" fmla="*/ 0 h 10000"/>
                    <a:gd name="connsiteX27" fmla="*/ 5000 w 10000"/>
                    <a:gd name="connsiteY27" fmla="*/ 0 h 10000"/>
                    <a:gd name="connsiteX28" fmla="*/ 4561 w 10000"/>
                    <a:gd name="connsiteY28" fmla="*/ 0 h 10000"/>
                    <a:gd name="connsiteX29" fmla="*/ 4123 w 10000"/>
                    <a:gd name="connsiteY29" fmla="*/ 186 h 10000"/>
                    <a:gd name="connsiteX30" fmla="*/ 3684 w 10000"/>
                    <a:gd name="connsiteY30" fmla="*/ 311 h 10000"/>
                    <a:gd name="connsiteX31" fmla="*/ 3246 w 10000"/>
                    <a:gd name="connsiteY31" fmla="*/ 559 h 10000"/>
                    <a:gd name="connsiteX32" fmla="*/ 2982 w 10000"/>
                    <a:gd name="connsiteY32" fmla="*/ 870 h 10000"/>
                    <a:gd name="connsiteX33" fmla="*/ 2719 w 10000"/>
                    <a:gd name="connsiteY33" fmla="*/ 1242 h 10000"/>
                    <a:gd name="connsiteX34" fmla="*/ 2544 w 10000"/>
                    <a:gd name="connsiteY34" fmla="*/ 1677 h 10000"/>
                    <a:gd name="connsiteX35" fmla="*/ 2544 w 10000"/>
                    <a:gd name="connsiteY35" fmla="*/ 2112 h 10000"/>
                    <a:gd name="connsiteX36" fmla="*/ 2544 w 10000"/>
                    <a:gd name="connsiteY36" fmla="*/ 2112 h 10000"/>
                    <a:gd name="connsiteX37" fmla="*/ 2632 w 10000"/>
                    <a:gd name="connsiteY37" fmla="*/ 2671 h 10000"/>
                    <a:gd name="connsiteX38" fmla="*/ 2982 w 10000"/>
                    <a:gd name="connsiteY38" fmla="*/ 3230 h 10000"/>
                    <a:gd name="connsiteX39" fmla="*/ 3421 w 10000"/>
                    <a:gd name="connsiteY39" fmla="*/ 3727 h 10000"/>
                    <a:gd name="connsiteX40" fmla="*/ 3860 w 10000"/>
                    <a:gd name="connsiteY40" fmla="*/ 4099 h 10000"/>
                    <a:gd name="connsiteX41" fmla="*/ 3860 w 10000"/>
                    <a:gd name="connsiteY41" fmla="*/ 4099 h 10000"/>
                    <a:gd name="connsiteX42" fmla="*/ 2895 w 10000"/>
                    <a:gd name="connsiteY42" fmla="*/ 4410 h 10000"/>
                    <a:gd name="connsiteX43" fmla="*/ 2105 w 10000"/>
                    <a:gd name="connsiteY43" fmla="*/ 4783 h 10000"/>
                    <a:gd name="connsiteX44" fmla="*/ 1404 w 10000"/>
                    <a:gd name="connsiteY44" fmla="*/ 5342 h 10000"/>
                    <a:gd name="connsiteX45" fmla="*/ 877 w 10000"/>
                    <a:gd name="connsiteY45" fmla="*/ 6087 h 10000"/>
                    <a:gd name="connsiteX46" fmla="*/ 439 w 10000"/>
                    <a:gd name="connsiteY46" fmla="*/ 6832 h 10000"/>
                    <a:gd name="connsiteX47" fmla="*/ 175 w 10000"/>
                    <a:gd name="connsiteY47" fmla="*/ 7702 h 10000"/>
                    <a:gd name="connsiteX48" fmla="*/ 0 w 10000"/>
                    <a:gd name="connsiteY48" fmla="*/ 8634 h 10000"/>
                    <a:gd name="connsiteX49" fmla="*/ 0 w 10000"/>
                    <a:gd name="connsiteY49" fmla="*/ 9689 h 10000"/>
                    <a:gd name="connsiteX0" fmla="*/ 9561 w 10000"/>
                    <a:gd name="connsiteY0" fmla="*/ 9814 h 9814"/>
                    <a:gd name="connsiteX1" fmla="*/ 9912 w 10000"/>
                    <a:gd name="connsiteY1" fmla="*/ 9752 h 9814"/>
                    <a:gd name="connsiteX2" fmla="*/ 10000 w 10000"/>
                    <a:gd name="connsiteY2" fmla="*/ 9689 h 9814"/>
                    <a:gd name="connsiteX3" fmla="*/ 10000 w 10000"/>
                    <a:gd name="connsiteY3" fmla="*/ 9689 h 9814"/>
                    <a:gd name="connsiteX4" fmla="*/ 10000 w 10000"/>
                    <a:gd name="connsiteY4" fmla="*/ 8634 h 9814"/>
                    <a:gd name="connsiteX5" fmla="*/ 9912 w 10000"/>
                    <a:gd name="connsiteY5" fmla="*/ 7702 h 9814"/>
                    <a:gd name="connsiteX6" fmla="*/ 9561 w 10000"/>
                    <a:gd name="connsiteY6" fmla="*/ 6832 h 9814"/>
                    <a:gd name="connsiteX7" fmla="*/ 9211 w 10000"/>
                    <a:gd name="connsiteY7" fmla="*/ 6087 h 9814"/>
                    <a:gd name="connsiteX8" fmla="*/ 8684 w 10000"/>
                    <a:gd name="connsiteY8" fmla="*/ 5342 h 9814"/>
                    <a:gd name="connsiteX9" fmla="*/ 7982 w 10000"/>
                    <a:gd name="connsiteY9" fmla="*/ 4783 h 9814"/>
                    <a:gd name="connsiteX10" fmla="*/ 7105 w 10000"/>
                    <a:gd name="connsiteY10" fmla="*/ 4410 h 9814"/>
                    <a:gd name="connsiteX11" fmla="*/ 6140 w 10000"/>
                    <a:gd name="connsiteY11" fmla="*/ 4099 h 9814"/>
                    <a:gd name="connsiteX12" fmla="*/ 6140 w 10000"/>
                    <a:gd name="connsiteY12" fmla="*/ 4099 h 9814"/>
                    <a:gd name="connsiteX13" fmla="*/ 6667 w 10000"/>
                    <a:gd name="connsiteY13" fmla="*/ 3727 h 9814"/>
                    <a:gd name="connsiteX14" fmla="*/ 7018 w 10000"/>
                    <a:gd name="connsiteY14" fmla="*/ 3230 h 9814"/>
                    <a:gd name="connsiteX15" fmla="*/ 7281 w 10000"/>
                    <a:gd name="connsiteY15" fmla="*/ 2671 h 9814"/>
                    <a:gd name="connsiteX16" fmla="*/ 7544 w 10000"/>
                    <a:gd name="connsiteY16" fmla="*/ 2112 h 9814"/>
                    <a:gd name="connsiteX17" fmla="*/ 7544 w 10000"/>
                    <a:gd name="connsiteY17" fmla="*/ 2112 h 9814"/>
                    <a:gd name="connsiteX18" fmla="*/ 7456 w 10000"/>
                    <a:gd name="connsiteY18" fmla="*/ 1677 h 9814"/>
                    <a:gd name="connsiteX19" fmla="*/ 7281 w 10000"/>
                    <a:gd name="connsiteY19" fmla="*/ 1242 h 9814"/>
                    <a:gd name="connsiteX20" fmla="*/ 7105 w 10000"/>
                    <a:gd name="connsiteY20" fmla="*/ 870 h 9814"/>
                    <a:gd name="connsiteX21" fmla="*/ 6754 w 10000"/>
                    <a:gd name="connsiteY21" fmla="*/ 559 h 9814"/>
                    <a:gd name="connsiteX22" fmla="*/ 6404 w 10000"/>
                    <a:gd name="connsiteY22" fmla="*/ 311 h 9814"/>
                    <a:gd name="connsiteX23" fmla="*/ 5965 w 10000"/>
                    <a:gd name="connsiteY23" fmla="*/ 186 h 9814"/>
                    <a:gd name="connsiteX24" fmla="*/ 5526 w 10000"/>
                    <a:gd name="connsiteY24" fmla="*/ 0 h 9814"/>
                    <a:gd name="connsiteX25" fmla="*/ 5000 w 10000"/>
                    <a:gd name="connsiteY25" fmla="*/ 0 h 9814"/>
                    <a:gd name="connsiteX26" fmla="*/ 5000 w 10000"/>
                    <a:gd name="connsiteY26" fmla="*/ 0 h 9814"/>
                    <a:gd name="connsiteX27" fmla="*/ 4561 w 10000"/>
                    <a:gd name="connsiteY27" fmla="*/ 0 h 9814"/>
                    <a:gd name="connsiteX28" fmla="*/ 4123 w 10000"/>
                    <a:gd name="connsiteY28" fmla="*/ 186 h 9814"/>
                    <a:gd name="connsiteX29" fmla="*/ 3684 w 10000"/>
                    <a:gd name="connsiteY29" fmla="*/ 311 h 9814"/>
                    <a:gd name="connsiteX30" fmla="*/ 3246 w 10000"/>
                    <a:gd name="connsiteY30" fmla="*/ 559 h 9814"/>
                    <a:gd name="connsiteX31" fmla="*/ 2982 w 10000"/>
                    <a:gd name="connsiteY31" fmla="*/ 870 h 9814"/>
                    <a:gd name="connsiteX32" fmla="*/ 2719 w 10000"/>
                    <a:gd name="connsiteY32" fmla="*/ 1242 h 9814"/>
                    <a:gd name="connsiteX33" fmla="*/ 2544 w 10000"/>
                    <a:gd name="connsiteY33" fmla="*/ 1677 h 9814"/>
                    <a:gd name="connsiteX34" fmla="*/ 2544 w 10000"/>
                    <a:gd name="connsiteY34" fmla="*/ 2112 h 9814"/>
                    <a:gd name="connsiteX35" fmla="*/ 2544 w 10000"/>
                    <a:gd name="connsiteY35" fmla="*/ 2112 h 9814"/>
                    <a:gd name="connsiteX36" fmla="*/ 2632 w 10000"/>
                    <a:gd name="connsiteY36" fmla="*/ 2671 h 9814"/>
                    <a:gd name="connsiteX37" fmla="*/ 2982 w 10000"/>
                    <a:gd name="connsiteY37" fmla="*/ 3230 h 9814"/>
                    <a:gd name="connsiteX38" fmla="*/ 3421 w 10000"/>
                    <a:gd name="connsiteY38" fmla="*/ 3727 h 9814"/>
                    <a:gd name="connsiteX39" fmla="*/ 3860 w 10000"/>
                    <a:gd name="connsiteY39" fmla="*/ 4099 h 9814"/>
                    <a:gd name="connsiteX40" fmla="*/ 3860 w 10000"/>
                    <a:gd name="connsiteY40" fmla="*/ 4099 h 9814"/>
                    <a:gd name="connsiteX41" fmla="*/ 2895 w 10000"/>
                    <a:gd name="connsiteY41" fmla="*/ 4410 h 9814"/>
                    <a:gd name="connsiteX42" fmla="*/ 2105 w 10000"/>
                    <a:gd name="connsiteY42" fmla="*/ 4783 h 9814"/>
                    <a:gd name="connsiteX43" fmla="*/ 1404 w 10000"/>
                    <a:gd name="connsiteY43" fmla="*/ 5342 h 9814"/>
                    <a:gd name="connsiteX44" fmla="*/ 877 w 10000"/>
                    <a:gd name="connsiteY44" fmla="*/ 6087 h 9814"/>
                    <a:gd name="connsiteX45" fmla="*/ 439 w 10000"/>
                    <a:gd name="connsiteY45" fmla="*/ 6832 h 9814"/>
                    <a:gd name="connsiteX46" fmla="*/ 175 w 10000"/>
                    <a:gd name="connsiteY46" fmla="*/ 7702 h 9814"/>
                    <a:gd name="connsiteX47" fmla="*/ 0 w 10000"/>
                    <a:gd name="connsiteY47" fmla="*/ 8634 h 9814"/>
                    <a:gd name="connsiteX48" fmla="*/ 0 w 10000"/>
                    <a:gd name="connsiteY48" fmla="*/ 9689 h 9814"/>
                    <a:gd name="connsiteX0" fmla="*/ 9912 w 10000"/>
                    <a:gd name="connsiteY0" fmla="*/ 9937 h 9937"/>
                    <a:gd name="connsiteX1" fmla="*/ 10000 w 10000"/>
                    <a:gd name="connsiteY1" fmla="*/ 9873 h 9937"/>
                    <a:gd name="connsiteX2" fmla="*/ 10000 w 10000"/>
                    <a:gd name="connsiteY2" fmla="*/ 9873 h 9937"/>
                    <a:gd name="connsiteX3" fmla="*/ 10000 w 10000"/>
                    <a:gd name="connsiteY3" fmla="*/ 8798 h 9937"/>
                    <a:gd name="connsiteX4" fmla="*/ 9912 w 10000"/>
                    <a:gd name="connsiteY4" fmla="*/ 7848 h 9937"/>
                    <a:gd name="connsiteX5" fmla="*/ 9561 w 10000"/>
                    <a:gd name="connsiteY5" fmla="*/ 6961 h 9937"/>
                    <a:gd name="connsiteX6" fmla="*/ 9211 w 10000"/>
                    <a:gd name="connsiteY6" fmla="*/ 6202 h 9937"/>
                    <a:gd name="connsiteX7" fmla="*/ 8684 w 10000"/>
                    <a:gd name="connsiteY7" fmla="*/ 5443 h 9937"/>
                    <a:gd name="connsiteX8" fmla="*/ 7982 w 10000"/>
                    <a:gd name="connsiteY8" fmla="*/ 4874 h 9937"/>
                    <a:gd name="connsiteX9" fmla="*/ 7105 w 10000"/>
                    <a:gd name="connsiteY9" fmla="*/ 4494 h 9937"/>
                    <a:gd name="connsiteX10" fmla="*/ 6140 w 10000"/>
                    <a:gd name="connsiteY10" fmla="*/ 4177 h 9937"/>
                    <a:gd name="connsiteX11" fmla="*/ 6140 w 10000"/>
                    <a:gd name="connsiteY11" fmla="*/ 4177 h 9937"/>
                    <a:gd name="connsiteX12" fmla="*/ 6667 w 10000"/>
                    <a:gd name="connsiteY12" fmla="*/ 3798 h 9937"/>
                    <a:gd name="connsiteX13" fmla="*/ 7018 w 10000"/>
                    <a:gd name="connsiteY13" fmla="*/ 3291 h 9937"/>
                    <a:gd name="connsiteX14" fmla="*/ 7281 w 10000"/>
                    <a:gd name="connsiteY14" fmla="*/ 2722 h 9937"/>
                    <a:gd name="connsiteX15" fmla="*/ 7544 w 10000"/>
                    <a:gd name="connsiteY15" fmla="*/ 2152 h 9937"/>
                    <a:gd name="connsiteX16" fmla="*/ 7544 w 10000"/>
                    <a:gd name="connsiteY16" fmla="*/ 2152 h 9937"/>
                    <a:gd name="connsiteX17" fmla="*/ 7456 w 10000"/>
                    <a:gd name="connsiteY17" fmla="*/ 1709 h 9937"/>
                    <a:gd name="connsiteX18" fmla="*/ 7281 w 10000"/>
                    <a:gd name="connsiteY18" fmla="*/ 1266 h 9937"/>
                    <a:gd name="connsiteX19" fmla="*/ 7105 w 10000"/>
                    <a:gd name="connsiteY19" fmla="*/ 886 h 9937"/>
                    <a:gd name="connsiteX20" fmla="*/ 6754 w 10000"/>
                    <a:gd name="connsiteY20" fmla="*/ 570 h 9937"/>
                    <a:gd name="connsiteX21" fmla="*/ 6404 w 10000"/>
                    <a:gd name="connsiteY21" fmla="*/ 317 h 9937"/>
                    <a:gd name="connsiteX22" fmla="*/ 5965 w 10000"/>
                    <a:gd name="connsiteY22" fmla="*/ 190 h 9937"/>
                    <a:gd name="connsiteX23" fmla="*/ 5526 w 10000"/>
                    <a:gd name="connsiteY23" fmla="*/ 0 h 9937"/>
                    <a:gd name="connsiteX24" fmla="*/ 5000 w 10000"/>
                    <a:gd name="connsiteY24" fmla="*/ 0 h 9937"/>
                    <a:gd name="connsiteX25" fmla="*/ 5000 w 10000"/>
                    <a:gd name="connsiteY25" fmla="*/ 0 h 9937"/>
                    <a:gd name="connsiteX26" fmla="*/ 4561 w 10000"/>
                    <a:gd name="connsiteY26" fmla="*/ 0 h 9937"/>
                    <a:gd name="connsiteX27" fmla="*/ 4123 w 10000"/>
                    <a:gd name="connsiteY27" fmla="*/ 190 h 9937"/>
                    <a:gd name="connsiteX28" fmla="*/ 3684 w 10000"/>
                    <a:gd name="connsiteY28" fmla="*/ 317 h 9937"/>
                    <a:gd name="connsiteX29" fmla="*/ 3246 w 10000"/>
                    <a:gd name="connsiteY29" fmla="*/ 570 h 9937"/>
                    <a:gd name="connsiteX30" fmla="*/ 2982 w 10000"/>
                    <a:gd name="connsiteY30" fmla="*/ 886 h 9937"/>
                    <a:gd name="connsiteX31" fmla="*/ 2719 w 10000"/>
                    <a:gd name="connsiteY31" fmla="*/ 1266 h 9937"/>
                    <a:gd name="connsiteX32" fmla="*/ 2544 w 10000"/>
                    <a:gd name="connsiteY32" fmla="*/ 1709 h 9937"/>
                    <a:gd name="connsiteX33" fmla="*/ 2544 w 10000"/>
                    <a:gd name="connsiteY33" fmla="*/ 2152 h 9937"/>
                    <a:gd name="connsiteX34" fmla="*/ 2544 w 10000"/>
                    <a:gd name="connsiteY34" fmla="*/ 2152 h 9937"/>
                    <a:gd name="connsiteX35" fmla="*/ 2632 w 10000"/>
                    <a:gd name="connsiteY35" fmla="*/ 2722 h 9937"/>
                    <a:gd name="connsiteX36" fmla="*/ 2982 w 10000"/>
                    <a:gd name="connsiteY36" fmla="*/ 3291 h 9937"/>
                    <a:gd name="connsiteX37" fmla="*/ 3421 w 10000"/>
                    <a:gd name="connsiteY37" fmla="*/ 3798 h 9937"/>
                    <a:gd name="connsiteX38" fmla="*/ 3860 w 10000"/>
                    <a:gd name="connsiteY38" fmla="*/ 4177 h 9937"/>
                    <a:gd name="connsiteX39" fmla="*/ 3860 w 10000"/>
                    <a:gd name="connsiteY39" fmla="*/ 4177 h 9937"/>
                    <a:gd name="connsiteX40" fmla="*/ 2895 w 10000"/>
                    <a:gd name="connsiteY40" fmla="*/ 4494 h 9937"/>
                    <a:gd name="connsiteX41" fmla="*/ 2105 w 10000"/>
                    <a:gd name="connsiteY41" fmla="*/ 4874 h 9937"/>
                    <a:gd name="connsiteX42" fmla="*/ 1404 w 10000"/>
                    <a:gd name="connsiteY42" fmla="*/ 5443 h 9937"/>
                    <a:gd name="connsiteX43" fmla="*/ 877 w 10000"/>
                    <a:gd name="connsiteY43" fmla="*/ 6202 h 9937"/>
                    <a:gd name="connsiteX44" fmla="*/ 439 w 10000"/>
                    <a:gd name="connsiteY44" fmla="*/ 6961 h 9937"/>
                    <a:gd name="connsiteX45" fmla="*/ 175 w 10000"/>
                    <a:gd name="connsiteY45" fmla="*/ 7848 h 9937"/>
                    <a:gd name="connsiteX46" fmla="*/ 0 w 10000"/>
                    <a:gd name="connsiteY46" fmla="*/ 8798 h 9937"/>
                    <a:gd name="connsiteX47" fmla="*/ 0 w 10000"/>
                    <a:gd name="connsiteY47" fmla="*/ 9873 h 9937"/>
                    <a:gd name="connsiteX0" fmla="*/ 9912 w 10000"/>
                    <a:gd name="connsiteY0" fmla="*/ 10000 h 10000"/>
                    <a:gd name="connsiteX1" fmla="*/ 10000 w 10000"/>
                    <a:gd name="connsiteY1" fmla="*/ 9936 h 10000"/>
                    <a:gd name="connsiteX2" fmla="*/ 10000 w 10000"/>
                    <a:gd name="connsiteY2" fmla="*/ 8854 h 10000"/>
                    <a:gd name="connsiteX3" fmla="*/ 9912 w 10000"/>
                    <a:gd name="connsiteY3" fmla="*/ 7898 h 10000"/>
                    <a:gd name="connsiteX4" fmla="*/ 9561 w 10000"/>
                    <a:gd name="connsiteY4" fmla="*/ 7005 h 10000"/>
                    <a:gd name="connsiteX5" fmla="*/ 9211 w 10000"/>
                    <a:gd name="connsiteY5" fmla="*/ 6241 h 10000"/>
                    <a:gd name="connsiteX6" fmla="*/ 8684 w 10000"/>
                    <a:gd name="connsiteY6" fmla="*/ 5478 h 10000"/>
                    <a:gd name="connsiteX7" fmla="*/ 7982 w 10000"/>
                    <a:gd name="connsiteY7" fmla="*/ 4905 h 10000"/>
                    <a:gd name="connsiteX8" fmla="*/ 7105 w 10000"/>
                    <a:gd name="connsiteY8" fmla="*/ 4522 h 10000"/>
                    <a:gd name="connsiteX9" fmla="*/ 6140 w 10000"/>
                    <a:gd name="connsiteY9" fmla="*/ 4203 h 10000"/>
                    <a:gd name="connsiteX10" fmla="*/ 6140 w 10000"/>
                    <a:gd name="connsiteY10" fmla="*/ 4203 h 10000"/>
                    <a:gd name="connsiteX11" fmla="*/ 6667 w 10000"/>
                    <a:gd name="connsiteY11" fmla="*/ 3822 h 10000"/>
                    <a:gd name="connsiteX12" fmla="*/ 7018 w 10000"/>
                    <a:gd name="connsiteY12" fmla="*/ 3312 h 10000"/>
                    <a:gd name="connsiteX13" fmla="*/ 7281 w 10000"/>
                    <a:gd name="connsiteY13" fmla="*/ 2739 h 10000"/>
                    <a:gd name="connsiteX14" fmla="*/ 7544 w 10000"/>
                    <a:gd name="connsiteY14" fmla="*/ 2166 h 10000"/>
                    <a:gd name="connsiteX15" fmla="*/ 7544 w 10000"/>
                    <a:gd name="connsiteY15" fmla="*/ 2166 h 10000"/>
                    <a:gd name="connsiteX16" fmla="*/ 7456 w 10000"/>
                    <a:gd name="connsiteY16" fmla="*/ 1720 h 10000"/>
                    <a:gd name="connsiteX17" fmla="*/ 7281 w 10000"/>
                    <a:gd name="connsiteY17" fmla="*/ 1274 h 10000"/>
                    <a:gd name="connsiteX18" fmla="*/ 7105 w 10000"/>
                    <a:gd name="connsiteY18" fmla="*/ 892 h 10000"/>
                    <a:gd name="connsiteX19" fmla="*/ 6754 w 10000"/>
                    <a:gd name="connsiteY19" fmla="*/ 574 h 10000"/>
                    <a:gd name="connsiteX20" fmla="*/ 6404 w 10000"/>
                    <a:gd name="connsiteY20" fmla="*/ 319 h 10000"/>
                    <a:gd name="connsiteX21" fmla="*/ 5965 w 10000"/>
                    <a:gd name="connsiteY21" fmla="*/ 191 h 10000"/>
                    <a:gd name="connsiteX22" fmla="*/ 5526 w 10000"/>
                    <a:gd name="connsiteY22" fmla="*/ 0 h 10000"/>
                    <a:gd name="connsiteX23" fmla="*/ 5000 w 10000"/>
                    <a:gd name="connsiteY23" fmla="*/ 0 h 10000"/>
                    <a:gd name="connsiteX24" fmla="*/ 5000 w 10000"/>
                    <a:gd name="connsiteY24" fmla="*/ 0 h 10000"/>
                    <a:gd name="connsiteX25" fmla="*/ 4561 w 10000"/>
                    <a:gd name="connsiteY25" fmla="*/ 0 h 10000"/>
                    <a:gd name="connsiteX26" fmla="*/ 4123 w 10000"/>
                    <a:gd name="connsiteY26" fmla="*/ 191 h 10000"/>
                    <a:gd name="connsiteX27" fmla="*/ 3684 w 10000"/>
                    <a:gd name="connsiteY27" fmla="*/ 319 h 10000"/>
                    <a:gd name="connsiteX28" fmla="*/ 3246 w 10000"/>
                    <a:gd name="connsiteY28" fmla="*/ 574 h 10000"/>
                    <a:gd name="connsiteX29" fmla="*/ 2982 w 10000"/>
                    <a:gd name="connsiteY29" fmla="*/ 892 h 10000"/>
                    <a:gd name="connsiteX30" fmla="*/ 2719 w 10000"/>
                    <a:gd name="connsiteY30" fmla="*/ 1274 h 10000"/>
                    <a:gd name="connsiteX31" fmla="*/ 2544 w 10000"/>
                    <a:gd name="connsiteY31" fmla="*/ 1720 h 10000"/>
                    <a:gd name="connsiteX32" fmla="*/ 2544 w 10000"/>
                    <a:gd name="connsiteY32" fmla="*/ 2166 h 10000"/>
                    <a:gd name="connsiteX33" fmla="*/ 2544 w 10000"/>
                    <a:gd name="connsiteY33" fmla="*/ 2166 h 10000"/>
                    <a:gd name="connsiteX34" fmla="*/ 2632 w 10000"/>
                    <a:gd name="connsiteY34" fmla="*/ 2739 h 10000"/>
                    <a:gd name="connsiteX35" fmla="*/ 2982 w 10000"/>
                    <a:gd name="connsiteY35" fmla="*/ 3312 h 10000"/>
                    <a:gd name="connsiteX36" fmla="*/ 3421 w 10000"/>
                    <a:gd name="connsiteY36" fmla="*/ 3822 h 10000"/>
                    <a:gd name="connsiteX37" fmla="*/ 3860 w 10000"/>
                    <a:gd name="connsiteY37" fmla="*/ 4203 h 10000"/>
                    <a:gd name="connsiteX38" fmla="*/ 3860 w 10000"/>
                    <a:gd name="connsiteY38" fmla="*/ 4203 h 10000"/>
                    <a:gd name="connsiteX39" fmla="*/ 2895 w 10000"/>
                    <a:gd name="connsiteY39" fmla="*/ 4522 h 10000"/>
                    <a:gd name="connsiteX40" fmla="*/ 2105 w 10000"/>
                    <a:gd name="connsiteY40" fmla="*/ 4905 h 10000"/>
                    <a:gd name="connsiteX41" fmla="*/ 1404 w 10000"/>
                    <a:gd name="connsiteY41" fmla="*/ 5478 h 10000"/>
                    <a:gd name="connsiteX42" fmla="*/ 877 w 10000"/>
                    <a:gd name="connsiteY42" fmla="*/ 6241 h 10000"/>
                    <a:gd name="connsiteX43" fmla="*/ 439 w 10000"/>
                    <a:gd name="connsiteY43" fmla="*/ 7005 h 10000"/>
                    <a:gd name="connsiteX44" fmla="*/ 175 w 10000"/>
                    <a:gd name="connsiteY44" fmla="*/ 7898 h 10000"/>
                    <a:gd name="connsiteX45" fmla="*/ 0 w 10000"/>
                    <a:gd name="connsiteY45" fmla="*/ 8854 h 10000"/>
                    <a:gd name="connsiteX46" fmla="*/ 0 w 10000"/>
                    <a:gd name="connsiteY46" fmla="*/ 9936 h 10000"/>
                    <a:gd name="connsiteX0" fmla="*/ 9912 w 10000"/>
                    <a:gd name="connsiteY0" fmla="*/ 10000 h 10000"/>
                    <a:gd name="connsiteX1" fmla="*/ 10000 w 10000"/>
                    <a:gd name="connsiteY1" fmla="*/ 8854 h 10000"/>
                    <a:gd name="connsiteX2" fmla="*/ 9912 w 10000"/>
                    <a:gd name="connsiteY2" fmla="*/ 7898 h 10000"/>
                    <a:gd name="connsiteX3" fmla="*/ 9561 w 10000"/>
                    <a:gd name="connsiteY3" fmla="*/ 7005 h 10000"/>
                    <a:gd name="connsiteX4" fmla="*/ 9211 w 10000"/>
                    <a:gd name="connsiteY4" fmla="*/ 6241 h 10000"/>
                    <a:gd name="connsiteX5" fmla="*/ 8684 w 10000"/>
                    <a:gd name="connsiteY5" fmla="*/ 5478 h 10000"/>
                    <a:gd name="connsiteX6" fmla="*/ 7982 w 10000"/>
                    <a:gd name="connsiteY6" fmla="*/ 4905 h 10000"/>
                    <a:gd name="connsiteX7" fmla="*/ 7105 w 10000"/>
                    <a:gd name="connsiteY7" fmla="*/ 4522 h 10000"/>
                    <a:gd name="connsiteX8" fmla="*/ 6140 w 10000"/>
                    <a:gd name="connsiteY8" fmla="*/ 4203 h 10000"/>
                    <a:gd name="connsiteX9" fmla="*/ 6140 w 10000"/>
                    <a:gd name="connsiteY9" fmla="*/ 4203 h 10000"/>
                    <a:gd name="connsiteX10" fmla="*/ 6667 w 10000"/>
                    <a:gd name="connsiteY10" fmla="*/ 3822 h 10000"/>
                    <a:gd name="connsiteX11" fmla="*/ 7018 w 10000"/>
                    <a:gd name="connsiteY11" fmla="*/ 3312 h 10000"/>
                    <a:gd name="connsiteX12" fmla="*/ 7281 w 10000"/>
                    <a:gd name="connsiteY12" fmla="*/ 2739 h 10000"/>
                    <a:gd name="connsiteX13" fmla="*/ 7544 w 10000"/>
                    <a:gd name="connsiteY13" fmla="*/ 2166 h 10000"/>
                    <a:gd name="connsiteX14" fmla="*/ 7544 w 10000"/>
                    <a:gd name="connsiteY14" fmla="*/ 2166 h 10000"/>
                    <a:gd name="connsiteX15" fmla="*/ 7456 w 10000"/>
                    <a:gd name="connsiteY15" fmla="*/ 1720 h 10000"/>
                    <a:gd name="connsiteX16" fmla="*/ 7281 w 10000"/>
                    <a:gd name="connsiteY16" fmla="*/ 1274 h 10000"/>
                    <a:gd name="connsiteX17" fmla="*/ 7105 w 10000"/>
                    <a:gd name="connsiteY17" fmla="*/ 892 h 10000"/>
                    <a:gd name="connsiteX18" fmla="*/ 6754 w 10000"/>
                    <a:gd name="connsiteY18" fmla="*/ 574 h 10000"/>
                    <a:gd name="connsiteX19" fmla="*/ 6404 w 10000"/>
                    <a:gd name="connsiteY19" fmla="*/ 319 h 10000"/>
                    <a:gd name="connsiteX20" fmla="*/ 5965 w 10000"/>
                    <a:gd name="connsiteY20" fmla="*/ 191 h 10000"/>
                    <a:gd name="connsiteX21" fmla="*/ 5526 w 10000"/>
                    <a:gd name="connsiteY21" fmla="*/ 0 h 10000"/>
                    <a:gd name="connsiteX22" fmla="*/ 5000 w 10000"/>
                    <a:gd name="connsiteY22" fmla="*/ 0 h 10000"/>
                    <a:gd name="connsiteX23" fmla="*/ 5000 w 10000"/>
                    <a:gd name="connsiteY23" fmla="*/ 0 h 10000"/>
                    <a:gd name="connsiteX24" fmla="*/ 4561 w 10000"/>
                    <a:gd name="connsiteY24" fmla="*/ 0 h 10000"/>
                    <a:gd name="connsiteX25" fmla="*/ 4123 w 10000"/>
                    <a:gd name="connsiteY25" fmla="*/ 191 h 10000"/>
                    <a:gd name="connsiteX26" fmla="*/ 3684 w 10000"/>
                    <a:gd name="connsiteY26" fmla="*/ 319 h 10000"/>
                    <a:gd name="connsiteX27" fmla="*/ 3246 w 10000"/>
                    <a:gd name="connsiteY27" fmla="*/ 574 h 10000"/>
                    <a:gd name="connsiteX28" fmla="*/ 2982 w 10000"/>
                    <a:gd name="connsiteY28" fmla="*/ 892 h 10000"/>
                    <a:gd name="connsiteX29" fmla="*/ 2719 w 10000"/>
                    <a:gd name="connsiteY29" fmla="*/ 1274 h 10000"/>
                    <a:gd name="connsiteX30" fmla="*/ 2544 w 10000"/>
                    <a:gd name="connsiteY30" fmla="*/ 1720 h 10000"/>
                    <a:gd name="connsiteX31" fmla="*/ 2544 w 10000"/>
                    <a:gd name="connsiteY31" fmla="*/ 2166 h 10000"/>
                    <a:gd name="connsiteX32" fmla="*/ 2544 w 10000"/>
                    <a:gd name="connsiteY32" fmla="*/ 2166 h 10000"/>
                    <a:gd name="connsiteX33" fmla="*/ 2632 w 10000"/>
                    <a:gd name="connsiteY33" fmla="*/ 2739 h 10000"/>
                    <a:gd name="connsiteX34" fmla="*/ 2982 w 10000"/>
                    <a:gd name="connsiteY34" fmla="*/ 3312 h 10000"/>
                    <a:gd name="connsiteX35" fmla="*/ 3421 w 10000"/>
                    <a:gd name="connsiteY35" fmla="*/ 3822 h 10000"/>
                    <a:gd name="connsiteX36" fmla="*/ 3860 w 10000"/>
                    <a:gd name="connsiteY36" fmla="*/ 4203 h 10000"/>
                    <a:gd name="connsiteX37" fmla="*/ 3860 w 10000"/>
                    <a:gd name="connsiteY37" fmla="*/ 4203 h 10000"/>
                    <a:gd name="connsiteX38" fmla="*/ 2895 w 10000"/>
                    <a:gd name="connsiteY38" fmla="*/ 4522 h 10000"/>
                    <a:gd name="connsiteX39" fmla="*/ 2105 w 10000"/>
                    <a:gd name="connsiteY39" fmla="*/ 4905 h 10000"/>
                    <a:gd name="connsiteX40" fmla="*/ 1404 w 10000"/>
                    <a:gd name="connsiteY40" fmla="*/ 5478 h 10000"/>
                    <a:gd name="connsiteX41" fmla="*/ 877 w 10000"/>
                    <a:gd name="connsiteY41" fmla="*/ 6241 h 10000"/>
                    <a:gd name="connsiteX42" fmla="*/ 439 w 10000"/>
                    <a:gd name="connsiteY42" fmla="*/ 7005 h 10000"/>
                    <a:gd name="connsiteX43" fmla="*/ 175 w 10000"/>
                    <a:gd name="connsiteY43" fmla="*/ 7898 h 10000"/>
                    <a:gd name="connsiteX44" fmla="*/ 0 w 10000"/>
                    <a:gd name="connsiteY44" fmla="*/ 8854 h 10000"/>
                    <a:gd name="connsiteX45" fmla="*/ 0 w 10000"/>
                    <a:gd name="connsiteY45" fmla="*/ 9936 h 10000"/>
                    <a:gd name="connsiteX0" fmla="*/ 10000 w 10000"/>
                    <a:gd name="connsiteY0" fmla="*/ 8854 h 9936"/>
                    <a:gd name="connsiteX1" fmla="*/ 9912 w 10000"/>
                    <a:gd name="connsiteY1" fmla="*/ 7898 h 9936"/>
                    <a:gd name="connsiteX2" fmla="*/ 9561 w 10000"/>
                    <a:gd name="connsiteY2" fmla="*/ 7005 h 9936"/>
                    <a:gd name="connsiteX3" fmla="*/ 9211 w 10000"/>
                    <a:gd name="connsiteY3" fmla="*/ 6241 h 9936"/>
                    <a:gd name="connsiteX4" fmla="*/ 8684 w 10000"/>
                    <a:gd name="connsiteY4" fmla="*/ 5478 h 9936"/>
                    <a:gd name="connsiteX5" fmla="*/ 7982 w 10000"/>
                    <a:gd name="connsiteY5" fmla="*/ 4905 h 9936"/>
                    <a:gd name="connsiteX6" fmla="*/ 7105 w 10000"/>
                    <a:gd name="connsiteY6" fmla="*/ 4522 h 9936"/>
                    <a:gd name="connsiteX7" fmla="*/ 6140 w 10000"/>
                    <a:gd name="connsiteY7" fmla="*/ 4203 h 9936"/>
                    <a:gd name="connsiteX8" fmla="*/ 6140 w 10000"/>
                    <a:gd name="connsiteY8" fmla="*/ 4203 h 9936"/>
                    <a:gd name="connsiteX9" fmla="*/ 6667 w 10000"/>
                    <a:gd name="connsiteY9" fmla="*/ 3822 h 9936"/>
                    <a:gd name="connsiteX10" fmla="*/ 7018 w 10000"/>
                    <a:gd name="connsiteY10" fmla="*/ 3312 h 9936"/>
                    <a:gd name="connsiteX11" fmla="*/ 7281 w 10000"/>
                    <a:gd name="connsiteY11" fmla="*/ 2739 h 9936"/>
                    <a:gd name="connsiteX12" fmla="*/ 7544 w 10000"/>
                    <a:gd name="connsiteY12" fmla="*/ 2166 h 9936"/>
                    <a:gd name="connsiteX13" fmla="*/ 7544 w 10000"/>
                    <a:gd name="connsiteY13" fmla="*/ 2166 h 9936"/>
                    <a:gd name="connsiteX14" fmla="*/ 7456 w 10000"/>
                    <a:gd name="connsiteY14" fmla="*/ 1720 h 9936"/>
                    <a:gd name="connsiteX15" fmla="*/ 7281 w 10000"/>
                    <a:gd name="connsiteY15" fmla="*/ 1274 h 9936"/>
                    <a:gd name="connsiteX16" fmla="*/ 7105 w 10000"/>
                    <a:gd name="connsiteY16" fmla="*/ 892 h 9936"/>
                    <a:gd name="connsiteX17" fmla="*/ 6754 w 10000"/>
                    <a:gd name="connsiteY17" fmla="*/ 574 h 9936"/>
                    <a:gd name="connsiteX18" fmla="*/ 6404 w 10000"/>
                    <a:gd name="connsiteY18" fmla="*/ 319 h 9936"/>
                    <a:gd name="connsiteX19" fmla="*/ 5965 w 10000"/>
                    <a:gd name="connsiteY19" fmla="*/ 191 h 9936"/>
                    <a:gd name="connsiteX20" fmla="*/ 5526 w 10000"/>
                    <a:gd name="connsiteY20" fmla="*/ 0 h 9936"/>
                    <a:gd name="connsiteX21" fmla="*/ 5000 w 10000"/>
                    <a:gd name="connsiteY21" fmla="*/ 0 h 9936"/>
                    <a:gd name="connsiteX22" fmla="*/ 5000 w 10000"/>
                    <a:gd name="connsiteY22" fmla="*/ 0 h 9936"/>
                    <a:gd name="connsiteX23" fmla="*/ 4561 w 10000"/>
                    <a:gd name="connsiteY23" fmla="*/ 0 h 9936"/>
                    <a:gd name="connsiteX24" fmla="*/ 4123 w 10000"/>
                    <a:gd name="connsiteY24" fmla="*/ 191 h 9936"/>
                    <a:gd name="connsiteX25" fmla="*/ 3684 w 10000"/>
                    <a:gd name="connsiteY25" fmla="*/ 319 h 9936"/>
                    <a:gd name="connsiteX26" fmla="*/ 3246 w 10000"/>
                    <a:gd name="connsiteY26" fmla="*/ 574 h 9936"/>
                    <a:gd name="connsiteX27" fmla="*/ 2982 w 10000"/>
                    <a:gd name="connsiteY27" fmla="*/ 892 h 9936"/>
                    <a:gd name="connsiteX28" fmla="*/ 2719 w 10000"/>
                    <a:gd name="connsiteY28" fmla="*/ 1274 h 9936"/>
                    <a:gd name="connsiteX29" fmla="*/ 2544 w 10000"/>
                    <a:gd name="connsiteY29" fmla="*/ 1720 h 9936"/>
                    <a:gd name="connsiteX30" fmla="*/ 2544 w 10000"/>
                    <a:gd name="connsiteY30" fmla="*/ 2166 h 9936"/>
                    <a:gd name="connsiteX31" fmla="*/ 2544 w 10000"/>
                    <a:gd name="connsiteY31" fmla="*/ 2166 h 9936"/>
                    <a:gd name="connsiteX32" fmla="*/ 2632 w 10000"/>
                    <a:gd name="connsiteY32" fmla="*/ 2739 h 9936"/>
                    <a:gd name="connsiteX33" fmla="*/ 2982 w 10000"/>
                    <a:gd name="connsiteY33" fmla="*/ 3312 h 9936"/>
                    <a:gd name="connsiteX34" fmla="*/ 3421 w 10000"/>
                    <a:gd name="connsiteY34" fmla="*/ 3822 h 9936"/>
                    <a:gd name="connsiteX35" fmla="*/ 3860 w 10000"/>
                    <a:gd name="connsiteY35" fmla="*/ 4203 h 9936"/>
                    <a:gd name="connsiteX36" fmla="*/ 3860 w 10000"/>
                    <a:gd name="connsiteY36" fmla="*/ 4203 h 9936"/>
                    <a:gd name="connsiteX37" fmla="*/ 2895 w 10000"/>
                    <a:gd name="connsiteY37" fmla="*/ 4522 h 9936"/>
                    <a:gd name="connsiteX38" fmla="*/ 2105 w 10000"/>
                    <a:gd name="connsiteY38" fmla="*/ 4905 h 9936"/>
                    <a:gd name="connsiteX39" fmla="*/ 1404 w 10000"/>
                    <a:gd name="connsiteY39" fmla="*/ 5478 h 9936"/>
                    <a:gd name="connsiteX40" fmla="*/ 877 w 10000"/>
                    <a:gd name="connsiteY40" fmla="*/ 6241 h 9936"/>
                    <a:gd name="connsiteX41" fmla="*/ 439 w 10000"/>
                    <a:gd name="connsiteY41" fmla="*/ 7005 h 9936"/>
                    <a:gd name="connsiteX42" fmla="*/ 175 w 10000"/>
                    <a:gd name="connsiteY42" fmla="*/ 7898 h 9936"/>
                    <a:gd name="connsiteX43" fmla="*/ 0 w 10000"/>
                    <a:gd name="connsiteY43" fmla="*/ 8854 h 9936"/>
                    <a:gd name="connsiteX44" fmla="*/ 0 w 10000"/>
                    <a:gd name="connsiteY44" fmla="*/ 9936 h 9936"/>
                    <a:gd name="connsiteX0" fmla="*/ 9912 w 9912"/>
                    <a:gd name="connsiteY0" fmla="*/ 7949 h 10000"/>
                    <a:gd name="connsiteX1" fmla="*/ 9561 w 9912"/>
                    <a:gd name="connsiteY1" fmla="*/ 7050 h 10000"/>
                    <a:gd name="connsiteX2" fmla="*/ 9211 w 9912"/>
                    <a:gd name="connsiteY2" fmla="*/ 6281 h 10000"/>
                    <a:gd name="connsiteX3" fmla="*/ 8684 w 9912"/>
                    <a:gd name="connsiteY3" fmla="*/ 5513 h 10000"/>
                    <a:gd name="connsiteX4" fmla="*/ 7982 w 9912"/>
                    <a:gd name="connsiteY4" fmla="*/ 4937 h 10000"/>
                    <a:gd name="connsiteX5" fmla="*/ 7105 w 9912"/>
                    <a:gd name="connsiteY5" fmla="*/ 4551 h 10000"/>
                    <a:gd name="connsiteX6" fmla="*/ 6140 w 9912"/>
                    <a:gd name="connsiteY6" fmla="*/ 4230 h 10000"/>
                    <a:gd name="connsiteX7" fmla="*/ 6140 w 9912"/>
                    <a:gd name="connsiteY7" fmla="*/ 4230 h 10000"/>
                    <a:gd name="connsiteX8" fmla="*/ 6667 w 9912"/>
                    <a:gd name="connsiteY8" fmla="*/ 3847 h 10000"/>
                    <a:gd name="connsiteX9" fmla="*/ 7018 w 9912"/>
                    <a:gd name="connsiteY9" fmla="*/ 3333 h 10000"/>
                    <a:gd name="connsiteX10" fmla="*/ 7281 w 9912"/>
                    <a:gd name="connsiteY10" fmla="*/ 2757 h 10000"/>
                    <a:gd name="connsiteX11" fmla="*/ 7544 w 9912"/>
                    <a:gd name="connsiteY11" fmla="*/ 2180 h 10000"/>
                    <a:gd name="connsiteX12" fmla="*/ 7544 w 9912"/>
                    <a:gd name="connsiteY12" fmla="*/ 2180 h 10000"/>
                    <a:gd name="connsiteX13" fmla="*/ 7456 w 9912"/>
                    <a:gd name="connsiteY13" fmla="*/ 1731 h 10000"/>
                    <a:gd name="connsiteX14" fmla="*/ 7281 w 9912"/>
                    <a:gd name="connsiteY14" fmla="*/ 1282 h 10000"/>
                    <a:gd name="connsiteX15" fmla="*/ 7105 w 9912"/>
                    <a:gd name="connsiteY15" fmla="*/ 898 h 10000"/>
                    <a:gd name="connsiteX16" fmla="*/ 6754 w 9912"/>
                    <a:gd name="connsiteY16" fmla="*/ 578 h 10000"/>
                    <a:gd name="connsiteX17" fmla="*/ 6404 w 9912"/>
                    <a:gd name="connsiteY17" fmla="*/ 321 h 10000"/>
                    <a:gd name="connsiteX18" fmla="*/ 5965 w 9912"/>
                    <a:gd name="connsiteY18" fmla="*/ 192 h 10000"/>
                    <a:gd name="connsiteX19" fmla="*/ 5526 w 9912"/>
                    <a:gd name="connsiteY19" fmla="*/ 0 h 10000"/>
                    <a:gd name="connsiteX20" fmla="*/ 5000 w 9912"/>
                    <a:gd name="connsiteY20" fmla="*/ 0 h 10000"/>
                    <a:gd name="connsiteX21" fmla="*/ 5000 w 9912"/>
                    <a:gd name="connsiteY21" fmla="*/ 0 h 10000"/>
                    <a:gd name="connsiteX22" fmla="*/ 4561 w 9912"/>
                    <a:gd name="connsiteY22" fmla="*/ 0 h 10000"/>
                    <a:gd name="connsiteX23" fmla="*/ 4123 w 9912"/>
                    <a:gd name="connsiteY23" fmla="*/ 192 h 10000"/>
                    <a:gd name="connsiteX24" fmla="*/ 3684 w 9912"/>
                    <a:gd name="connsiteY24" fmla="*/ 321 h 10000"/>
                    <a:gd name="connsiteX25" fmla="*/ 3246 w 9912"/>
                    <a:gd name="connsiteY25" fmla="*/ 578 h 10000"/>
                    <a:gd name="connsiteX26" fmla="*/ 2982 w 9912"/>
                    <a:gd name="connsiteY26" fmla="*/ 898 h 10000"/>
                    <a:gd name="connsiteX27" fmla="*/ 2719 w 9912"/>
                    <a:gd name="connsiteY27" fmla="*/ 1282 h 10000"/>
                    <a:gd name="connsiteX28" fmla="*/ 2544 w 9912"/>
                    <a:gd name="connsiteY28" fmla="*/ 1731 h 10000"/>
                    <a:gd name="connsiteX29" fmla="*/ 2544 w 9912"/>
                    <a:gd name="connsiteY29" fmla="*/ 2180 h 10000"/>
                    <a:gd name="connsiteX30" fmla="*/ 2544 w 9912"/>
                    <a:gd name="connsiteY30" fmla="*/ 2180 h 10000"/>
                    <a:gd name="connsiteX31" fmla="*/ 2632 w 9912"/>
                    <a:gd name="connsiteY31" fmla="*/ 2757 h 10000"/>
                    <a:gd name="connsiteX32" fmla="*/ 2982 w 9912"/>
                    <a:gd name="connsiteY32" fmla="*/ 3333 h 10000"/>
                    <a:gd name="connsiteX33" fmla="*/ 3421 w 9912"/>
                    <a:gd name="connsiteY33" fmla="*/ 3847 h 10000"/>
                    <a:gd name="connsiteX34" fmla="*/ 3860 w 9912"/>
                    <a:gd name="connsiteY34" fmla="*/ 4230 h 10000"/>
                    <a:gd name="connsiteX35" fmla="*/ 3860 w 9912"/>
                    <a:gd name="connsiteY35" fmla="*/ 4230 h 10000"/>
                    <a:gd name="connsiteX36" fmla="*/ 2895 w 9912"/>
                    <a:gd name="connsiteY36" fmla="*/ 4551 h 10000"/>
                    <a:gd name="connsiteX37" fmla="*/ 2105 w 9912"/>
                    <a:gd name="connsiteY37" fmla="*/ 4937 h 10000"/>
                    <a:gd name="connsiteX38" fmla="*/ 1404 w 9912"/>
                    <a:gd name="connsiteY38" fmla="*/ 5513 h 10000"/>
                    <a:gd name="connsiteX39" fmla="*/ 877 w 9912"/>
                    <a:gd name="connsiteY39" fmla="*/ 6281 h 10000"/>
                    <a:gd name="connsiteX40" fmla="*/ 439 w 9912"/>
                    <a:gd name="connsiteY40" fmla="*/ 7050 h 10000"/>
                    <a:gd name="connsiteX41" fmla="*/ 175 w 9912"/>
                    <a:gd name="connsiteY41" fmla="*/ 7949 h 10000"/>
                    <a:gd name="connsiteX42" fmla="*/ 0 w 9912"/>
                    <a:gd name="connsiteY42" fmla="*/ 8911 h 10000"/>
                    <a:gd name="connsiteX43" fmla="*/ 0 w 9912"/>
                    <a:gd name="connsiteY43" fmla="*/ 10000 h 10000"/>
                    <a:gd name="connsiteX0" fmla="*/ 9646 w 9646"/>
                    <a:gd name="connsiteY0" fmla="*/ 7050 h 10000"/>
                    <a:gd name="connsiteX1" fmla="*/ 9293 w 9646"/>
                    <a:gd name="connsiteY1" fmla="*/ 6281 h 10000"/>
                    <a:gd name="connsiteX2" fmla="*/ 8761 w 9646"/>
                    <a:gd name="connsiteY2" fmla="*/ 5513 h 10000"/>
                    <a:gd name="connsiteX3" fmla="*/ 8053 w 9646"/>
                    <a:gd name="connsiteY3" fmla="*/ 4937 h 10000"/>
                    <a:gd name="connsiteX4" fmla="*/ 7168 w 9646"/>
                    <a:gd name="connsiteY4" fmla="*/ 4551 h 10000"/>
                    <a:gd name="connsiteX5" fmla="*/ 6195 w 9646"/>
                    <a:gd name="connsiteY5" fmla="*/ 4230 h 10000"/>
                    <a:gd name="connsiteX6" fmla="*/ 6195 w 9646"/>
                    <a:gd name="connsiteY6" fmla="*/ 4230 h 10000"/>
                    <a:gd name="connsiteX7" fmla="*/ 6726 w 9646"/>
                    <a:gd name="connsiteY7" fmla="*/ 3847 h 10000"/>
                    <a:gd name="connsiteX8" fmla="*/ 7080 w 9646"/>
                    <a:gd name="connsiteY8" fmla="*/ 3333 h 10000"/>
                    <a:gd name="connsiteX9" fmla="*/ 7346 w 9646"/>
                    <a:gd name="connsiteY9" fmla="*/ 2757 h 10000"/>
                    <a:gd name="connsiteX10" fmla="*/ 7611 w 9646"/>
                    <a:gd name="connsiteY10" fmla="*/ 2180 h 10000"/>
                    <a:gd name="connsiteX11" fmla="*/ 7611 w 9646"/>
                    <a:gd name="connsiteY11" fmla="*/ 2180 h 10000"/>
                    <a:gd name="connsiteX12" fmla="*/ 7522 w 9646"/>
                    <a:gd name="connsiteY12" fmla="*/ 1731 h 10000"/>
                    <a:gd name="connsiteX13" fmla="*/ 7346 w 9646"/>
                    <a:gd name="connsiteY13" fmla="*/ 1282 h 10000"/>
                    <a:gd name="connsiteX14" fmla="*/ 7168 w 9646"/>
                    <a:gd name="connsiteY14" fmla="*/ 898 h 10000"/>
                    <a:gd name="connsiteX15" fmla="*/ 6814 w 9646"/>
                    <a:gd name="connsiteY15" fmla="*/ 578 h 10000"/>
                    <a:gd name="connsiteX16" fmla="*/ 6461 w 9646"/>
                    <a:gd name="connsiteY16" fmla="*/ 321 h 10000"/>
                    <a:gd name="connsiteX17" fmla="*/ 6018 w 9646"/>
                    <a:gd name="connsiteY17" fmla="*/ 192 h 10000"/>
                    <a:gd name="connsiteX18" fmla="*/ 5575 w 9646"/>
                    <a:gd name="connsiteY18" fmla="*/ 0 h 10000"/>
                    <a:gd name="connsiteX19" fmla="*/ 5044 w 9646"/>
                    <a:gd name="connsiteY19" fmla="*/ 0 h 10000"/>
                    <a:gd name="connsiteX20" fmla="*/ 5044 w 9646"/>
                    <a:gd name="connsiteY20" fmla="*/ 0 h 10000"/>
                    <a:gd name="connsiteX21" fmla="*/ 4601 w 9646"/>
                    <a:gd name="connsiteY21" fmla="*/ 0 h 10000"/>
                    <a:gd name="connsiteX22" fmla="*/ 4160 w 9646"/>
                    <a:gd name="connsiteY22" fmla="*/ 192 h 10000"/>
                    <a:gd name="connsiteX23" fmla="*/ 3717 w 9646"/>
                    <a:gd name="connsiteY23" fmla="*/ 321 h 10000"/>
                    <a:gd name="connsiteX24" fmla="*/ 3275 w 9646"/>
                    <a:gd name="connsiteY24" fmla="*/ 578 h 10000"/>
                    <a:gd name="connsiteX25" fmla="*/ 3008 w 9646"/>
                    <a:gd name="connsiteY25" fmla="*/ 898 h 10000"/>
                    <a:gd name="connsiteX26" fmla="*/ 2743 w 9646"/>
                    <a:gd name="connsiteY26" fmla="*/ 1282 h 10000"/>
                    <a:gd name="connsiteX27" fmla="*/ 2567 w 9646"/>
                    <a:gd name="connsiteY27" fmla="*/ 1731 h 10000"/>
                    <a:gd name="connsiteX28" fmla="*/ 2567 w 9646"/>
                    <a:gd name="connsiteY28" fmla="*/ 2180 h 10000"/>
                    <a:gd name="connsiteX29" fmla="*/ 2567 w 9646"/>
                    <a:gd name="connsiteY29" fmla="*/ 2180 h 10000"/>
                    <a:gd name="connsiteX30" fmla="*/ 2655 w 9646"/>
                    <a:gd name="connsiteY30" fmla="*/ 2757 h 10000"/>
                    <a:gd name="connsiteX31" fmla="*/ 3008 w 9646"/>
                    <a:gd name="connsiteY31" fmla="*/ 3333 h 10000"/>
                    <a:gd name="connsiteX32" fmla="*/ 3451 w 9646"/>
                    <a:gd name="connsiteY32" fmla="*/ 3847 h 10000"/>
                    <a:gd name="connsiteX33" fmla="*/ 3894 w 9646"/>
                    <a:gd name="connsiteY33" fmla="*/ 4230 h 10000"/>
                    <a:gd name="connsiteX34" fmla="*/ 3894 w 9646"/>
                    <a:gd name="connsiteY34" fmla="*/ 4230 h 10000"/>
                    <a:gd name="connsiteX35" fmla="*/ 2921 w 9646"/>
                    <a:gd name="connsiteY35" fmla="*/ 4551 h 10000"/>
                    <a:gd name="connsiteX36" fmla="*/ 2124 w 9646"/>
                    <a:gd name="connsiteY36" fmla="*/ 4937 h 10000"/>
                    <a:gd name="connsiteX37" fmla="*/ 1416 w 9646"/>
                    <a:gd name="connsiteY37" fmla="*/ 5513 h 10000"/>
                    <a:gd name="connsiteX38" fmla="*/ 885 w 9646"/>
                    <a:gd name="connsiteY38" fmla="*/ 6281 h 10000"/>
                    <a:gd name="connsiteX39" fmla="*/ 443 w 9646"/>
                    <a:gd name="connsiteY39" fmla="*/ 7050 h 10000"/>
                    <a:gd name="connsiteX40" fmla="*/ 177 w 9646"/>
                    <a:gd name="connsiteY40" fmla="*/ 7949 h 10000"/>
                    <a:gd name="connsiteX41" fmla="*/ 0 w 9646"/>
                    <a:gd name="connsiteY41" fmla="*/ 8911 h 10000"/>
                    <a:gd name="connsiteX42" fmla="*/ 0 w 9646"/>
                    <a:gd name="connsiteY42" fmla="*/ 10000 h 10000"/>
                    <a:gd name="connsiteX0" fmla="*/ 9634 w 9634"/>
                    <a:gd name="connsiteY0" fmla="*/ 6281 h 10000"/>
                    <a:gd name="connsiteX1" fmla="*/ 9083 w 9634"/>
                    <a:gd name="connsiteY1" fmla="*/ 5513 h 10000"/>
                    <a:gd name="connsiteX2" fmla="*/ 8349 w 9634"/>
                    <a:gd name="connsiteY2" fmla="*/ 4937 h 10000"/>
                    <a:gd name="connsiteX3" fmla="*/ 7431 w 9634"/>
                    <a:gd name="connsiteY3" fmla="*/ 4551 h 10000"/>
                    <a:gd name="connsiteX4" fmla="*/ 6422 w 9634"/>
                    <a:gd name="connsiteY4" fmla="*/ 4230 h 10000"/>
                    <a:gd name="connsiteX5" fmla="*/ 6422 w 9634"/>
                    <a:gd name="connsiteY5" fmla="*/ 4230 h 10000"/>
                    <a:gd name="connsiteX6" fmla="*/ 6973 w 9634"/>
                    <a:gd name="connsiteY6" fmla="*/ 3847 h 10000"/>
                    <a:gd name="connsiteX7" fmla="*/ 7340 w 9634"/>
                    <a:gd name="connsiteY7" fmla="*/ 3333 h 10000"/>
                    <a:gd name="connsiteX8" fmla="*/ 7616 w 9634"/>
                    <a:gd name="connsiteY8" fmla="*/ 2757 h 10000"/>
                    <a:gd name="connsiteX9" fmla="*/ 7890 w 9634"/>
                    <a:gd name="connsiteY9" fmla="*/ 2180 h 10000"/>
                    <a:gd name="connsiteX10" fmla="*/ 7890 w 9634"/>
                    <a:gd name="connsiteY10" fmla="*/ 2180 h 10000"/>
                    <a:gd name="connsiteX11" fmla="*/ 7798 w 9634"/>
                    <a:gd name="connsiteY11" fmla="*/ 1731 h 10000"/>
                    <a:gd name="connsiteX12" fmla="*/ 7616 w 9634"/>
                    <a:gd name="connsiteY12" fmla="*/ 1282 h 10000"/>
                    <a:gd name="connsiteX13" fmla="*/ 7431 w 9634"/>
                    <a:gd name="connsiteY13" fmla="*/ 898 h 10000"/>
                    <a:gd name="connsiteX14" fmla="*/ 7064 w 9634"/>
                    <a:gd name="connsiteY14" fmla="*/ 578 h 10000"/>
                    <a:gd name="connsiteX15" fmla="*/ 6698 w 9634"/>
                    <a:gd name="connsiteY15" fmla="*/ 321 h 10000"/>
                    <a:gd name="connsiteX16" fmla="*/ 6239 w 9634"/>
                    <a:gd name="connsiteY16" fmla="*/ 192 h 10000"/>
                    <a:gd name="connsiteX17" fmla="*/ 5780 w 9634"/>
                    <a:gd name="connsiteY17" fmla="*/ 0 h 10000"/>
                    <a:gd name="connsiteX18" fmla="*/ 5229 w 9634"/>
                    <a:gd name="connsiteY18" fmla="*/ 0 h 10000"/>
                    <a:gd name="connsiteX19" fmla="*/ 5229 w 9634"/>
                    <a:gd name="connsiteY19" fmla="*/ 0 h 10000"/>
                    <a:gd name="connsiteX20" fmla="*/ 4770 w 9634"/>
                    <a:gd name="connsiteY20" fmla="*/ 0 h 10000"/>
                    <a:gd name="connsiteX21" fmla="*/ 4313 w 9634"/>
                    <a:gd name="connsiteY21" fmla="*/ 192 h 10000"/>
                    <a:gd name="connsiteX22" fmla="*/ 3853 w 9634"/>
                    <a:gd name="connsiteY22" fmla="*/ 321 h 10000"/>
                    <a:gd name="connsiteX23" fmla="*/ 3395 w 9634"/>
                    <a:gd name="connsiteY23" fmla="*/ 578 h 10000"/>
                    <a:gd name="connsiteX24" fmla="*/ 3118 w 9634"/>
                    <a:gd name="connsiteY24" fmla="*/ 898 h 10000"/>
                    <a:gd name="connsiteX25" fmla="*/ 2844 w 9634"/>
                    <a:gd name="connsiteY25" fmla="*/ 1282 h 10000"/>
                    <a:gd name="connsiteX26" fmla="*/ 2661 w 9634"/>
                    <a:gd name="connsiteY26" fmla="*/ 1731 h 10000"/>
                    <a:gd name="connsiteX27" fmla="*/ 2661 w 9634"/>
                    <a:gd name="connsiteY27" fmla="*/ 2180 h 10000"/>
                    <a:gd name="connsiteX28" fmla="*/ 2661 w 9634"/>
                    <a:gd name="connsiteY28" fmla="*/ 2180 h 10000"/>
                    <a:gd name="connsiteX29" fmla="*/ 2752 w 9634"/>
                    <a:gd name="connsiteY29" fmla="*/ 2757 h 10000"/>
                    <a:gd name="connsiteX30" fmla="*/ 3118 w 9634"/>
                    <a:gd name="connsiteY30" fmla="*/ 3333 h 10000"/>
                    <a:gd name="connsiteX31" fmla="*/ 3578 w 9634"/>
                    <a:gd name="connsiteY31" fmla="*/ 3847 h 10000"/>
                    <a:gd name="connsiteX32" fmla="*/ 4037 w 9634"/>
                    <a:gd name="connsiteY32" fmla="*/ 4230 h 10000"/>
                    <a:gd name="connsiteX33" fmla="*/ 4037 w 9634"/>
                    <a:gd name="connsiteY33" fmla="*/ 4230 h 10000"/>
                    <a:gd name="connsiteX34" fmla="*/ 3028 w 9634"/>
                    <a:gd name="connsiteY34" fmla="*/ 4551 h 10000"/>
                    <a:gd name="connsiteX35" fmla="*/ 2202 w 9634"/>
                    <a:gd name="connsiteY35" fmla="*/ 4937 h 10000"/>
                    <a:gd name="connsiteX36" fmla="*/ 1468 w 9634"/>
                    <a:gd name="connsiteY36" fmla="*/ 5513 h 10000"/>
                    <a:gd name="connsiteX37" fmla="*/ 917 w 9634"/>
                    <a:gd name="connsiteY37" fmla="*/ 6281 h 10000"/>
                    <a:gd name="connsiteX38" fmla="*/ 459 w 9634"/>
                    <a:gd name="connsiteY38" fmla="*/ 7050 h 10000"/>
                    <a:gd name="connsiteX39" fmla="*/ 183 w 9634"/>
                    <a:gd name="connsiteY39" fmla="*/ 7949 h 10000"/>
                    <a:gd name="connsiteX40" fmla="*/ 0 w 9634"/>
                    <a:gd name="connsiteY40" fmla="*/ 8911 h 10000"/>
                    <a:gd name="connsiteX41" fmla="*/ 0 w 9634"/>
                    <a:gd name="connsiteY41" fmla="*/ 1000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9634" h="10000">
                      <a:moveTo>
                        <a:pt x="9634" y="6281"/>
                      </a:moveTo>
                      <a:lnTo>
                        <a:pt x="9083" y="5513"/>
                      </a:lnTo>
                      <a:lnTo>
                        <a:pt x="8349" y="4937"/>
                      </a:lnTo>
                      <a:lnTo>
                        <a:pt x="7431" y="4551"/>
                      </a:lnTo>
                      <a:lnTo>
                        <a:pt x="6422" y="4230"/>
                      </a:lnTo>
                      <a:lnTo>
                        <a:pt x="6422" y="4230"/>
                      </a:lnTo>
                      <a:lnTo>
                        <a:pt x="6973" y="3847"/>
                      </a:lnTo>
                      <a:lnTo>
                        <a:pt x="7340" y="3333"/>
                      </a:lnTo>
                      <a:cubicBezTo>
                        <a:pt x="7432" y="3142"/>
                        <a:pt x="7523" y="2948"/>
                        <a:pt x="7616" y="2757"/>
                      </a:cubicBezTo>
                      <a:lnTo>
                        <a:pt x="7890" y="2180"/>
                      </a:lnTo>
                      <a:lnTo>
                        <a:pt x="7890" y="2180"/>
                      </a:lnTo>
                      <a:cubicBezTo>
                        <a:pt x="7860" y="2030"/>
                        <a:pt x="7828" y="1881"/>
                        <a:pt x="7798" y="1731"/>
                      </a:cubicBezTo>
                      <a:cubicBezTo>
                        <a:pt x="7738" y="1581"/>
                        <a:pt x="7676" y="1431"/>
                        <a:pt x="7616" y="1282"/>
                      </a:cubicBezTo>
                      <a:cubicBezTo>
                        <a:pt x="7553" y="1154"/>
                        <a:pt x="7493" y="1026"/>
                        <a:pt x="7431" y="898"/>
                      </a:cubicBezTo>
                      <a:lnTo>
                        <a:pt x="7064" y="578"/>
                      </a:lnTo>
                      <a:lnTo>
                        <a:pt x="6698" y="321"/>
                      </a:lnTo>
                      <a:lnTo>
                        <a:pt x="6239" y="192"/>
                      </a:lnTo>
                      <a:lnTo>
                        <a:pt x="5780" y="0"/>
                      </a:lnTo>
                      <a:lnTo>
                        <a:pt x="5229" y="0"/>
                      </a:lnTo>
                      <a:lnTo>
                        <a:pt x="5229" y="0"/>
                      </a:lnTo>
                      <a:lnTo>
                        <a:pt x="4770" y="0"/>
                      </a:lnTo>
                      <a:lnTo>
                        <a:pt x="4313" y="192"/>
                      </a:lnTo>
                      <a:lnTo>
                        <a:pt x="3853" y="321"/>
                      </a:lnTo>
                      <a:lnTo>
                        <a:pt x="3395" y="578"/>
                      </a:lnTo>
                      <a:lnTo>
                        <a:pt x="3118" y="898"/>
                      </a:lnTo>
                      <a:lnTo>
                        <a:pt x="2844" y="1282"/>
                      </a:lnTo>
                      <a:cubicBezTo>
                        <a:pt x="2784" y="1431"/>
                        <a:pt x="2721" y="1581"/>
                        <a:pt x="2661" y="1731"/>
                      </a:cubicBezTo>
                      <a:lnTo>
                        <a:pt x="2661" y="2180"/>
                      </a:lnTo>
                      <a:lnTo>
                        <a:pt x="2661" y="2180"/>
                      </a:lnTo>
                      <a:cubicBezTo>
                        <a:pt x="2691" y="2372"/>
                        <a:pt x="2722" y="2564"/>
                        <a:pt x="2752" y="2757"/>
                      </a:cubicBezTo>
                      <a:lnTo>
                        <a:pt x="3118" y="3333"/>
                      </a:lnTo>
                      <a:lnTo>
                        <a:pt x="3578" y="3847"/>
                      </a:lnTo>
                      <a:lnTo>
                        <a:pt x="4037" y="4230"/>
                      </a:lnTo>
                      <a:lnTo>
                        <a:pt x="4037" y="4230"/>
                      </a:lnTo>
                      <a:lnTo>
                        <a:pt x="3028" y="4551"/>
                      </a:lnTo>
                      <a:lnTo>
                        <a:pt x="2202" y="4937"/>
                      </a:lnTo>
                      <a:lnTo>
                        <a:pt x="1468" y="5513"/>
                      </a:lnTo>
                      <a:lnTo>
                        <a:pt x="917" y="6281"/>
                      </a:lnTo>
                      <a:lnTo>
                        <a:pt x="459" y="7050"/>
                      </a:lnTo>
                      <a:lnTo>
                        <a:pt x="183" y="7949"/>
                      </a:lnTo>
                      <a:lnTo>
                        <a:pt x="0" y="8911"/>
                      </a:lnTo>
                      <a:lnTo>
                        <a:pt x="0" y="10000"/>
                      </a:lnTo>
                    </a:path>
                  </a:pathLst>
                </a:custGeom>
                <a:noFill/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>
                    <a:defRPr/>
                  </a:pPr>
                  <a:endParaRPr lang="en-US" sz="1800">
                    <a:solidFill>
                      <a:srgbClr val="263147"/>
                    </a:solidFill>
                    <a:cs typeface="Arial" charset="0"/>
                  </a:endParaRPr>
                </a:p>
              </p:txBody>
            </p:sp>
            <p:cxnSp>
              <p:nvCxnSpPr>
                <p:cNvPr id="25" name="Connecteur droit 325"/>
                <p:cNvCxnSpPr/>
                <p:nvPr/>
              </p:nvCxnSpPr>
              <p:spPr>
                <a:xfrm flipV="1">
                  <a:off x="4476193" y="4957472"/>
                  <a:ext cx="87297" cy="4115"/>
                </a:xfrm>
                <a:prstGeom prst="line">
                  <a:avLst/>
                </a:prstGeom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9" name="Groupe 32"/>
            <p:cNvGrpSpPr>
              <a:grpSpLocks/>
            </p:cNvGrpSpPr>
            <p:nvPr userDrawn="1"/>
          </p:nvGrpSpPr>
          <p:grpSpPr bwMode="auto">
            <a:xfrm>
              <a:off x="8691235" y="2740981"/>
              <a:ext cx="389203" cy="362534"/>
              <a:chOff x="4999013" y="3508177"/>
              <a:chExt cx="228601" cy="217487"/>
            </a:xfrm>
          </p:grpSpPr>
          <p:sp>
            <p:nvSpPr>
              <p:cNvPr id="16" name="Freeform 213"/>
              <p:cNvSpPr>
                <a:spLocks/>
              </p:cNvSpPr>
              <p:nvPr/>
            </p:nvSpPr>
            <p:spPr bwMode="auto">
              <a:xfrm>
                <a:off x="4999361" y="3508591"/>
                <a:ext cx="85862" cy="83804"/>
              </a:xfrm>
              <a:custGeom>
                <a:avLst/>
                <a:gdLst/>
                <a:ahLst/>
                <a:cxnLst>
                  <a:cxn ang="0">
                    <a:pos x="54" y="42"/>
                  </a:cxn>
                  <a:cxn ang="0">
                    <a:pos x="54" y="42"/>
                  </a:cxn>
                  <a:cxn ang="0">
                    <a:pos x="54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2" y="53"/>
                  </a:cxn>
                  <a:cxn ang="0">
                    <a:pos x="12" y="53"/>
                  </a:cxn>
                  <a:cxn ang="0">
                    <a:pos x="7" y="53"/>
                  </a:cxn>
                  <a:cxn ang="0">
                    <a:pos x="3" y="51"/>
                  </a:cxn>
                  <a:cxn ang="0">
                    <a:pos x="0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7"/>
                  </a:cxn>
                  <a:cxn ang="0">
                    <a:pos x="3" y="3"/>
                  </a:cxn>
                  <a:cxn ang="0">
                    <a:pos x="7" y="0"/>
                  </a:cxn>
                  <a:cxn ang="0">
                    <a:pos x="12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4" y="7"/>
                  </a:cxn>
                  <a:cxn ang="0">
                    <a:pos x="54" y="12"/>
                  </a:cxn>
                  <a:cxn ang="0">
                    <a:pos x="54" y="42"/>
                  </a:cxn>
                </a:cxnLst>
                <a:rect l="0" t="0" r="r" b="b"/>
                <a:pathLst>
                  <a:path w="54" h="53">
                    <a:moveTo>
                      <a:pt x="54" y="42"/>
                    </a:moveTo>
                    <a:lnTo>
                      <a:pt x="54" y="42"/>
                    </a:lnTo>
                    <a:lnTo>
                      <a:pt x="54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2" y="53"/>
                    </a:lnTo>
                    <a:lnTo>
                      <a:pt x="12" y="53"/>
                    </a:lnTo>
                    <a:lnTo>
                      <a:pt x="7" y="53"/>
                    </a:lnTo>
                    <a:lnTo>
                      <a:pt x="3" y="51"/>
                    </a:lnTo>
                    <a:lnTo>
                      <a:pt x="0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7" y="0"/>
                    </a:lnTo>
                    <a:lnTo>
                      <a:pt x="1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4" y="7"/>
                    </a:lnTo>
                    <a:lnTo>
                      <a:pt x="54" y="12"/>
                    </a:lnTo>
                    <a:lnTo>
                      <a:pt x="54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7" name="Freeform 214"/>
              <p:cNvSpPr>
                <a:spLocks/>
              </p:cNvSpPr>
              <p:nvPr/>
            </p:nvSpPr>
            <p:spPr bwMode="auto">
              <a:xfrm>
                <a:off x="5139770" y="3508591"/>
                <a:ext cx="87881" cy="83804"/>
              </a:xfrm>
              <a:custGeom>
                <a:avLst/>
                <a:gdLst/>
                <a:ahLst/>
                <a:cxnLst>
                  <a:cxn ang="0">
                    <a:pos x="55" y="42"/>
                  </a:cxn>
                  <a:cxn ang="0">
                    <a:pos x="55" y="42"/>
                  </a:cxn>
                  <a:cxn ang="0">
                    <a:pos x="53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1" y="53"/>
                  </a:cxn>
                  <a:cxn ang="0">
                    <a:pos x="11" y="53"/>
                  </a:cxn>
                  <a:cxn ang="0">
                    <a:pos x="8" y="53"/>
                  </a:cxn>
                  <a:cxn ang="0">
                    <a:pos x="4" y="51"/>
                  </a:cxn>
                  <a:cxn ang="0">
                    <a:pos x="1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4" y="3"/>
                  </a:cxn>
                  <a:cxn ang="0">
                    <a:pos x="8" y="0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3" y="7"/>
                  </a:cxn>
                  <a:cxn ang="0">
                    <a:pos x="55" y="12"/>
                  </a:cxn>
                  <a:cxn ang="0">
                    <a:pos x="55" y="42"/>
                  </a:cxn>
                </a:cxnLst>
                <a:rect l="0" t="0" r="r" b="b"/>
                <a:pathLst>
                  <a:path w="55" h="53">
                    <a:moveTo>
                      <a:pt x="55" y="42"/>
                    </a:moveTo>
                    <a:lnTo>
                      <a:pt x="55" y="42"/>
                    </a:lnTo>
                    <a:lnTo>
                      <a:pt x="53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1" y="53"/>
                    </a:lnTo>
                    <a:lnTo>
                      <a:pt x="11" y="53"/>
                    </a:lnTo>
                    <a:lnTo>
                      <a:pt x="8" y="53"/>
                    </a:lnTo>
                    <a:lnTo>
                      <a:pt x="4" y="51"/>
                    </a:lnTo>
                    <a:lnTo>
                      <a:pt x="1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4" y="3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3" y="7"/>
                    </a:lnTo>
                    <a:lnTo>
                      <a:pt x="55" y="12"/>
                    </a:lnTo>
                    <a:lnTo>
                      <a:pt x="55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8" name="Freeform 215"/>
              <p:cNvSpPr>
                <a:spLocks/>
              </p:cNvSpPr>
              <p:nvPr/>
            </p:nvSpPr>
            <p:spPr bwMode="auto">
              <a:xfrm>
                <a:off x="5071081" y="3640011"/>
                <a:ext cx="84851" cy="85709"/>
              </a:xfrm>
              <a:custGeom>
                <a:avLst/>
                <a:gdLst/>
                <a:ahLst/>
                <a:cxnLst>
                  <a:cxn ang="0">
                    <a:pos x="36" y="54"/>
                  </a:cxn>
                  <a:cxn ang="0">
                    <a:pos x="29" y="54"/>
                  </a:cxn>
                  <a:cxn ang="0">
                    <a:pos x="11" y="54"/>
                  </a:cxn>
                  <a:cxn ang="0">
                    <a:pos x="11" y="54"/>
                  </a:cxn>
                  <a:cxn ang="0">
                    <a:pos x="7" y="53"/>
                  </a:cxn>
                  <a:cxn ang="0">
                    <a:pos x="3" y="50"/>
                  </a:cxn>
                  <a:cxn ang="0">
                    <a:pos x="1" y="46"/>
                  </a:cxn>
                  <a:cxn ang="0">
                    <a:pos x="0" y="43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3" y="3"/>
                  </a:cxn>
                  <a:cxn ang="0">
                    <a:pos x="7" y="1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1"/>
                  </a:cxn>
                  <a:cxn ang="0">
                    <a:pos x="50" y="3"/>
                  </a:cxn>
                  <a:cxn ang="0">
                    <a:pos x="53" y="7"/>
                  </a:cxn>
                  <a:cxn ang="0">
                    <a:pos x="54" y="12"/>
                  </a:cxn>
                  <a:cxn ang="0">
                    <a:pos x="54" y="43"/>
                  </a:cxn>
                </a:cxnLst>
                <a:rect l="0" t="0" r="r" b="b"/>
                <a:pathLst>
                  <a:path w="54" h="54">
                    <a:moveTo>
                      <a:pt x="36" y="54"/>
                    </a:moveTo>
                    <a:lnTo>
                      <a:pt x="29" y="54"/>
                    </a:lnTo>
                    <a:lnTo>
                      <a:pt x="11" y="54"/>
                    </a:lnTo>
                    <a:lnTo>
                      <a:pt x="11" y="54"/>
                    </a:lnTo>
                    <a:lnTo>
                      <a:pt x="7" y="53"/>
                    </a:lnTo>
                    <a:lnTo>
                      <a:pt x="3" y="50"/>
                    </a:lnTo>
                    <a:lnTo>
                      <a:pt x="1" y="46"/>
                    </a:lnTo>
                    <a:lnTo>
                      <a:pt x="0" y="43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3" y="3"/>
                    </a:lnTo>
                    <a:lnTo>
                      <a:pt x="7" y="1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1"/>
                    </a:lnTo>
                    <a:lnTo>
                      <a:pt x="50" y="3"/>
                    </a:lnTo>
                    <a:lnTo>
                      <a:pt x="53" y="7"/>
                    </a:lnTo>
                    <a:lnTo>
                      <a:pt x="54" y="12"/>
                    </a:lnTo>
                    <a:lnTo>
                      <a:pt x="54" y="43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9" name="Freeform 216"/>
              <p:cNvSpPr>
                <a:spLocks/>
              </p:cNvSpPr>
              <p:nvPr/>
            </p:nvSpPr>
            <p:spPr bwMode="auto">
              <a:xfrm>
                <a:off x="5037746" y="3596204"/>
                <a:ext cx="148490" cy="17142"/>
              </a:xfrm>
              <a:custGeom>
                <a:avLst/>
                <a:gdLst/>
                <a:ahLst/>
                <a:cxnLst>
                  <a:cxn ang="0">
                    <a:pos x="94" y="0"/>
                  </a:cxn>
                  <a:cxn ang="0">
                    <a:pos x="94" y="0"/>
                  </a:cxn>
                  <a:cxn ang="0">
                    <a:pos x="94" y="5"/>
                  </a:cxn>
                  <a:cxn ang="0">
                    <a:pos x="92" y="9"/>
                  </a:cxn>
                  <a:cxn ang="0">
                    <a:pos x="88" y="10"/>
                  </a:cxn>
                  <a:cxn ang="0">
                    <a:pos x="83" y="11"/>
                  </a:cxn>
                  <a:cxn ang="0">
                    <a:pos x="47" y="11"/>
                  </a:cxn>
                  <a:cxn ang="0">
                    <a:pos x="12" y="11"/>
                  </a:cxn>
                  <a:cxn ang="0">
                    <a:pos x="12" y="11"/>
                  </a:cxn>
                  <a:cxn ang="0">
                    <a:pos x="8" y="10"/>
                  </a:cxn>
                  <a:cxn ang="0">
                    <a:pos x="4" y="9"/>
                  </a:cxn>
                  <a:cxn ang="0">
                    <a:pos x="2" y="5"/>
                  </a:cxn>
                  <a:cxn ang="0">
                    <a:pos x="0" y="0"/>
                  </a:cxn>
                </a:cxnLst>
                <a:rect l="0" t="0" r="r" b="b"/>
                <a:pathLst>
                  <a:path w="94" h="11">
                    <a:moveTo>
                      <a:pt x="94" y="0"/>
                    </a:moveTo>
                    <a:lnTo>
                      <a:pt x="94" y="0"/>
                    </a:lnTo>
                    <a:lnTo>
                      <a:pt x="94" y="5"/>
                    </a:lnTo>
                    <a:lnTo>
                      <a:pt x="92" y="9"/>
                    </a:lnTo>
                    <a:lnTo>
                      <a:pt x="88" y="10"/>
                    </a:lnTo>
                    <a:lnTo>
                      <a:pt x="83" y="11"/>
                    </a:lnTo>
                    <a:lnTo>
                      <a:pt x="47" y="11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8" y="10"/>
                    </a:lnTo>
                    <a:lnTo>
                      <a:pt x="4" y="9"/>
                    </a:lnTo>
                    <a:lnTo>
                      <a:pt x="2" y="5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0" name="Line 217"/>
              <p:cNvSpPr>
                <a:spLocks noChangeShapeType="1"/>
              </p:cNvSpPr>
              <p:nvPr/>
            </p:nvSpPr>
            <p:spPr bwMode="auto">
              <a:xfrm flipV="1">
                <a:off x="5112496" y="3613346"/>
                <a:ext cx="2020" cy="26665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10" name="Groupe 281"/>
            <p:cNvGrpSpPr>
              <a:grpSpLocks/>
            </p:cNvGrpSpPr>
            <p:nvPr userDrawn="1"/>
          </p:nvGrpSpPr>
          <p:grpSpPr bwMode="auto">
            <a:xfrm>
              <a:off x="5543115" y="3570780"/>
              <a:ext cx="562532" cy="335672"/>
              <a:chOff x="3909988" y="7116564"/>
              <a:chExt cx="268288" cy="163512"/>
            </a:xfrm>
          </p:grpSpPr>
          <p:sp>
            <p:nvSpPr>
              <p:cNvPr id="12" name="Line 326"/>
              <p:cNvSpPr>
                <a:spLocks noChangeShapeType="1"/>
              </p:cNvSpPr>
              <p:nvPr/>
            </p:nvSpPr>
            <p:spPr bwMode="auto">
              <a:xfrm>
                <a:off x="3909880" y="7120976"/>
                <a:ext cx="1640" cy="1577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3" name="Line 327"/>
              <p:cNvSpPr>
                <a:spLocks noChangeShapeType="1"/>
              </p:cNvSpPr>
              <p:nvPr/>
            </p:nvSpPr>
            <p:spPr bwMode="auto">
              <a:xfrm>
                <a:off x="3911520" y="7278723"/>
                <a:ext cx="266571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4" name="Freeform 328"/>
              <p:cNvSpPr>
                <a:spLocks/>
              </p:cNvSpPr>
              <p:nvPr/>
            </p:nvSpPr>
            <p:spPr bwMode="auto">
              <a:xfrm>
                <a:off x="3936127" y="7143401"/>
                <a:ext cx="179628" cy="115991"/>
              </a:xfrm>
              <a:custGeom>
                <a:avLst/>
                <a:gdLst/>
                <a:ahLst/>
                <a:cxnLst>
                  <a:cxn ang="0">
                    <a:pos x="0" y="73"/>
                  </a:cxn>
                  <a:cxn ang="0">
                    <a:pos x="34" y="39"/>
                  </a:cxn>
                  <a:cxn ang="0">
                    <a:pos x="55" y="59"/>
                  </a:cxn>
                  <a:cxn ang="0">
                    <a:pos x="114" y="0"/>
                  </a:cxn>
                </a:cxnLst>
                <a:rect l="0" t="0" r="r" b="b"/>
                <a:pathLst>
                  <a:path w="114" h="73">
                    <a:moveTo>
                      <a:pt x="0" y="73"/>
                    </a:moveTo>
                    <a:lnTo>
                      <a:pt x="34" y="39"/>
                    </a:lnTo>
                    <a:lnTo>
                      <a:pt x="55" y="59"/>
                    </a:lnTo>
                    <a:lnTo>
                      <a:pt x="114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5" name="Freeform 329"/>
              <p:cNvSpPr>
                <a:spLocks/>
              </p:cNvSpPr>
              <p:nvPr/>
            </p:nvSpPr>
            <p:spPr bwMode="auto">
              <a:xfrm>
                <a:off x="4087867" y="7116337"/>
                <a:ext cx="50854" cy="556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2" y="0"/>
                  </a:cxn>
                  <a:cxn ang="0">
                    <a:pos x="32" y="35"/>
                  </a:cxn>
                </a:cxnLst>
                <a:rect l="0" t="0" r="r" b="b"/>
                <a:pathLst>
                  <a:path w="32" h="35">
                    <a:moveTo>
                      <a:pt x="0" y="0"/>
                    </a:moveTo>
                    <a:lnTo>
                      <a:pt x="32" y="0"/>
                    </a:lnTo>
                    <a:lnTo>
                      <a:pt x="32" y="3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sp>
          <p:nvSpPr>
            <p:cNvPr id="11" name="Freeform 72"/>
            <p:cNvSpPr>
              <a:spLocks/>
            </p:cNvSpPr>
            <p:nvPr userDrawn="1"/>
          </p:nvSpPr>
          <p:spPr bwMode="auto">
            <a:xfrm>
              <a:off x="2579688" y="3656035"/>
              <a:ext cx="581290" cy="349236"/>
            </a:xfrm>
            <a:custGeom>
              <a:avLst/>
              <a:gdLst/>
              <a:ahLst/>
              <a:cxnLst>
                <a:cxn ang="0">
                  <a:pos x="180" y="132"/>
                </a:cxn>
                <a:cxn ang="0">
                  <a:pos x="193" y="129"/>
                </a:cxn>
                <a:cxn ang="0">
                  <a:pos x="204" y="121"/>
                </a:cxn>
                <a:cxn ang="0">
                  <a:pos x="212" y="110"/>
                </a:cxn>
                <a:cxn ang="0">
                  <a:pos x="215" y="97"/>
                </a:cxn>
                <a:cxn ang="0">
                  <a:pos x="215" y="90"/>
                </a:cxn>
                <a:cxn ang="0">
                  <a:pos x="208" y="77"/>
                </a:cxn>
                <a:cxn ang="0">
                  <a:pos x="199" y="68"/>
                </a:cxn>
                <a:cxn ang="0">
                  <a:pos x="187" y="63"/>
                </a:cxn>
                <a:cxn ang="0">
                  <a:pos x="180" y="62"/>
                </a:cxn>
                <a:cxn ang="0">
                  <a:pos x="179" y="62"/>
                </a:cxn>
                <a:cxn ang="0">
                  <a:pos x="179" y="61"/>
                </a:cxn>
                <a:cxn ang="0">
                  <a:pos x="174" y="36"/>
                </a:cxn>
                <a:cxn ang="0">
                  <a:pos x="161" y="17"/>
                </a:cxn>
                <a:cxn ang="0">
                  <a:pos x="142" y="5"/>
                </a:cxn>
                <a:cxn ang="0">
                  <a:pos x="120" y="0"/>
                </a:cxn>
                <a:cxn ang="0">
                  <a:pos x="109" y="1"/>
                </a:cxn>
                <a:cxn ang="0">
                  <a:pos x="92" y="6"/>
                </a:cxn>
                <a:cxn ang="0">
                  <a:pos x="78" y="17"/>
                </a:cxn>
                <a:cxn ang="0">
                  <a:pos x="66" y="31"/>
                </a:cxn>
                <a:cxn ang="0">
                  <a:pos x="62" y="39"/>
                </a:cxn>
                <a:cxn ang="0">
                  <a:pos x="47" y="36"/>
                </a:cxn>
                <a:cxn ang="0">
                  <a:pos x="38" y="38"/>
                </a:cxn>
                <a:cxn ang="0">
                  <a:pos x="21" y="45"/>
                </a:cxn>
                <a:cxn ang="0">
                  <a:pos x="8" y="58"/>
                </a:cxn>
                <a:cxn ang="0">
                  <a:pos x="2" y="75"/>
                </a:cxn>
                <a:cxn ang="0">
                  <a:pos x="0" y="85"/>
                </a:cxn>
                <a:cxn ang="0">
                  <a:pos x="4" y="102"/>
                </a:cxn>
                <a:cxn ang="0">
                  <a:pos x="14" y="118"/>
                </a:cxn>
                <a:cxn ang="0">
                  <a:pos x="30" y="128"/>
                </a:cxn>
                <a:cxn ang="0">
                  <a:pos x="47" y="132"/>
                </a:cxn>
                <a:cxn ang="0">
                  <a:pos x="147" y="132"/>
                </a:cxn>
              </a:cxnLst>
              <a:rect l="0" t="0" r="r" b="b"/>
              <a:pathLst>
                <a:path w="215" h="132">
                  <a:moveTo>
                    <a:pt x="180" y="132"/>
                  </a:moveTo>
                  <a:lnTo>
                    <a:pt x="180" y="132"/>
                  </a:lnTo>
                  <a:lnTo>
                    <a:pt x="187" y="132"/>
                  </a:lnTo>
                  <a:lnTo>
                    <a:pt x="193" y="129"/>
                  </a:lnTo>
                  <a:lnTo>
                    <a:pt x="199" y="125"/>
                  </a:lnTo>
                  <a:lnTo>
                    <a:pt x="204" y="121"/>
                  </a:lnTo>
                  <a:lnTo>
                    <a:pt x="208" y="116"/>
                  </a:lnTo>
                  <a:lnTo>
                    <a:pt x="212" y="110"/>
                  </a:lnTo>
                  <a:lnTo>
                    <a:pt x="215" y="104"/>
                  </a:lnTo>
                  <a:lnTo>
                    <a:pt x="215" y="97"/>
                  </a:lnTo>
                  <a:lnTo>
                    <a:pt x="215" y="97"/>
                  </a:lnTo>
                  <a:lnTo>
                    <a:pt x="215" y="90"/>
                  </a:lnTo>
                  <a:lnTo>
                    <a:pt x="212" y="83"/>
                  </a:lnTo>
                  <a:lnTo>
                    <a:pt x="208" y="77"/>
                  </a:lnTo>
                  <a:lnTo>
                    <a:pt x="204" y="72"/>
                  </a:lnTo>
                  <a:lnTo>
                    <a:pt x="199" y="68"/>
                  </a:lnTo>
                  <a:lnTo>
                    <a:pt x="193" y="64"/>
                  </a:lnTo>
                  <a:lnTo>
                    <a:pt x="187" y="63"/>
                  </a:lnTo>
                  <a:lnTo>
                    <a:pt x="180" y="62"/>
                  </a:lnTo>
                  <a:lnTo>
                    <a:pt x="180" y="62"/>
                  </a:lnTo>
                  <a:lnTo>
                    <a:pt x="179" y="62"/>
                  </a:lnTo>
                  <a:lnTo>
                    <a:pt x="179" y="62"/>
                  </a:lnTo>
                  <a:lnTo>
                    <a:pt x="179" y="61"/>
                  </a:lnTo>
                  <a:lnTo>
                    <a:pt x="179" y="61"/>
                  </a:lnTo>
                  <a:lnTo>
                    <a:pt x="178" y="48"/>
                  </a:lnTo>
                  <a:lnTo>
                    <a:pt x="174" y="36"/>
                  </a:lnTo>
                  <a:lnTo>
                    <a:pt x="169" y="26"/>
                  </a:lnTo>
                  <a:lnTo>
                    <a:pt x="161" y="17"/>
                  </a:lnTo>
                  <a:lnTo>
                    <a:pt x="152" y="10"/>
                  </a:lnTo>
                  <a:lnTo>
                    <a:pt x="142" y="5"/>
                  </a:lnTo>
                  <a:lnTo>
                    <a:pt x="131" y="1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09" y="1"/>
                  </a:lnTo>
                  <a:lnTo>
                    <a:pt x="101" y="2"/>
                  </a:lnTo>
                  <a:lnTo>
                    <a:pt x="92" y="6"/>
                  </a:lnTo>
                  <a:lnTo>
                    <a:pt x="84" y="11"/>
                  </a:lnTo>
                  <a:lnTo>
                    <a:pt x="78" y="17"/>
                  </a:lnTo>
                  <a:lnTo>
                    <a:pt x="71" y="24"/>
                  </a:lnTo>
                  <a:lnTo>
                    <a:pt x="66" y="31"/>
                  </a:lnTo>
                  <a:lnTo>
                    <a:pt x="62" y="39"/>
                  </a:lnTo>
                  <a:lnTo>
                    <a:pt x="62" y="39"/>
                  </a:lnTo>
                  <a:lnTo>
                    <a:pt x="55" y="38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38" y="38"/>
                  </a:lnTo>
                  <a:lnTo>
                    <a:pt x="30" y="40"/>
                  </a:lnTo>
                  <a:lnTo>
                    <a:pt x="21" y="45"/>
                  </a:lnTo>
                  <a:lnTo>
                    <a:pt x="14" y="50"/>
                  </a:lnTo>
                  <a:lnTo>
                    <a:pt x="8" y="58"/>
                  </a:lnTo>
                  <a:lnTo>
                    <a:pt x="4" y="66"/>
                  </a:lnTo>
                  <a:lnTo>
                    <a:pt x="2" y="7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2" y="94"/>
                  </a:lnTo>
                  <a:lnTo>
                    <a:pt x="4" y="102"/>
                  </a:lnTo>
                  <a:lnTo>
                    <a:pt x="8" y="111"/>
                  </a:lnTo>
                  <a:lnTo>
                    <a:pt x="14" y="118"/>
                  </a:lnTo>
                  <a:lnTo>
                    <a:pt x="21" y="124"/>
                  </a:lnTo>
                  <a:lnTo>
                    <a:pt x="30" y="128"/>
                  </a:lnTo>
                  <a:lnTo>
                    <a:pt x="38" y="130"/>
                  </a:lnTo>
                  <a:lnTo>
                    <a:pt x="47" y="132"/>
                  </a:lnTo>
                  <a:lnTo>
                    <a:pt x="47" y="132"/>
                  </a:lnTo>
                  <a:lnTo>
                    <a:pt x="147" y="132"/>
                  </a:lnTo>
                </a:path>
              </a:pathLst>
            </a:custGeom>
            <a:noFill/>
            <a:ln w="1905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lIns="83969" tIns="41985" rIns="83969" bIns="41985"/>
            <a:lstStyle/>
            <a:p>
              <a:pPr defTabSz="914400">
                <a:defRPr/>
              </a:pPr>
              <a:endParaRPr lang="en-US" sz="1800">
                <a:solidFill>
                  <a:srgbClr val="263147"/>
                </a:solidFill>
                <a:cs typeface="Arial" charset="0"/>
              </a:endParaRPr>
            </a:p>
          </p:txBody>
        </p:sp>
      </p:grpSp>
      <p:graphicFrame>
        <p:nvGraphicFramePr>
          <p:cNvPr id="42" name="Object 2" hidden="1"/>
          <p:cNvGraphicFramePr>
            <a:graphicFrameLocks noChangeAspect="1"/>
          </p:cNvGraphicFramePr>
          <p:nvPr/>
        </p:nvGraphicFramePr>
        <p:xfrm>
          <a:off x="0" y="0"/>
          <a:ext cx="158222" cy="158750"/>
        </p:xfrm>
        <a:graphic>
          <a:graphicData uri="http://schemas.openxmlformats.org/presentationml/2006/ole">
            <p:oleObj spid="_x0000_s562179" name="think-cell Slide" r:id="rId6" imgW="360" imgH="360" progId="">
              <p:embed/>
            </p:oleObj>
          </a:graphicData>
        </a:graphic>
      </p:graphicFrame>
      <p:sp>
        <p:nvSpPr>
          <p:cNvPr id="43" name="Rectangle 7"/>
          <p:cNvSpPr/>
          <p:nvPr>
            <p:custDataLst>
              <p:tags r:id="rId2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xmlns="" val="4143894643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6679" name="Picture 7" descr="Isis-Mobile-Wallet"/>
          <p:cNvPicPr>
            <a:picLocks noChangeAspect="1" noChangeArrowheads="1"/>
          </p:cNvPicPr>
          <p:nvPr userDrawn="1"/>
        </p:nvPicPr>
        <p:blipFill>
          <a:blip r:embed="rId4" cstate="print"/>
          <a:srcRect r="27500"/>
          <a:stretch>
            <a:fillRect/>
          </a:stretch>
        </p:blipFill>
        <p:spPr bwMode="auto">
          <a:xfrm>
            <a:off x="0" y="0"/>
            <a:ext cx="9906000" cy="49530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222" cy="158750"/>
        </p:xfrm>
        <a:graphic>
          <a:graphicData uri="http://schemas.openxmlformats.org/presentationml/2006/ole">
            <p:oleObj spid="_x0000_s563202" name="think-cell Slide" r:id="rId5" imgW="360" imgH="360" progId="">
              <p:embed/>
            </p:oleObj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/>
        </p:nvGraphicFramePr>
        <p:xfrm>
          <a:off x="0" y="0"/>
          <a:ext cx="158222" cy="158750"/>
        </p:xfrm>
        <a:graphic>
          <a:graphicData uri="http://schemas.openxmlformats.org/presentationml/2006/ole">
            <p:oleObj spid="_x0000_s563203" name="think-cell Slide" r:id="rId6" imgW="360" imgH="360" progId="">
              <p:embed/>
            </p:oleObj>
          </a:graphicData>
        </a:graphic>
      </p:graphicFrame>
      <p:sp>
        <p:nvSpPr>
          <p:cNvPr id="43" name="Rectangle 7"/>
          <p:cNvSpPr/>
          <p:nvPr>
            <p:custDataLst>
              <p:tags r:id="rId2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xmlns="" val="41438946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8.-Products-and-technology_ps.jpg"/>
          <p:cNvPicPr>
            <a:picLocks noChangeAspect="1"/>
          </p:cNvPicPr>
          <p:nvPr userDrawn="1"/>
        </p:nvPicPr>
        <p:blipFill>
          <a:blip r:embed="rId2" cstate="print"/>
          <a:srcRect b="9852"/>
          <a:stretch>
            <a:fillRect/>
          </a:stretch>
        </p:blipFill>
        <p:spPr>
          <a:xfrm>
            <a:off x="0" y="476672"/>
            <a:ext cx="9906000" cy="6381328"/>
          </a:xfrm>
          <a:prstGeom prst="rect">
            <a:avLst/>
          </a:prstGeom>
        </p:spPr>
      </p:pic>
      <p:pic>
        <p:nvPicPr>
          <p:cNvPr id="10" name="Picture 9" descr="Header_Title Slide_PPT Template_3.png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0" y="1"/>
            <a:ext cx="9906000" cy="2516697"/>
          </a:xfrm>
          <a:prstGeom prst="rect">
            <a:avLst/>
          </a:prstGeom>
        </p:spPr>
      </p:pic>
      <p:pic>
        <p:nvPicPr>
          <p:cNvPr id="20" name="Picture 19" descr="Header_PPT Template.png"/>
          <p:cNvPicPr>
            <a:picLocks noChangeAspect="1"/>
          </p:cNvPicPr>
          <p:nvPr userDrawn="1"/>
        </p:nvPicPr>
        <p:blipFill>
          <a:blip r:embed="rId4" cstate="screen"/>
          <a:stretch>
            <a:fillRect/>
          </a:stretch>
        </p:blipFill>
        <p:spPr>
          <a:xfrm>
            <a:off x="0" y="0"/>
            <a:ext cx="9906000" cy="2516696"/>
          </a:xfrm>
          <a:prstGeom prst="rect">
            <a:avLst/>
          </a:prstGeom>
        </p:spPr>
      </p:pic>
      <p:pic>
        <p:nvPicPr>
          <p:cNvPr id="22" name="Picture 21" descr="capgemini logo.png"/>
          <p:cNvPicPr>
            <a:picLocks noChangeAspect="1"/>
          </p:cNvPicPr>
          <p:nvPr userDrawn="1"/>
        </p:nvPicPr>
        <p:blipFill>
          <a:blip r:embed="rId5" cstate="screen">
            <a:lum bright="100000"/>
          </a:blip>
          <a:stretch>
            <a:fillRect/>
          </a:stretch>
        </p:blipFill>
        <p:spPr>
          <a:xfrm>
            <a:off x="428497" y="625233"/>
            <a:ext cx="2995200" cy="643531"/>
          </a:xfrm>
          <a:prstGeom prst="rect">
            <a:avLst/>
          </a:prstGeom>
        </p:spPr>
      </p:pic>
      <p:pic>
        <p:nvPicPr>
          <p:cNvPr id="24" name="Picture 23" descr="logo.png"/>
          <p:cNvPicPr>
            <a:picLocks noChangeAspect="1"/>
          </p:cNvPicPr>
          <p:nvPr userDrawn="1"/>
        </p:nvPicPr>
        <p:blipFill>
          <a:blip r:embed="rId6" cstate="screen">
            <a:lum bright="100000"/>
          </a:blip>
          <a:stretch>
            <a:fillRect/>
          </a:stretch>
        </p:blipFill>
        <p:spPr>
          <a:xfrm>
            <a:off x="7803234" y="260650"/>
            <a:ext cx="1755000" cy="1223403"/>
          </a:xfrm>
          <a:prstGeom prst="rect">
            <a:avLst/>
          </a:prstGeom>
        </p:spPr>
      </p:pic>
      <p:pic>
        <p:nvPicPr>
          <p:cNvPr id="26" name="Picture 25" descr="Footer_PPT Template_2.png"/>
          <p:cNvPicPr preferRelativeResize="0">
            <a:picLocks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3" name="Image 7" descr="Capgemini_Slogan_RGB.png"/>
          <p:cNvPicPr>
            <a:picLocks noChangeAspect="1"/>
          </p:cNvPicPr>
          <p:nvPr userDrawn="1"/>
        </p:nvPicPr>
        <p:blipFill>
          <a:blip r:embed="rId8" cstate="screen">
            <a:lum bright="100000"/>
          </a:blip>
          <a:stretch>
            <a:fillRect/>
          </a:stretch>
        </p:blipFill>
        <p:spPr>
          <a:xfrm>
            <a:off x="6747199" y="6390282"/>
            <a:ext cx="2925000" cy="279087"/>
          </a:xfrm>
          <a:prstGeom prst="rect">
            <a:avLst/>
          </a:prstGeom>
        </p:spPr>
      </p:pic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742952" y="2636912"/>
            <a:ext cx="5458189" cy="1512168"/>
          </a:xfrm>
        </p:spPr>
        <p:txBody>
          <a:bodyPr anchor="b">
            <a:noAutofit/>
          </a:bodyPr>
          <a:lstStyle>
            <a:lvl1pPr algn="l">
              <a:defRPr sz="4800" b="0" spc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/>
          </p:nvPr>
        </p:nvSpPr>
        <p:spPr>
          <a:xfrm>
            <a:off x="740534" y="4149144"/>
            <a:ext cx="5460607" cy="576000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567298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568322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69346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570370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571394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72418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73442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574466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Header_Content Slide_PPT Template_2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0" y="0"/>
            <a:ext cx="9906000" cy="1677798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600204"/>
            <a:ext cx="8915400" cy="4525963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5" name="Picture 14" descr="Footer_PPT Template_2.png"/>
          <p:cNvPicPr preferRelativeResize="0">
            <a:picLocks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16" name="Picture 15" descr="capgemini logo.png"/>
          <p:cNvPicPr>
            <a:picLocks noChangeAspect="1"/>
          </p:cNvPicPr>
          <p:nvPr userDrawn="1"/>
        </p:nvPicPr>
        <p:blipFill>
          <a:blip r:embed="rId4" cstate="screen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pic>
        <p:nvPicPr>
          <p:cNvPr id="17" name="Picture 16" descr="logo.png"/>
          <p:cNvPicPr>
            <a:picLocks noChangeAspect="1"/>
          </p:cNvPicPr>
          <p:nvPr userDrawn="1"/>
        </p:nvPicPr>
        <p:blipFill>
          <a:blip r:embed="rId5" cstate="screen">
            <a:lum bright="100000"/>
          </a:blip>
          <a:stretch>
            <a:fillRect/>
          </a:stretch>
        </p:blipFill>
        <p:spPr>
          <a:xfrm>
            <a:off x="8547934" y="6237384"/>
            <a:ext cx="929570" cy="64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3" y="6545272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6 </a:t>
            </a:r>
            <a:r>
              <a:rPr lang="en-US" sz="700" dirty="0" err="1" smtClean="0">
                <a:solidFill>
                  <a:prstClr val="white"/>
                </a:solidFill>
                <a:cs typeface="Arial" pitchFamily="34" charset="0"/>
              </a:rPr>
              <a:t>Capgemini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578562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579586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80610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581634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582658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83682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84706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585730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city (5).jpg"/>
          <p:cNvPicPr>
            <a:picLocks noChangeAspect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pic>
        <p:nvPicPr>
          <p:cNvPr id="37" name="Picture 36" descr="Body Whole_White_Content Slide_PPT Template.png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410" y="283"/>
            <a:ext cx="9905182" cy="6857434"/>
          </a:xfrm>
          <a:prstGeom prst="rect">
            <a:avLst/>
          </a:prstGeom>
        </p:spPr>
      </p:pic>
      <p:sp>
        <p:nvSpPr>
          <p:cNvPr id="24" name="Content Placeholder 2"/>
          <p:cNvSpPr>
            <a:spLocks noGrp="1"/>
          </p:cNvSpPr>
          <p:nvPr userDrawn="1">
            <p:ph idx="1"/>
          </p:nvPr>
        </p:nvSpPr>
        <p:spPr>
          <a:xfrm>
            <a:off x="495300" y="1600204"/>
            <a:ext cx="8915400" cy="4525963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29" name="Picture 28" descr="Header_Content Slide_PPT Template_2.png"/>
          <p:cNvPicPr>
            <a:picLocks noChangeAspect="1"/>
          </p:cNvPicPr>
          <p:nvPr userDrawn="1"/>
        </p:nvPicPr>
        <p:blipFill>
          <a:blip r:embed="rId4" cstate="screen"/>
          <a:stretch>
            <a:fillRect/>
          </a:stretch>
        </p:blipFill>
        <p:spPr>
          <a:xfrm>
            <a:off x="0" y="0"/>
            <a:ext cx="9906000" cy="1677798"/>
          </a:xfrm>
          <a:prstGeom prst="rect">
            <a:avLst/>
          </a:prstGeom>
        </p:spPr>
      </p:pic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34" name="Picture 33" descr="Footer_PPT Template_2.png"/>
          <p:cNvPicPr preferRelativeResize="0">
            <a:picLocks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35" name="Picture 34" descr="capgemini logo.png"/>
          <p:cNvPicPr>
            <a:picLocks noChangeAspect="1"/>
          </p:cNvPicPr>
          <p:nvPr userDrawn="1"/>
        </p:nvPicPr>
        <p:blipFill>
          <a:blip r:embed="rId6" cstate="screen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pic>
        <p:nvPicPr>
          <p:cNvPr id="36" name="Picture 35" descr="logo.png"/>
          <p:cNvPicPr>
            <a:picLocks noChangeAspect="1"/>
          </p:cNvPicPr>
          <p:nvPr userDrawn="1"/>
        </p:nvPicPr>
        <p:blipFill>
          <a:blip r:embed="rId7" cstate="screen">
            <a:lum bright="100000"/>
          </a:blip>
          <a:stretch>
            <a:fillRect/>
          </a:stretch>
        </p:blipFill>
        <p:spPr>
          <a:xfrm>
            <a:off x="8547934" y="6237384"/>
            <a:ext cx="929570" cy="64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2543573" y="6545272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6 </a:t>
            </a:r>
            <a:r>
              <a:rPr lang="en-US" sz="700" dirty="0" err="1" smtClean="0">
                <a:solidFill>
                  <a:prstClr val="white"/>
                </a:solidFill>
                <a:cs typeface="Arial" pitchFamily="34" charset="0"/>
              </a:rPr>
              <a:t>Capgemini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222" cy="158750"/>
        </p:xfrm>
        <a:graphic>
          <a:graphicData uri="http://schemas.openxmlformats.org/presentationml/2006/ole">
            <p:oleObj spid="_x0000_s1648642" name="think-cell Slide" r:id="rId4" imgW="360" imgH="360" progId="">
              <p:embed/>
            </p:oleObj>
          </a:graphicData>
        </a:graphic>
      </p:graphicFrame>
      <p:grpSp>
        <p:nvGrpSpPr>
          <p:cNvPr id="4" name="Group 18"/>
          <p:cNvGrpSpPr>
            <a:grpSpLocks/>
          </p:cNvGrpSpPr>
          <p:nvPr/>
        </p:nvGrpSpPr>
        <p:grpSpPr bwMode="auto">
          <a:xfrm>
            <a:off x="0" y="1"/>
            <a:ext cx="9906000" cy="4854575"/>
            <a:chOff x="0" y="1801907"/>
            <a:chExt cx="9906000" cy="4854387"/>
          </a:xfrm>
        </p:grpSpPr>
        <p:pic>
          <p:nvPicPr>
            <p:cNvPr id="5" name="Picture 3" descr="Cover_03.jpg"/>
            <p:cNvPicPr>
              <a:picLocks noChangeAspect="1"/>
            </p:cNvPicPr>
            <p:nvPr userDrawn="1"/>
          </p:nvPicPr>
          <p:blipFill>
            <a:blip r:embed="rId5" cstate="email"/>
            <a:srcRect/>
            <a:stretch>
              <a:fillRect/>
            </a:stretch>
          </p:blipFill>
          <p:spPr bwMode="auto">
            <a:xfrm>
              <a:off x="0" y="1801907"/>
              <a:ext cx="9906000" cy="48543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6" name="Groupe 709"/>
            <p:cNvGrpSpPr>
              <a:grpSpLocks/>
            </p:cNvGrpSpPr>
            <p:nvPr userDrawn="1"/>
          </p:nvGrpSpPr>
          <p:grpSpPr bwMode="auto">
            <a:xfrm>
              <a:off x="8084783" y="2883520"/>
              <a:ext cx="386117" cy="518177"/>
              <a:chOff x="2344714" y="4924226"/>
              <a:chExt cx="184150" cy="252413"/>
            </a:xfrm>
          </p:grpSpPr>
          <p:sp>
            <p:nvSpPr>
              <p:cNvPr id="40" name="Freeform 449"/>
              <p:cNvSpPr>
                <a:spLocks/>
              </p:cNvSpPr>
              <p:nvPr/>
            </p:nvSpPr>
            <p:spPr bwMode="auto">
              <a:xfrm>
                <a:off x="2344694" y="4923950"/>
                <a:ext cx="184548" cy="252859"/>
              </a:xfrm>
              <a:custGeom>
                <a:avLst/>
                <a:gdLst/>
                <a:ahLst/>
                <a:cxnLst>
                  <a:cxn ang="0">
                    <a:pos x="97" y="159"/>
                  </a:cxn>
                  <a:cxn ang="0">
                    <a:pos x="20" y="159"/>
                  </a:cxn>
                  <a:cxn ang="0">
                    <a:pos x="20" y="159"/>
                  </a:cxn>
                  <a:cxn ang="0">
                    <a:pos x="15" y="159"/>
                  </a:cxn>
                  <a:cxn ang="0">
                    <a:pos x="13" y="157"/>
                  </a:cxn>
                  <a:cxn ang="0">
                    <a:pos x="6" y="154"/>
                  </a:cxn>
                  <a:cxn ang="0">
                    <a:pos x="1" y="147"/>
                  </a:cxn>
                  <a:cxn ang="0">
                    <a:pos x="0" y="143"/>
                  </a:cxn>
                  <a:cxn ang="0">
                    <a:pos x="0" y="140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15"/>
                  </a:cxn>
                  <a:cxn ang="0">
                    <a:pos x="1" y="12"/>
                  </a:cxn>
                  <a:cxn ang="0">
                    <a:pos x="6" y="5"/>
                  </a:cxn>
                  <a:cxn ang="0">
                    <a:pos x="13" y="2"/>
                  </a:cxn>
                  <a:cxn ang="0">
                    <a:pos x="15" y="0"/>
                  </a:cxn>
                  <a:cxn ang="0">
                    <a:pos x="20" y="0"/>
                  </a:cxn>
                  <a:cxn ang="0">
                    <a:pos x="97" y="0"/>
                  </a:cxn>
                  <a:cxn ang="0">
                    <a:pos x="97" y="0"/>
                  </a:cxn>
                  <a:cxn ang="0">
                    <a:pos x="101" y="0"/>
                  </a:cxn>
                  <a:cxn ang="0">
                    <a:pos x="105" y="2"/>
                  </a:cxn>
                  <a:cxn ang="0">
                    <a:pos x="111" y="5"/>
                  </a:cxn>
                  <a:cxn ang="0">
                    <a:pos x="115" y="12"/>
                  </a:cxn>
                  <a:cxn ang="0">
                    <a:pos x="116" y="15"/>
                  </a:cxn>
                  <a:cxn ang="0">
                    <a:pos x="116" y="19"/>
                  </a:cxn>
                  <a:cxn ang="0">
                    <a:pos x="116" y="159"/>
                  </a:cxn>
                </a:cxnLst>
                <a:rect l="0" t="0" r="r" b="b"/>
                <a:pathLst>
                  <a:path w="116" h="159">
                    <a:moveTo>
                      <a:pt x="97" y="159"/>
                    </a:moveTo>
                    <a:lnTo>
                      <a:pt x="20" y="159"/>
                    </a:lnTo>
                    <a:lnTo>
                      <a:pt x="20" y="159"/>
                    </a:lnTo>
                    <a:lnTo>
                      <a:pt x="15" y="159"/>
                    </a:lnTo>
                    <a:lnTo>
                      <a:pt x="13" y="157"/>
                    </a:lnTo>
                    <a:lnTo>
                      <a:pt x="6" y="154"/>
                    </a:lnTo>
                    <a:lnTo>
                      <a:pt x="1" y="147"/>
                    </a:lnTo>
                    <a:lnTo>
                      <a:pt x="0" y="143"/>
                    </a:lnTo>
                    <a:lnTo>
                      <a:pt x="0" y="140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5"/>
                    </a:lnTo>
                    <a:lnTo>
                      <a:pt x="1" y="12"/>
                    </a:lnTo>
                    <a:lnTo>
                      <a:pt x="6" y="5"/>
                    </a:lnTo>
                    <a:lnTo>
                      <a:pt x="13" y="2"/>
                    </a:lnTo>
                    <a:lnTo>
                      <a:pt x="15" y="0"/>
                    </a:lnTo>
                    <a:lnTo>
                      <a:pt x="20" y="0"/>
                    </a:lnTo>
                    <a:lnTo>
                      <a:pt x="97" y="0"/>
                    </a:lnTo>
                    <a:lnTo>
                      <a:pt x="97" y="0"/>
                    </a:lnTo>
                    <a:lnTo>
                      <a:pt x="101" y="0"/>
                    </a:lnTo>
                    <a:lnTo>
                      <a:pt x="105" y="2"/>
                    </a:lnTo>
                    <a:lnTo>
                      <a:pt x="111" y="5"/>
                    </a:lnTo>
                    <a:lnTo>
                      <a:pt x="115" y="12"/>
                    </a:lnTo>
                    <a:lnTo>
                      <a:pt x="116" y="15"/>
                    </a:lnTo>
                    <a:lnTo>
                      <a:pt x="116" y="19"/>
                    </a:lnTo>
                    <a:lnTo>
                      <a:pt x="116" y="15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41" name="Freeform 450"/>
              <p:cNvSpPr>
                <a:spLocks/>
              </p:cNvSpPr>
              <p:nvPr/>
            </p:nvSpPr>
            <p:spPr bwMode="auto">
              <a:xfrm>
                <a:off x="2365199" y="4944828"/>
                <a:ext cx="145178" cy="231981"/>
              </a:xfrm>
              <a:custGeom>
                <a:avLst/>
                <a:gdLst/>
                <a:ahLst/>
                <a:cxnLst>
                  <a:cxn ang="0">
                    <a:pos x="32" y="129"/>
                  </a:cxn>
                  <a:cxn ang="0">
                    <a:pos x="32" y="129"/>
                  </a:cxn>
                  <a:cxn ang="0">
                    <a:pos x="34" y="133"/>
                  </a:cxn>
                  <a:cxn ang="0">
                    <a:pos x="35" y="136"/>
                  </a:cxn>
                  <a:cxn ang="0">
                    <a:pos x="39" y="137"/>
                  </a:cxn>
                  <a:cxn ang="0">
                    <a:pos x="41" y="138"/>
                  </a:cxn>
                  <a:cxn ang="0">
                    <a:pos x="41" y="138"/>
                  </a:cxn>
                  <a:cxn ang="0">
                    <a:pos x="45" y="137"/>
                  </a:cxn>
                  <a:cxn ang="0">
                    <a:pos x="48" y="136"/>
                  </a:cxn>
                  <a:cxn ang="0">
                    <a:pos x="49" y="133"/>
                  </a:cxn>
                  <a:cxn ang="0">
                    <a:pos x="50" y="129"/>
                  </a:cxn>
                  <a:cxn ang="0">
                    <a:pos x="50" y="129"/>
                  </a:cxn>
                  <a:cxn ang="0">
                    <a:pos x="49" y="125"/>
                  </a:cxn>
                  <a:cxn ang="0">
                    <a:pos x="48" y="123"/>
                  </a:cxn>
                  <a:cxn ang="0">
                    <a:pos x="45" y="122"/>
                  </a:cxn>
                  <a:cxn ang="0">
                    <a:pos x="41" y="120"/>
                  </a:cxn>
                  <a:cxn ang="0">
                    <a:pos x="7" y="120"/>
                  </a:cxn>
                  <a:cxn ang="0">
                    <a:pos x="7" y="120"/>
                  </a:cxn>
                  <a:cxn ang="0">
                    <a:pos x="5" y="120"/>
                  </a:cxn>
                  <a:cxn ang="0">
                    <a:pos x="2" y="119"/>
                  </a:cxn>
                  <a:cxn ang="0">
                    <a:pos x="1" y="117"/>
                  </a:cxn>
                  <a:cxn ang="0">
                    <a:pos x="0" y="11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1" y="4"/>
                  </a:cxn>
                  <a:cxn ang="0">
                    <a:pos x="2" y="2"/>
                  </a:cxn>
                  <a:cxn ang="0">
                    <a:pos x="5" y="1"/>
                  </a:cxn>
                  <a:cxn ang="0">
                    <a:pos x="7" y="0"/>
                  </a:cxn>
                  <a:cxn ang="0">
                    <a:pos x="84" y="0"/>
                  </a:cxn>
                  <a:cxn ang="0">
                    <a:pos x="84" y="0"/>
                  </a:cxn>
                  <a:cxn ang="0">
                    <a:pos x="87" y="1"/>
                  </a:cxn>
                  <a:cxn ang="0">
                    <a:pos x="88" y="2"/>
                  </a:cxn>
                  <a:cxn ang="0">
                    <a:pos x="89" y="4"/>
                  </a:cxn>
                  <a:cxn ang="0">
                    <a:pos x="91" y="6"/>
                  </a:cxn>
                  <a:cxn ang="0">
                    <a:pos x="91" y="139"/>
                  </a:cxn>
                  <a:cxn ang="0">
                    <a:pos x="91" y="139"/>
                  </a:cxn>
                  <a:cxn ang="0">
                    <a:pos x="89" y="142"/>
                  </a:cxn>
                  <a:cxn ang="0">
                    <a:pos x="88" y="144"/>
                  </a:cxn>
                  <a:cxn ang="0">
                    <a:pos x="87" y="146"/>
                  </a:cxn>
                  <a:cxn ang="0">
                    <a:pos x="84" y="146"/>
                  </a:cxn>
                </a:cxnLst>
                <a:rect l="0" t="0" r="r" b="b"/>
                <a:pathLst>
                  <a:path w="91" h="146">
                    <a:moveTo>
                      <a:pt x="32" y="129"/>
                    </a:moveTo>
                    <a:lnTo>
                      <a:pt x="32" y="129"/>
                    </a:lnTo>
                    <a:lnTo>
                      <a:pt x="34" y="133"/>
                    </a:lnTo>
                    <a:lnTo>
                      <a:pt x="35" y="136"/>
                    </a:lnTo>
                    <a:lnTo>
                      <a:pt x="39" y="137"/>
                    </a:lnTo>
                    <a:lnTo>
                      <a:pt x="41" y="138"/>
                    </a:lnTo>
                    <a:lnTo>
                      <a:pt x="41" y="138"/>
                    </a:lnTo>
                    <a:lnTo>
                      <a:pt x="45" y="137"/>
                    </a:lnTo>
                    <a:lnTo>
                      <a:pt x="48" y="136"/>
                    </a:lnTo>
                    <a:lnTo>
                      <a:pt x="49" y="133"/>
                    </a:lnTo>
                    <a:lnTo>
                      <a:pt x="50" y="129"/>
                    </a:lnTo>
                    <a:lnTo>
                      <a:pt x="50" y="129"/>
                    </a:lnTo>
                    <a:lnTo>
                      <a:pt x="49" y="125"/>
                    </a:lnTo>
                    <a:lnTo>
                      <a:pt x="48" y="123"/>
                    </a:lnTo>
                    <a:lnTo>
                      <a:pt x="45" y="122"/>
                    </a:lnTo>
                    <a:lnTo>
                      <a:pt x="41" y="120"/>
                    </a:lnTo>
                    <a:lnTo>
                      <a:pt x="7" y="120"/>
                    </a:lnTo>
                    <a:lnTo>
                      <a:pt x="7" y="120"/>
                    </a:lnTo>
                    <a:lnTo>
                      <a:pt x="5" y="120"/>
                    </a:lnTo>
                    <a:lnTo>
                      <a:pt x="2" y="119"/>
                    </a:lnTo>
                    <a:lnTo>
                      <a:pt x="1" y="117"/>
                    </a:lnTo>
                    <a:lnTo>
                      <a:pt x="0" y="11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5" y="1"/>
                    </a:lnTo>
                    <a:lnTo>
                      <a:pt x="7" y="0"/>
                    </a:lnTo>
                    <a:lnTo>
                      <a:pt x="84" y="0"/>
                    </a:lnTo>
                    <a:lnTo>
                      <a:pt x="84" y="0"/>
                    </a:lnTo>
                    <a:lnTo>
                      <a:pt x="87" y="1"/>
                    </a:lnTo>
                    <a:lnTo>
                      <a:pt x="88" y="2"/>
                    </a:lnTo>
                    <a:lnTo>
                      <a:pt x="89" y="4"/>
                    </a:lnTo>
                    <a:lnTo>
                      <a:pt x="91" y="6"/>
                    </a:lnTo>
                    <a:lnTo>
                      <a:pt x="91" y="139"/>
                    </a:lnTo>
                    <a:lnTo>
                      <a:pt x="91" y="139"/>
                    </a:lnTo>
                    <a:lnTo>
                      <a:pt x="89" y="142"/>
                    </a:lnTo>
                    <a:lnTo>
                      <a:pt x="88" y="144"/>
                    </a:lnTo>
                    <a:lnTo>
                      <a:pt x="87" y="146"/>
                    </a:lnTo>
                    <a:lnTo>
                      <a:pt x="84" y="146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7" name="Groupe 836"/>
            <p:cNvGrpSpPr>
              <a:grpSpLocks/>
            </p:cNvGrpSpPr>
            <p:nvPr userDrawn="1"/>
          </p:nvGrpSpPr>
          <p:grpSpPr bwMode="auto">
            <a:xfrm>
              <a:off x="6165033" y="2867225"/>
              <a:ext cx="722304" cy="534472"/>
              <a:chOff x="1163614" y="7062589"/>
              <a:chExt cx="344488" cy="260350"/>
            </a:xfrm>
          </p:grpSpPr>
          <p:sp>
            <p:nvSpPr>
              <p:cNvPr id="26" name="Freeform 578"/>
              <p:cNvSpPr>
                <a:spLocks/>
              </p:cNvSpPr>
              <p:nvPr/>
            </p:nvSpPr>
            <p:spPr bwMode="auto">
              <a:xfrm>
                <a:off x="1477958" y="7108914"/>
                <a:ext cx="30348" cy="166252"/>
              </a:xfrm>
              <a:custGeom>
                <a:avLst/>
                <a:gdLst/>
                <a:ahLst/>
                <a:cxnLst>
                  <a:cxn ang="0">
                    <a:pos x="0" y="105"/>
                  </a:cxn>
                  <a:cxn ang="0">
                    <a:pos x="0" y="105"/>
                  </a:cxn>
                  <a:cxn ang="0">
                    <a:pos x="7" y="94"/>
                  </a:cxn>
                  <a:cxn ang="0">
                    <a:pos x="14" y="81"/>
                  </a:cxn>
                  <a:cxn ang="0">
                    <a:pos x="17" y="67"/>
                  </a:cxn>
                  <a:cxn ang="0">
                    <a:pos x="19" y="52"/>
                  </a:cxn>
                  <a:cxn ang="0">
                    <a:pos x="19" y="52"/>
                  </a:cxn>
                  <a:cxn ang="0">
                    <a:pos x="17" y="38"/>
                  </a:cxn>
                  <a:cxn ang="0">
                    <a:pos x="14" y="24"/>
                  </a:cxn>
                  <a:cxn ang="0">
                    <a:pos x="7" y="12"/>
                  </a:cxn>
                  <a:cxn ang="0">
                    <a:pos x="0" y="0"/>
                  </a:cxn>
                </a:cxnLst>
                <a:rect l="0" t="0" r="r" b="b"/>
                <a:pathLst>
                  <a:path w="19" h="105">
                    <a:moveTo>
                      <a:pt x="0" y="105"/>
                    </a:moveTo>
                    <a:lnTo>
                      <a:pt x="0" y="105"/>
                    </a:lnTo>
                    <a:lnTo>
                      <a:pt x="7" y="94"/>
                    </a:lnTo>
                    <a:lnTo>
                      <a:pt x="14" y="81"/>
                    </a:lnTo>
                    <a:lnTo>
                      <a:pt x="17" y="67"/>
                    </a:lnTo>
                    <a:lnTo>
                      <a:pt x="19" y="52"/>
                    </a:lnTo>
                    <a:lnTo>
                      <a:pt x="19" y="52"/>
                    </a:lnTo>
                    <a:lnTo>
                      <a:pt x="17" y="38"/>
                    </a:lnTo>
                    <a:lnTo>
                      <a:pt x="14" y="24"/>
                    </a:lnTo>
                    <a:lnTo>
                      <a:pt x="7" y="12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7" name="Freeform 579"/>
              <p:cNvSpPr>
                <a:spLocks/>
              </p:cNvSpPr>
              <p:nvPr/>
            </p:nvSpPr>
            <p:spPr bwMode="auto">
              <a:xfrm>
                <a:off x="1277825" y="7273619"/>
                <a:ext cx="10170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7" y="7"/>
                  </a:cxn>
                  <a:cxn ang="0">
                    <a:pos x="13" y="13"/>
                  </a:cxn>
                  <a:cxn ang="0">
                    <a:pos x="21" y="18"/>
                  </a:cxn>
                  <a:cxn ang="0">
                    <a:pos x="28" y="22"/>
                  </a:cxn>
                  <a:cxn ang="0">
                    <a:pos x="36" y="26"/>
                  </a:cxn>
                  <a:cxn ang="0">
                    <a:pos x="45" y="28"/>
                  </a:cxn>
                  <a:cxn ang="0">
                    <a:pos x="54" y="29"/>
                  </a:cxn>
                  <a:cxn ang="0">
                    <a:pos x="64" y="31"/>
                  </a:cxn>
                </a:cxnLst>
                <a:rect l="0" t="0" r="r" b="b"/>
                <a:pathLst>
                  <a:path w="64" h="31">
                    <a:moveTo>
                      <a:pt x="0" y="0"/>
                    </a:moveTo>
                    <a:lnTo>
                      <a:pt x="0" y="0"/>
                    </a:lnTo>
                    <a:lnTo>
                      <a:pt x="7" y="7"/>
                    </a:lnTo>
                    <a:lnTo>
                      <a:pt x="13" y="13"/>
                    </a:lnTo>
                    <a:lnTo>
                      <a:pt x="21" y="18"/>
                    </a:lnTo>
                    <a:lnTo>
                      <a:pt x="28" y="22"/>
                    </a:lnTo>
                    <a:lnTo>
                      <a:pt x="36" y="26"/>
                    </a:lnTo>
                    <a:lnTo>
                      <a:pt x="45" y="28"/>
                    </a:lnTo>
                    <a:lnTo>
                      <a:pt x="54" y="29"/>
                    </a:lnTo>
                    <a:lnTo>
                      <a:pt x="64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8" name="Line 580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9" name="Line 581"/>
              <p:cNvSpPr>
                <a:spLocks noChangeShapeType="1"/>
              </p:cNvSpPr>
              <p:nvPr/>
            </p:nvSpPr>
            <p:spPr bwMode="auto">
              <a:xfrm>
                <a:off x="1277825" y="7108914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0" name="Freeform 582"/>
              <p:cNvSpPr>
                <a:spLocks/>
              </p:cNvSpPr>
              <p:nvPr/>
            </p:nvSpPr>
            <p:spPr bwMode="auto">
              <a:xfrm>
                <a:off x="1277825" y="7062518"/>
                <a:ext cx="200134" cy="46396"/>
              </a:xfrm>
              <a:custGeom>
                <a:avLst/>
                <a:gdLst/>
                <a:ahLst/>
                <a:cxnLst>
                  <a:cxn ang="0">
                    <a:pos x="0" y="29"/>
                  </a:cxn>
                  <a:cxn ang="0">
                    <a:pos x="0" y="29"/>
                  </a:cxn>
                  <a:cxn ang="0">
                    <a:pos x="7" y="23"/>
                  </a:cxn>
                  <a:cxn ang="0">
                    <a:pos x="13" y="17"/>
                  </a:cxn>
                  <a:cxn ang="0">
                    <a:pos x="21" y="12"/>
                  </a:cxn>
                  <a:cxn ang="0">
                    <a:pos x="28" y="8"/>
                  </a:cxn>
                  <a:cxn ang="0">
                    <a:pos x="37" y="4"/>
                  </a:cxn>
                  <a:cxn ang="0">
                    <a:pos x="45" y="3"/>
                  </a:cxn>
                  <a:cxn ang="0">
                    <a:pos x="54" y="0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73" y="0"/>
                  </a:cxn>
                  <a:cxn ang="0">
                    <a:pos x="81" y="3"/>
                  </a:cxn>
                  <a:cxn ang="0">
                    <a:pos x="90" y="4"/>
                  </a:cxn>
                  <a:cxn ang="0">
                    <a:pos x="98" y="8"/>
                  </a:cxn>
                  <a:cxn ang="0">
                    <a:pos x="105" y="12"/>
                  </a:cxn>
                  <a:cxn ang="0">
                    <a:pos x="113" y="17"/>
                  </a:cxn>
                  <a:cxn ang="0">
                    <a:pos x="119" y="23"/>
                  </a:cxn>
                  <a:cxn ang="0">
                    <a:pos x="126" y="29"/>
                  </a:cxn>
                </a:cxnLst>
                <a:rect l="0" t="0" r="r" b="b"/>
                <a:pathLst>
                  <a:path w="126" h="29">
                    <a:moveTo>
                      <a:pt x="0" y="29"/>
                    </a:moveTo>
                    <a:lnTo>
                      <a:pt x="0" y="29"/>
                    </a:lnTo>
                    <a:lnTo>
                      <a:pt x="7" y="23"/>
                    </a:lnTo>
                    <a:lnTo>
                      <a:pt x="13" y="17"/>
                    </a:lnTo>
                    <a:lnTo>
                      <a:pt x="21" y="12"/>
                    </a:lnTo>
                    <a:lnTo>
                      <a:pt x="28" y="8"/>
                    </a:lnTo>
                    <a:lnTo>
                      <a:pt x="37" y="4"/>
                    </a:lnTo>
                    <a:lnTo>
                      <a:pt x="45" y="3"/>
                    </a:lnTo>
                    <a:lnTo>
                      <a:pt x="5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73" y="0"/>
                    </a:lnTo>
                    <a:lnTo>
                      <a:pt x="81" y="3"/>
                    </a:lnTo>
                    <a:lnTo>
                      <a:pt x="90" y="4"/>
                    </a:lnTo>
                    <a:lnTo>
                      <a:pt x="98" y="8"/>
                    </a:lnTo>
                    <a:lnTo>
                      <a:pt x="105" y="12"/>
                    </a:lnTo>
                    <a:lnTo>
                      <a:pt x="113" y="17"/>
                    </a:lnTo>
                    <a:lnTo>
                      <a:pt x="119" y="23"/>
                    </a:lnTo>
                    <a:lnTo>
                      <a:pt x="126" y="2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1" name="Freeform 583"/>
              <p:cNvSpPr>
                <a:spLocks/>
              </p:cNvSpPr>
              <p:nvPr/>
            </p:nvSpPr>
            <p:spPr bwMode="auto">
              <a:xfrm>
                <a:off x="1277825" y="7108914"/>
                <a:ext cx="200134" cy="2165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3" y="7"/>
                  </a:cxn>
                  <a:cxn ang="0">
                    <a:pos x="28" y="10"/>
                  </a:cxn>
                  <a:cxn ang="0">
                    <a:pos x="45" y="13"/>
                  </a:cxn>
                  <a:cxn ang="0">
                    <a:pos x="62" y="14"/>
                  </a:cxn>
                  <a:cxn ang="0">
                    <a:pos x="62" y="14"/>
                  </a:cxn>
                  <a:cxn ang="0">
                    <a:pos x="81" y="13"/>
                  </a:cxn>
                  <a:cxn ang="0">
                    <a:pos x="98" y="10"/>
                  </a:cxn>
                  <a:cxn ang="0">
                    <a:pos x="113" y="5"/>
                  </a:cxn>
                  <a:cxn ang="0">
                    <a:pos x="126" y="0"/>
                  </a:cxn>
                </a:cxnLst>
                <a:rect l="0" t="0" r="r" b="b"/>
                <a:pathLst>
                  <a:path w="126" h="14">
                    <a:moveTo>
                      <a:pt x="0" y="0"/>
                    </a:moveTo>
                    <a:lnTo>
                      <a:pt x="0" y="0"/>
                    </a:lnTo>
                    <a:lnTo>
                      <a:pt x="13" y="7"/>
                    </a:lnTo>
                    <a:lnTo>
                      <a:pt x="28" y="10"/>
                    </a:lnTo>
                    <a:lnTo>
                      <a:pt x="45" y="13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1" y="13"/>
                    </a:lnTo>
                    <a:lnTo>
                      <a:pt x="98" y="10"/>
                    </a:lnTo>
                    <a:lnTo>
                      <a:pt x="113" y="5"/>
                    </a:lnTo>
                    <a:lnTo>
                      <a:pt x="126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2" name="Freeform 584"/>
              <p:cNvSpPr>
                <a:spLocks/>
              </p:cNvSpPr>
              <p:nvPr/>
            </p:nvSpPr>
            <p:spPr bwMode="auto">
              <a:xfrm>
                <a:off x="1277825" y="7251968"/>
                <a:ext cx="200134" cy="23198"/>
              </a:xfrm>
              <a:custGeom>
                <a:avLst/>
                <a:gdLst/>
                <a:ahLst/>
                <a:cxnLst>
                  <a:cxn ang="0">
                    <a:pos x="126" y="14"/>
                  </a:cxn>
                  <a:cxn ang="0">
                    <a:pos x="126" y="14"/>
                  </a:cxn>
                  <a:cxn ang="0">
                    <a:pos x="113" y="9"/>
                  </a:cxn>
                  <a:cxn ang="0">
                    <a:pos x="98" y="4"/>
                  </a:cxn>
                  <a:cxn ang="0">
                    <a:pos x="81" y="2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45" y="2"/>
                  </a:cxn>
                  <a:cxn ang="0">
                    <a:pos x="28" y="4"/>
                  </a:cxn>
                  <a:cxn ang="0">
                    <a:pos x="13" y="9"/>
                  </a:cxn>
                  <a:cxn ang="0">
                    <a:pos x="0" y="15"/>
                  </a:cxn>
                </a:cxnLst>
                <a:rect l="0" t="0" r="r" b="b"/>
                <a:pathLst>
                  <a:path w="126" h="15">
                    <a:moveTo>
                      <a:pt x="126" y="14"/>
                    </a:moveTo>
                    <a:lnTo>
                      <a:pt x="126" y="14"/>
                    </a:lnTo>
                    <a:lnTo>
                      <a:pt x="113" y="9"/>
                    </a:lnTo>
                    <a:lnTo>
                      <a:pt x="98" y="4"/>
                    </a:lnTo>
                    <a:lnTo>
                      <a:pt x="81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45" y="2"/>
                    </a:lnTo>
                    <a:lnTo>
                      <a:pt x="28" y="4"/>
                    </a:lnTo>
                    <a:lnTo>
                      <a:pt x="13" y="9"/>
                    </a:lnTo>
                    <a:lnTo>
                      <a:pt x="0" y="1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3" name="Freeform 585"/>
              <p:cNvSpPr>
                <a:spLocks/>
              </p:cNvSpPr>
              <p:nvPr/>
            </p:nvSpPr>
            <p:spPr bwMode="auto">
              <a:xfrm>
                <a:off x="1308173" y="7062518"/>
                <a:ext cx="141078" cy="260591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81"/>
                  </a:cxn>
                  <a:cxn ang="0">
                    <a:pos x="2" y="65"/>
                  </a:cxn>
                  <a:cxn ang="0">
                    <a:pos x="4" y="50"/>
                  </a:cxn>
                  <a:cxn ang="0">
                    <a:pos x="8" y="36"/>
                  </a:cxn>
                  <a:cxn ang="0">
                    <a:pos x="13" y="24"/>
                  </a:cxn>
                  <a:cxn ang="0">
                    <a:pos x="19" y="14"/>
                  </a:cxn>
                  <a:cxn ang="0">
                    <a:pos x="27" y="7"/>
                  </a:cxn>
                  <a:cxn ang="0">
                    <a:pos x="36" y="1"/>
                  </a:cxn>
                  <a:cxn ang="0">
                    <a:pos x="40" y="0"/>
                  </a:cxn>
                  <a:cxn ang="0">
                    <a:pos x="45" y="0"/>
                  </a:cxn>
                  <a:cxn ang="0">
                    <a:pos x="45" y="0"/>
                  </a:cxn>
                  <a:cxn ang="0">
                    <a:pos x="48" y="0"/>
                  </a:cxn>
                  <a:cxn ang="0">
                    <a:pos x="54" y="1"/>
                  </a:cxn>
                  <a:cxn ang="0">
                    <a:pos x="61" y="7"/>
                  </a:cxn>
                  <a:cxn ang="0">
                    <a:pos x="69" y="14"/>
                  </a:cxn>
                  <a:cxn ang="0">
                    <a:pos x="75" y="24"/>
                  </a:cxn>
                  <a:cxn ang="0">
                    <a:pos x="81" y="36"/>
                  </a:cxn>
                  <a:cxn ang="0">
                    <a:pos x="85" y="50"/>
                  </a:cxn>
                  <a:cxn ang="0">
                    <a:pos x="88" y="65"/>
                  </a:cxn>
                  <a:cxn ang="0">
                    <a:pos x="89" y="81"/>
                  </a:cxn>
                  <a:cxn ang="0">
                    <a:pos x="89" y="81"/>
                  </a:cxn>
                  <a:cxn ang="0">
                    <a:pos x="88" y="98"/>
                  </a:cxn>
                  <a:cxn ang="0">
                    <a:pos x="85" y="113"/>
                  </a:cxn>
                  <a:cxn ang="0">
                    <a:pos x="81" y="127"/>
                  </a:cxn>
                  <a:cxn ang="0">
                    <a:pos x="75" y="140"/>
                  </a:cxn>
                  <a:cxn ang="0">
                    <a:pos x="69" y="150"/>
                  </a:cxn>
                  <a:cxn ang="0">
                    <a:pos x="61" y="157"/>
                  </a:cxn>
                  <a:cxn ang="0">
                    <a:pos x="54" y="161"/>
                  </a:cxn>
                  <a:cxn ang="0">
                    <a:pos x="48" y="162"/>
                  </a:cxn>
                  <a:cxn ang="0">
                    <a:pos x="45" y="164"/>
                  </a:cxn>
                  <a:cxn ang="0">
                    <a:pos x="45" y="164"/>
                  </a:cxn>
                  <a:cxn ang="0">
                    <a:pos x="38" y="162"/>
                  </a:cxn>
                  <a:cxn ang="0">
                    <a:pos x="33" y="160"/>
                  </a:cxn>
                  <a:cxn ang="0">
                    <a:pos x="27" y="157"/>
                  </a:cxn>
                  <a:cxn ang="0">
                    <a:pos x="22" y="152"/>
                  </a:cxn>
                  <a:cxn ang="0">
                    <a:pos x="18" y="147"/>
                  </a:cxn>
                  <a:cxn ang="0">
                    <a:pos x="13" y="140"/>
                  </a:cxn>
                  <a:cxn ang="0">
                    <a:pos x="9" y="132"/>
                  </a:cxn>
                  <a:cxn ang="0">
                    <a:pos x="7" y="124"/>
                  </a:cxn>
                </a:cxnLst>
                <a:rect l="0" t="0" r="r" b="b"/>
                <a:pathLst>
                  <a:path w="89" h="164">
                    <a:moveTo>
                      <a:pt x="0" y="81"/>
                    </a:moveTo>
                    <a:lnTo>
                      <a:pt x="0" y="81"/>
                    </a:lnTo>
                    <a:lnTo>
                      <a:pt x="2" y="65"/>
                    </a:lnTo>
                    <a:lnTo>
                      <a:pt x="4" y="50"/>
                    </a:lnTo>
                    <a:lnTo>
                      <a:pt x="8" y="36"/>
                    </a:lnTo>
                    <a:lnTo>
                      <a:pt x="13" y="24"/>
                    </a:lnTo>
                    <a:lnTo>
                      <a:pt x="19" y="14"/>
                    </a:lnTo>
                    <a:lnTo>
                      <a:pt x="27" y="7"/>
                    </a:lnTo>
                    <a:lnTo>
                      <a:pt x="36" y="1"/>
                    </a:lnTo>
                    <a:lnTo>
                      <a:pt x="40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8" y="0"/>
                    </a:lnTo>
                    <a:lnTo>
                      <a:pt x="54" y="1"/>
                    </a:lnTo>
                    <a:lnTo>
                      <a:pt x="61" y="7"/>
                    </a:lnTo>
                    <a:lnTo>
                      <a:pt x="69" y="14"/>
                    </a:lnTo>
                    <a:lnTo>
                      <a:pt x="75" y="24"/>
                    </a:lnTo>
                    <a:lnTo>
                      <a:pt x="81" y="36"/>
                    </a:lnTo>
                    <a:lnTo>
                      <a:pt x="85" y="50"/>
                    </a:lnTo>
                    <a:lnTo>
                      <a:pt x="88" y="65"/>
                    </a:lnTo>
                    <a:lnTo>
                      <a:pt x="89" y="81"/>
                    </a:lnTo>
                    <a:lnTo>
                      <a:pt x="89" y="81"/>
                    </a:lnTo>
                    <a:lnTo>
                      <a:pt x="88" y="98"/>
                    </a:lnTo>
                    <a:lnTo>
                      <a:pt x="85" y="113"/>
                    </a:lnTo>
                    <a:lnTo>
                      <a:pt x="81" y="127"/>
                    </a:lnTo>
                    <a:lnTo>
                      <a:pt x="75" y="140"/>
                    </a:lnTo>
                    <a:lnTo>
                      <a:pt x="69" y="150"/>
                    </a:lnTo>
                    <a:lnTo>
                      <a:pt x="61" y="157"/>
                    </a:lnTo>
                    <a:lnTo>
                      <a:pt x="54" y="161"/>
                    </a:lnTo>
                    <a:lnTo>
                      <a:pt x="48" y="162"/>
                    </a:lnTo>
                    <a:lnTo>
                      <a:pt x="45" y="164"/>
                    </a:lnTo>
                    <a:lnTo>
                      <a:pt x="45" y="164"/>
                    </a:lnTo>
                    <a:lnTo>
                      <a:pt x="38" y="162"/>
                    </a:lnTo>
                    <a:lnTo>
                      <a:pt x="33" y="160"/>
                    </a:lnTo>
                    <a:lnTo>
                      <a:pt x="27" y="157"/>
                    </a:lnTo>
                    <a:lnTo>
                      <a:pt x="22" y="152"/>
                    </a:lnTo>
                    <a:lnTo>
                      <a:pt x="18" y="147"/>
                    </a:lnTo>
                    <a:lnTo>
                      <a:pt x="13" y="140"/>
                    </a:lnTo>
                    <a:lnTo>
                      <a:pt x="9" y="132"/>
                    </a:lnTo>
                    <a:lnTo>
                      <a:pt x="7" y="124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4" name="Line 586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26083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5" name="Line 587"/>
              <p:cNvSpPr>
                <a:spLocks noChangeShapeType="1"/>
              </p:cNvSpPr>
              <p:nvPr/>
            </p:nvSpPr>
            <p:spPr bwMode="auto">
              <a:xfrm flipV="1">
                <a:off x="1379532" y="7062518"/>
                <a:ext cx="820" cy="260591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6" name="Line 588"/>
              <p:cNvSpPr>
                <a:spLocks noChangeShapeType="1"/>
              </p:cNvSpPr>
              <p:nvPr/>
            </p:nvSpPr>
            <p:spPr bwMode="auto">
              <a:xfrm>
                <a:off x="1163814" y="7167682"/>
                <a:ext cx="83662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7" name="Freeform 589"/>
              <p:cNvSpPr>
                <a:spLocks/>
              </p:cNvSpPr>
              <p:nvPr/>
            </p:nvSpPr>
            <p:spPr bwMode="auto">
              <a:xfrm>
                <a:off x="1247477" y="7143711"/>
                <a:ext cx="25427" cy="4717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" y="15"/>
                  </a:cxn>
                  <a:cxn ang="0">
                    <a:pos x="0" y="30"/>
                  </a:cxn>
                </a:cxnLst>
                <a:rect l="0" t="0" r="r" b="b"/>
                <a:pathLst>
                  <a:path w="16" h="30">
                    <a:moveTo>
                      <a:pt x="0" y="0"/>
                    </a:moveTo>
                    <a:lnTo>
                      <a:pt x="16" y="15"/>
                    </a:lnTo>
                    <a:lnTo>
                      <a:pt x="0" y="3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8" name="Line 590"/>
              <p:cNvSpPr>
                <a:spLocks noChangeShapeType="1"/>
              </p:cNvSpPr>
              <p:nvPr/>
            </p:nvSpPr>
            <p:spPr bwMode="auto">
              <a:xfrm>
                <a:off x="1231892" y="7235730"/>
                <a:ext cx="86943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9" name="Freeform 591"/>
              <p:cNvSpPr>
                <a:spLocks/>
              </p:cNvSpPr>
              <p:nvPr/>
            </p:nvSpPr>
            <p:spPr bwMode="auto">
              <a:xfrm>
                <a:off x="1318836" y="7210212"/>
                <a:ext cx="2378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" y="16"/>
                  </a:cxn>
                  <a:cxn ang="0">
                    <a:pos x="0" y="31"/>
                  </a:cxn>
                </a:cxnLst>
                <a:rect l="0" t="0" r="r" b="b"/>
                <a:pathLst>
                  <a:path w="15" h="31">
                    <a:moveTo>
                      <a:pt x="0" y="0"/>
                    </a:moveTo>
                    <a:lnTo>
                      <a:pt x="15" y="16"/>
                    </a:lnTo>
                    <a:lnTo>
                      <a:pt x="0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8" name="Groupe 320"/>
            <p:cNvGrpSpPr>
              <a:grpSpLocks/>
            </p:cNvGrpSpPr>
            <p:nvPr userDrawn="1"/>
          </p:nvGrpSpPr>
          <p:grpSpPr bwMode="auto">
            <a:xfrm>
              <a:off x="4610305" y="2502608"/>
              <a:ext cx="442816" cy="482367"/>
              <a:chOff x="4430703" y="4715239"/>
              <a:chExt cx="374626" cy="416805"/>
            </a:xfrm>
          </p:grpSpPr>
          <p:sp>
            <p:nvSpPr>
              <p:cNvPr id="21" name="Freeform 897"/>
              <p:cNvSpPr>
                <a:spLocks/>
              </p:cNvSpPr>
              <p:nvPr/>
            </p:nvSpPr>
            <p:spPr bwMode="auto">
              <a:xfrm>
                <a:off x="4649334" y="4788757"/>
                <a:ext cx="155680" cy="256503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4912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0" fmla="*/ 4737 w 9825"/>
                  <a:gd name="connsiteY0" fmla="*/ 10000 h 10000"/>
                  <a:gd name="connsiteX1" fmla="*/ 4737 w 9825"/>
                  <a:gd name="connsiteY1" fmla="*/ 10000 h 10000"/>
                  <a:gd name="connsiteX2" fmla="*/ 6579 w 9825"/>
                  <a:gd name="connsiteY2" fmla="*/ 10000 h 10000"/>
                  <a:gd name="connsiteX3" fmla="*/ 8246 w 9825"/>
                  <a:gd name="connsiteY3" fmla="*/ 9938 h 10000"/>
                  <a:gd name="connsiteX4" fmla="*/ 9386 w 9825"/>
                  <a:gd name="connsiteY4" fmla="*/ 9814 h 10000"/>
                  <a:gd name="connsiteX5" fmla="*/ 9737 w 9825"/>
                  <a:gd name="connsiteY5" fmla="*/ 9752 h 10000"/>
                  <a:gd name="connsiteX6" fmla="*/ 9825 w 9825"/>
                  <a:gd name="connsiteY6" fmla="*/ 9689 h 10000"/>
                  <a:gd name="connsiteX7" fmla="*/ 9825 w 9825"/>
                  <a:gd name="connsiteY7" fmla="*/ 9689 h 10000"/>
                  <a:gd name="connsiteX8" fmla="*/ 9825 w 9825"/>
                  <a:gd name="connsiteY8" fmla="*/ 8634 h 10000"/>
                  <a:gd name="connsiteX9" fmla="*/ 9737 w 9825"/>
                  <a:gd name="connsiteY9" fmla="*/ 7702 h 10000"/>
                  <a:gd name="connsiteX10" fmla="*/ 9386 w 9825"/>
                  <a:gd name="connsiteY10" fmla="*/ 6832 h 10000"/>
                  <a:gd name="connsiteX11" fmla="*/ 9036 w 9825"/>
                  <a:gd name="connsiteY11" fmla="*/ 6087 h 10000"/>
                  <a:gd name="connsiteX12" fmla="*/ 8509 w 9825"/>
                  <a:gd name="connsiteY12" fmla="*/ 5342 h 10000"/>
                  <a:gd name="connsiteX13" fmla="*/ 7807 w 9825"/>
                  <a:gd name="connsiteY13" fmla="*/ 4783 h 10000"/>
                  <a:gd name="connsiteX14" fmla="*/ 6930 w 9825"/>
                  <a:gd name="connsiteY14" fmla="*/ 4410 h 10000"/>
                  <a:gd name="connsiteX15" fmla="*/ 5965 w 9825"/>
                  <a:gd name="connsiteY15" fmla="*/ 4099 h 10000"/>
                  <a:gd name="connsiteX16" fmla="*/ 5965 w 9825"/>
                  <a:gd name="connsiteY16" fmla="*/ 4099 h 10000"/>
                  <a:gd name="connsiteX17" fmla="*/ 6492 w 9825"/>
                  <a:gd name="connsiteY17" fmla="*/ 3727 h 10000"/>
                  <a:gd name="connsiteX18" fmla="*/ 6843 w 9825"/>
                  <a:gd name="connsiteY18" fmla="*/ 3230 h 10000"/>
                  <a:gd name="connsiteX19" fmla="*/ 7106 w 9825"/>
                  <a:gd name="connsiteY19" fmla="*/ 2671 h 10000"/>
                  <a:gd name="connsiteX20" fmla="*/ 7369 w 9825"/>
                  <a:gd name="connsiteY20" fmla="*/ 2112 h 10000"/>
                  <a:gd name="connsiteX21" fmla="*/ 7369 w 9825"/>
                  <a:gd name="connsiteY21" fmla="*/ 2112 h 10000"/>
                  <a:gd name="connsiteX22" fmla="*/ 7281 w 9825"/>
                  <a:gd name="connsiteY22" fmla="*/ 1677 h 10000"/>
                  <a:gd name="connsiteX23" fmla="*/ 7106 w 9825"/>
                  <a:gd name="connsiteY23" fmla="*/ 1242 h 10000"/>
                  <a:gd name="connsiteX24" fmla="*/ 6930 w 9825"/>
                  <a:gd name="connsiteY24" fmla="*/ 870 h 10000"/>
                  <a:gd name="connsiteX25" fmla="*/ 6579 w 9825"/>
                  <a:gd name="connsiteY25" fmla="*/ 559 h 10000"/>
                  <a:gd name="connsiteX26" fmla="*/ 6229 w 9825"/>
                  <a:gd name="connsiteY26" fmla="*/ 311 h 10000"/>
                  <a:gd name="connsiteX27" fmla="*/ 5790 w 9825"/>
                  <a:gd name="connsiteY27" fmla="*/ 186 h 10000"/>
                  <a:gd name="connsiteX28" fmla="*/ 5351 w 9825"/>
                  <a:gd name="connsiteY28" fmla="*/ 0 h 10000"/>
                  <a:gd name="connsiteX29" fmla="*/ 4825 w 9825"/>
                  <a:gd name="connsiteY29" fmla="*/ 0 h 10000"/>
                  <a:gd name="connsiteX30" fmla="*/ 4825 w 9825"/>
                  <a:gd name="connsiteY30" fmla="*/ 0 h 10000"/>
                  <a:gd name="connsiteX31" fmla="*/ 4386 w 9825"/>
                  <a:gd name="connsiteY31" fmla="*/ 0 h 10000"/>
                  <a:gd name="connsiteX32" fmla="*/ 3948 w 9825"/>
                  <a:gd name="connsiteY32" fmla="*/ 186 h 10000"/>
                  <a:gd name="connsiteX33" fmla="*/ 3509 w 9825"/>
                  <a:gd name="connsiteY33" fmla="*/ 311 h 10000"/>
                  <a:gd name="connsiteX34" fmla="*/ 3071 w 9825"/>
                  <a:gd name="connsiteY34" fmla="*/ 559 h 10000"/>
                  <a:gd name="connsiteX35" fmla="*/ 2807 w 9825"/>
                  <a:gd name="connsiteY35" fmla="*/ 870 h 10000"/>
                  <a:gd name="connsiteX36" fmla="*/ 2544 w 9825"/>
                  <a:gd name="connsiteY36" fmla="*/ 1242 h 10000"/>
                  <a:gd name="connsiteX37" fmla="*/ 2369 w 9825"/>
                  <a:gd name="connsiteY37" fmla="*/ 1677 h 10000"/>
                  <a:gd name="connsiteX38" fmla="*/ 2369 w 9825"/>
                  <a:gd name="connsiteY38" fmla="*/ 2112 h 10000"/>
                  <a:gd name="connsiteX39" fmla="*/ 2369 w 9825"/>
                  <a:gd name="connsiteY39" fmla="*/ 2112 h 10000"/>
                  <a:gd name="connsiteX40" fmla="*/ 2457 w 9825"/>
                  <a:gd name="connsiteY40" fmla="*/ 2671 h 10000"/>
                  <a:gd name="connsiteX41" fmla="*/ 2807 w 9825"/>
                  <a:gd name="connsiteY41" fmla="*/ 3230 h 10000"/>
                  <a:gd name="connsiteX42" fmla="*/ 3246 w 9825"/>
                  <a:gd name="connsiteY42" fmla="*/ 3727 h 10000"/>
                  <a:gd name="connsiteX43" fmla="*/ 3685 w 9825"/>
                  <a:gd name="connsiteY43" fmla="*/ 4099 h 10000"/>
                  <a:gd name="connsiteX44" fmla="*/ 3685 w 9825"/>
                  <a:gd name="connsiteY44" fmla="*/ 4099 h 10000"/>
                  <a:gd name="connsiteX45" fmla="*/ 2720 w 9825"/>
                  <a:gd name="connsiteY45" fmla="*/ 4410 h 10000"/>
                  <a:gd name="connsiteX46" fmla="*/ 1930 w 9825"/>
                  <a:gd name="connsiteY46" fmla="*/ 4783 h 10000"/>
                  <a:gd name="connsiteX47" fmla="*/ 1229 w 9825"/>
                  <a:gd name="connsiteY47" fmla="*/ 5342 h 10000"/>
                  <a:gd name="connsiteX48" fmla="*/ 702 w 9825"/>
                  <a:gd name="connsiteY48" fmla="*/ 6087 h 10000"/>
                  <a:gd name="connsiteX49" fmla="*/ 264 w 9825"/>
                  <a:gd name="connsiteY49" fmla="*/ 6832 h 10000"/>
                  <a:gd name="connsiteX50" fmla="*/ 0 w 9825"/>
                  <a:gd name="connsiteY50" fmla="*/ 7702 h 10000"/>
                  <a:gd name="connsiteX0" fmla="*/ 4552 w 9731"/>
                  <a:gd name="connsiteY0" fmla="*/ 10000 h 10000"/>
                  <a:gd name="connsiteX1" fmla="*/ 4552 w 9731"/>
                  <a:gd name="connsiteY1" fmla="*/ 10000 h 10000"/>
                  <a:gd name="connsiteX2" fmla="*/ 6427 w 9731"/>
                  <a:gd name="connsiteY2" fmla="*/ 10000 h 10000"/>
                  <a:gd name="connsiteX3" fmla="*/ 8124 w 9731"/>
                  <a:gd name="connsiteY3" fmla="*/ 9938 h 10000"/>
                  <a:gd name="connsiteX4" fmla="*/ 9284 w 9731"/>
                  <a:gd name="connsiteY4" fmla="*/ 9814 h 10000"/>
                  <a:gd name="connsiteX5" fmla="*/ 9641 w 9731"/>
                  <a:gd name="connsiteY5" fmla="*/ 9752 h 10000"/>
                  <a:gd name="connsiteX6" fmla="*/ 9731 w 9731"/>
                  <a:gd name="connsiteY6" fmla="*/ 9689 h 10000"/>
                  <a:gd name="connsiteX7" fmla="*/ 9731 w 9731"/>
                  <a:gd name="connsiteY7" fmla="*/ 9689 h 10000"/>
                  <a:gd name="connsiteX8" fmla="*/ 9731 w 9731"/>
                  <a:gd name="connsiteY8" fmla="*/ 8634 h 10000"/>
                  <a:gd name="connsiteX9" fmla="*/ 9641 w 9731"/>
                  <a:gd name="connsiteY9" fmla="*/ 7702 h 10000"/>
                  <a:gd name="connsiteX10" fmla="*/ 9284 w 9731"/>
                  <a:gd name="connsiteY10" fmla="*/ 6832 h 10000"/>
                  <a:gd name="connsiteX11" fmla="*/ 8928 w 9731"/>
                  <a:gd name="connsiteY11" fmla="*/ 6087 h 10000"/>
                  <a:gd name="connsiteX12" fmla="*/ 8392 w 9731"/>
                  <a:gd name="connsiteY12" fmla="*/ 5342 h 10000"/>
                  <a:gd name="connsiteX13" fmla="*/ 7677 w 9731"/>
                  <a:gd name="connsiteY13" fmla="*/ 4783 h 10000"/>
                  <a:gd name="connsiteX14" fmla="*/ 6784 w 9731"/>
                  <a:gd name="connsiteY14" fmla="*/ 4410 h 10000"/>
                  <a:gd name="connsiteX15" fmla="*/ 5802 w 9731"/>
                  <a:gd name="connsiteY15" fmla="*/ 4099 h 10000"/>
                  <a:gd name="connsiteX16" fmla="*/ 5802 w 9731"/>
                  <a:gd name="connsiteY16" fmla="*/ 4099 h 10000"/>
                  <a:gd name="connsiteX17" fmla="*/ 6339 w 9731"/>
                  <a:gd name="connsiteY17" fmla="*/ 3727 h 10000"/>
                  <a:gd name="connsiteX18" fmla="*/ 6696 w 9731"/>
                  <a:gd name="connsiteY18" fmla="*/ 3230 h 10000"/>
                  <a:gd name="connsiteX19" fmla="*/ 6964 w 9731"/>
                  <a:gd name="connsiteY19" fmla="*/ 2671 h 10000"/>
                  <a:gd name="connsiteX20" fmla="*/ 7231 w 9731"/>
                  <a:gd name="connsiteY20" fmla="*/ 2112 h 10000"/>
                  <a:gd name="connsiteX21" fmla="*/ 7231 w 9731"/>
                  <a:gd name="connsiteY21" fmla="*/ 2112 h 10000"/>
                  <a:gd name="connsiteX22" fmla="*/ 7142 w 9731"/>
                  <a:gd name="connsiteY22" fmla="*/ 1677 h 10000"/>
                  <a:gd name="connsiteX23" fmla="*/ 6964 w 9731"/>
                  <a:gd name="connsiteY23" fmla="*/ 1242 h 10000"/>
                  <a:gd name="connsiteX24" fmla="*/ 6784 w 9731"/>
                  <a:gd name="connsiteY24" fmla="*/ 870 h 10000"/>
                  <a:gd name="connsiteX25" fmla="*/ 6427 w 9731"/>
                  <a:gd name="connsiteY25" fmla="*/ 559 h 10000"/>
                  <a:gd name="connsiteX26" fmla="*/ 6071 w 9731"/>
                  <a:gd name="connsiteY26" fmla="*/ 311 h 10000"/>
                  <a:gd name="connsiteX27" fmla="*/ 5624 w 9731"/>
                  <a:gd name="connsiteY27" fmla="*/ 186 h 10000"/>
                  <a:gd name="connsiteX28" fmla="*/ 5177 w 9731"/>
                  <a:gd name="connsiteY28" fmla="*/ 0 h 10000"/>
                  <a:gd name="connsiteX29" fmla="*/ 4642 w 9731"/>
                  <a:gd name="connsiteY29" fmla="*/ 0 h 10000"/>
                  <a:gd name="connsiteX30" fmla="*/ 4642 w 9731"/>
                  <a:gd name="connsiteY30" fmla="*/ 0 h 10000"/>
                  <a:gd name="connsiteX31" fmla="*/ 4195 w 9731"/>
                  <a:gd name="connsiteY31" fmla="*/ 0 h 10000"/>
                  <a:gd name="connsiteX32" fmla="*/ 3749 w 9731"/>
                  <a:gd name="connsiteY32" fmla="*/ 186 h 10000"/>
                  <a:gd name="connsiteX33" fmla="*/ 3303 w 9731"/>
                  <a:gd name="connsiteY33" fmla="*/ 311 h 10000"/>
                  <a:gd name="connsiteX34" fmla="*/ 2857 w 9731"/>
                  <a:gd name="connsiteY34" fmla="*/ 559 h 10000"/>
                  <a:gd name="connsiteX35" fmla="*/ 2588 w 9731"/>
                  <a:gd name="connsiteY35" fmla="*/ 870 h 10000"/>
                  <a:gd name="connsiteX36" fmla="*/ 2320 w 9731"/>
                  <a:gd name="connsiteY36" fmla="*/ 1242 h 10000"/>
                  <a:gd name="connsiteX37" fmla="*/ 2142 w 9731"/>
                  <a:gd name="connsiteY37" fmla="*/ 1677 h 10000"/>
                  <a:gd name="connsiteX38" fmla="*/ 2142 w 9731"/>
                  <a:gd name="connsiteY38" fmla="*/ 2112 h 10000"/>
                  <a:gd name="connsiteX39" fmla="*/ 2142 w 9731"/>
                  <a:gd name="connsiteY39" fmla="*/ 2112 h 10000"/>
                  <a:gd name="connsiteX40" fmla="*/ 2232 w 9731"/>
                  <a:gd name="connsiteY40" fmla="*/ 2671 h 10000"/>
                  <a:gd name="connsiteX41" fmla="*/ 2588 w 9731"/>
                  <a:gd name="connsiteY41" fmla="*/ 3230 h 10000"/>
                  <a:gd name="connsiteX42" fmla="*/ 3035 w 9731"/>
                  <a:gd name="connsiteY42" fmla="*/ 3727 h 10000"/>
                  <a:gd name="connsiteX43" fmla="*/ 3482 w 9731"/>
                  <a:gd name="connsiteY43" fmla="*/ 4099 h 10000"/>
                  <a:gd name="connsiteX44" fmla="*/ 3482 w 9731"/>
                  <a:gd name="connsiteY44" fmla="*/ 4099 h 10000"/>
                  <a:gd name="connsiteX45" fmla="*/ 2499 w 9731"/>
                  <a:gd name="connsiteY45" fmla="*/ 4410 h 10000"/>
                  <a:gd name="connsiteX46" fmla="*/ 1695 w 9731"/>
                  <a:gd name="connsiteY46" fmla="*/ 4783 h 10000"/>
                  <a:gd name="connsiteX47" fmla="*/ 982 w 9731"/>
                  <a:gd name="connsiteY47" fmla="*/ 5342 h 10000"/>
                  <a:gd name="connsiteX48" fmla="*/ 446 w 9731"/>
                  <a:gd name="connsiteY48" fmla="*/ 6087 h 10000"/>
                  <a:gd name="connsiteX49" fmla="*/ 0 w 9731"/>
                  <a:gd name="connsiteY49" fmla="*/ 6832 h 10000"/>
                  <a:gd name="connsiteX0" fmla="*/ 4220 w 9542"/>
                  <a:gd name="connsiteY0" fmla="*/ 10000 h 10000"/>
                  <a:gd name="connsiteX1" fmla="*/ 4220 w 9542"/>
                  <a:gd name="connsiteY1" fmla="*/ 10000 h 10000"/>
                  <a:gd name="connsiteX2" fmla="*/ 6147 w 9542"/>
                  <a:gd name="connsiteY2" fmla="*/ 10000 h 10000"/>
                  <a:gd name="connsiteX3" fmla="*/ 7891 w 9542"/>
                  <a:gd name="connsiteY3" fmla="*/ 9938 h 10000"/>
                  <a:gd name="connsiteX4" fmla="*/ 9083 w 9542"/>
                  <a:gd name="connsiteY4" fmla="*/ 9814 h 10000"/>
                  <a:gd name="connsiteX5" fmla="*/ 9450 w 9542"/>
                  <a:gd name="connsiteY5" fmla="*/ 9752 h 10000"/>
                  <a:gd name="connsiteX6" fmla="*/ 9542 w 9542"/>
                  <a:gd name="connsiteY6" fmla="*/ 9689 h 10000"/>
                  <a:gd name="connsiteX7" fmla="*/ 9542 w 9542"/>
                  <a:gd name="connsiteY7" fmla="*/ 9689 h 10000"/>
                  <a:gd name="connsiteX8" fmla="*/ 9542 w 9542"/>
                  <a:gd name="connsiteY8" fmla="*/ 8634 h 10000"/>
                  <a:gd name="connsiteX9" fmla="*/ 9450 w 9542"/>
                  <a:gd name="connsiteY9" fmla="*/ 7702 h 10000"/>
                  <a:gd name="connsiteX10" fmla="*/ 9083 w 9542"/>
                  <a:gd name="connsiteY10" fmla="*/ 6832 h 10000"/>
                  <a:gd name="connsiteX11" fmla="*/ 8717 w 9542"/>
                  <a:gd name="connsiteY11" fmla="*/ 6087 h 10000"/>
                  <a:gd name="connsiteX12" fmla="*/ 8166 w 9542"/>
                  <a:gd name="connsiteY12" fmla="*/ 5342 h 10000"/>
                  <a:gd name="connsiteX13" fmla="*/ 7431 w 9542"/>
                  <a:gd name="connsiteY13" fmla="*/ 4783 h 10000"/>
                  <a:gd name="connsiteX14" fmla="*/ 6514 w 9542"/>
                  <a:gd name="connsiteY14" fmla="*/ 4410 h 10000"/>
                  <a:gd name="connsiteX15" fmla="*/ 5504 w 9542"/>
                  <a:gd name="connsiteY15" fmla="*/ 4099 h 10000"/>
                  <a:gd name="connsiteX16" fmla="*/ 5504 w 9542"/>
                  <a:gd name="connsiteY16" fmla="*/ 4099 h 10000"/>
                  <a:gd name="connsiteX17" fmla="*/ 6056 w 9542"/>
                  <a:gd name="connsiteY17" fmla="*/ 3727 h 10000"/>
                  <a:gd name="connsiteX18" fmla="*/ 6423 w 9542"/>
                  <a:gd name="connsiteY18" fmla="*/ 3230 h 10000"/>
                  <a:gd name="connsiteX19" fmla="*/ 6699 w 9542"/>
                  <a:gd name="connsiteY19" fmla="*/ 2671 h 10000"/>
                  <a:gd name="connsiteX20" fmla="*/ 6973 w 9542"/>
                  <a:gd name="connsiteY20" fmla="*/ 2112 h 10000"/>
                  <a:gd name="connsiteX21" fmla="*/ 6973 w 9542"/>
                  <a:gd name="connsiteY21" fmla="*/ 2112 h 10000"/>
                  <a:gd name="connsiteX22" fmla="*/ 6881 w 9542"/>
                  <a:gd name="connsiteY22" fmla="*/ 1677 h 10000"/>
                  <a:gd name="connsiteX23" fmla="*/ 6699 w 9542"/>
                  <a:gd name="connsiteY23" fmla="*/ 1242 h 10000"/>
                  <a:gd name="connsiteX24" fmla="*/ 6514 w 9542"/>
                  <a:gd name="connsiteY24" fmla="*/ 870 h 10000"/>
                  <a:gd name="connsiteX25" fmla="*/ 6147 w 9542"/>
                  <a:gd name="connsiteY25" fmla="*/ 559 h 10000"/>
                  <a:gd name="connsiteX26" fmla="*/ 5781 w 9542"/>
                  <a:gd name="connsiteY26" fmla="*/ 311 h 10000"/>
                  <a:gd name="connsiteX27" fmla="*/ 5321 w 9542"/>
                  <a:gd name="connsiteY27" fmla="*/ 186 h 10000"/>
                  <a:gd name="connsiteX28" fmla="*/ 4862 w 9542"/>
                  <a:gd name="connsiteY28" fmla="*/ 0 h 10000"/>
                  <a:gd name="connsiteX29" fmla="*/ 4312 w 9542"/>
                  <a:gd name="connsiteY29" fmla="*/ 0 h 10000"/>
                  <a:gd name="connsiteX30" fmla="*/ 4312 w 9542"/>
                  <a:gd name="connsiteY30" fmla="*/ 0 h 10000"/>
                  <a:gd name="connsiteX31" fmla="*/ 3853 w 9542"/>
                  <a:gd name="connsiteY31" fmla="*/ 0 h 10000"/>
                  <a:gd name="connsiteX32" fmla="*/ 3395 w 9542"/>
                  <a:gd name="connsiteY32" fmla="*/ 186 h 10000"/>
                  <a:gd name="connsiteX33" fmla="*/ 2936 w 9542"/>
                  <a:gd name="connsiteY33" fmla="*/ 311 h 10000"/>
                  <a:gd name="connsiteX34" fmla="*/ 2478 w 9542"/>
                  <a:gd name="connsiteY34" fmla="*/ 559 h 10000"/>
                  <a:gd name="connsiteX35" fmla="*/ 2202 w 9542"/>
                  <a:gd name="connsiteY35" fmla="*/ 870 h 10000"/>
                  <a:gd name="connsiteX36" fmla="*/ 1926 w 9542"/>
                  <a:gd name="connsiteY36" fmla="*/ 1242 h 10000"/>
                  <a:gd name="connsiteX37" fmla="*/ 1743 w 9542"/>
                  <a:gd name="connsiteY37" fmla="*/ 1677 h 10000"/>
                  <a:gd name="connsiteX38" fmla="*/ 1743 w 9542"/>
                  <a:gd name="connsiteY38" fmla="*/ 2112 h 10000"/>
                  <a:gd name="connsiteX39" fmla="*/ 1743 w 9542"/>
                  <a:gd name="connsiteY39" fmla="*/ 2112 h 10000"/>
                  <a:gd name="connsiteX40" fmla="*/ 1836 w 9542"/>
                  <a:gd name="connsiteY40" fmla="*/ 2671 h 10000"/>
                  <a:gd name="connsiteX41" fmla="*/ 2202 w 9542"/>
                  <a:gd name="connsiteY41" fmla="*/ 3230 h 10000"/>
                  <a:gd name="connsiteX42" fmla="*/ 2661 w 9542"/>
                  <a:gd name="connsiteY42" fmla="*/ 3727 h 10000"/>
                  <a:gd name="connsiteX43" fmla="*/ 3120 w 9542"/>
                  <a:gd name="connsiteY43" fmla="*/ 4099 h 10000"/>
                  <a:gd name="connsiteX44" fmla="*/ 3120 w 9542"/>
                  <a:gd name="connsiteY44" fmla="*/ 4099 h 10000"/>
                  <a:gd name="connsiteX45" fmla="*/ 2110 w 9542"/>
                  <a:gd name="connsiteY45" fmla="*/ 4410 h 10000"/>
                  <a:gd name="connsiteX46" fmla="*/ 1284 w 9542"/>
                  <a:gd name="connsiteY46" fmla="*/ 4783 h 10000"/>
                  <a:gd name="connsiteX47" fmla="*/ 551 w 9542"/>
                  <a:gd name="connsiteY47" fmla="*/ 5342 h 10000"/>
                  <a:gd name="connsiteX48" fmla="*/ 0 w 9542"/>
                  <a:gd name="connsiteY48" fmla="*/ 6087 h 10000"/>
                  <a:gd name="connsiteX0" fmla="*/ 3846 w 9423"/>
                  <a:gd name="connsiteY0" fmla="*/ 10000 h 10000"/>
                  <a:gd name="connsiteX1" fmla="*/ 3846 w 9423"/>
                  <a:gd name="connsiteY1" fmla="*/ 10000 h 10000"/>
                  <a:gd name="connsiteX2" fmla="*/ 5865 w 9423"/>
                  <a:gd name="connsiteY2" fmla="*/ 10000 h 10000"/>
                  <a:gd name="connsiteX3" fmla="*/ 7693 w 9423"/>
                  <a:gd name="connsiteY3" fmla="*/ 9938 h 10000"/>
                  <a:gd name="connsiteX4" fmla="*/ 8942 w 9423"/>
                  <a:gd name="connsiteY4" fmla="*/ 9814 h 10000"/>
                  <a:gd name="connsiteX5" fmla="*/ 9327 w 9423"/>
                  <a:gd name="connsiteY5" fmla="*/ 9752 h 10000"/>
                  <a:gd name="connsiteX6" fmla="*/ 9423 w 9423"/>
                  <a:gd name="connsiteY6" fmla="*/ 9689 h 10000"/>
                  <a:gd name="connsiteX7" fmla="*/ 9423 w 9423"/>
                  <a:gd name="connsiteY7" fmla="*/ 9689 h 10000"/>
                  <a:gd name="connsiteX8" fmla="*/ 9423 w 9423"/>
                  <a:gd name="connsiteY8" fmla="*/ 8634 h 10000"/>
                  <a:gd name="connsiteX9" fmla="*/ 9327 w 9423"/>
                  <a:gd name="connsiteY9" fmla="*/ 7702 h 10000"/>
                  <a:gd name="connsiteX10" fmla="*/ 8942 w 9423"/>
                  <a:gd name="connsiteY10" fmla="*/ 6832 h 10000"/>
                  <a:gd name="connsiteX11" fmla="*/ 8558 w 9423"/>
                  <a:gd name="connsiteY11" fmla="*/ 6087 h 10000"/>
                  <a:gd name="connsiteX12" fmla="*/ 7981 w 9423"/>
                  <a:gd name="connsiteY12" fmla="*/ 5342 h 10000"/>
                  <a:gd name="connsiteX13" fmla="*/ 7211 w 9423"/>
                  <a:gd name="connsiteY13" fmla="*/ 4783 h 10000"/>
                  <a:gd name="connsiteX14" fmla="*/ 6250 w 9423"/>
                  <a:gd name="connsiteY14" fmla="*/ 4410 h 10000"/>
                  <a:gd name="connsiteX15" fmla="*/ 5191 w 9423"/>
                  <a:gd name="connsiteY15" fmla="*/ 4099 h 10000"/>
                  <a:gd name="connsiteX16" fmla="*/ 5191 w 9423"/>
                  <a:gd name="connsiteY16" fmla="*/ 4099 h 10000"/>
                  <a:gd name="connsiteX17" fmla="*/ 5770 w 9423"/>
                  <a:gd name="connsiteY17" fmla="*/ 3727 h 10000"/>
                  <a:gd name="connsiteX18" fmla="*/ 6154 w 9423"/>
                  <a:gd name="connsiteY18" fmla="*/ 3230 h 10000"/>
                  <a:gd name="connsiteX19" fmla="*/ 6444 w 9423"/>
                  <a:gd name="connsiteY19" fmla="*/ 2671 h 10000"/>
                  <a:gd name="connsiteX20" fmla="*/ 6731 w 9423"/>
                  <a:gd name="connsiteY20" fmla="*/ 2112 h 10000"/>
                  <a:gd name="connsiteX21" fmla="*/ 6731 w 9423"/>
                  <a:gd name="connsiteY21" fmla="*/ 2112 h 10000"/>
                  <a:gd name="connsiteX22" fmla="*/ 6634 w 9423"/>
                  <a:gd name="connsiteY22" fmla="*/ 1677 h 10000"/>
                  <a:gd name="connsiteX23" fmla="*/ 6444 w 9423"/>
                  <a:gd name="connsiteY23" fmla="*/ 1242 h 10000"/>
                  <a:gd name="connsiteX24" fmla="*/ 6250 w 9423"/>
                  <a:gd name="connsiteY24" fmla="*/ 870 h 10000"/>
                  <a:gd name="connsiteX25" fmla="*/ 5865 w 9423"/>
                  <a:gd name="connsiteY25" fmla="*/ 559 h 10000"/>
                  <a:gd name="connsiteX26" fmla="*/ 5481 w 9423"/>
                  <a:gd name="connsiteY26" fmla="*/ 311 h 10000"/>
                  <a:gd name="connsiteX27" fmla="*/ 4999 w 9423"/>
                  <a:gd name="connsiteY27" fmla="*/ 186 h 10000"/>
                  <a:gd name="connsiteX28" fmla="*/ 4518 w 9423"/>
                  <a:gd name="connsiteY28" fmla="*/ 0 h 10000"/>
                  <a:gd name="connsiteX29" fmla="*/ 3942 w 9423"/>
                  <a:gd name="connsiteY29" fmla="*/ 0 h 10000"/>
                  <a:gd name="connsiteX30" fmla="*/ 3942 w 9423"/>
                  <a:gd name="connsiteY30" fmla="*/ 0 h 10000"/>
                  <a:gd name="connsiteX31" fmla="*/ 3461 w 9423"/>
                  <a:gd name="connsiteY31" fmla="*/ 0 h 10000"/>
                  <a:gd name="connsiteX32" fmla="*/ 2981 w 9423"/>
                  <a:gd name="connsiteY32" fmla="*/ 186 h 10000"/>
                  <a:gd name="connsiteX33" fmla="*/ 2500 w 9423"/>
                  <a:gd name="connsiteY33" fmla="*/ 311 h 10000"/>
                  <a:gd name="connsiteX34" fmla="*/ 2020 w 9423"/>
                  <a:gd name="connsiteY34" fmla="*/ 559 h 10000"/>
                  <a:gd name="connsiteX35" fmla="*/ 1731 w 9423"/>
                  <a:gd name="connsiteY35" fmla="*/ 870 h 10000"/>
                  <a:gd name="connsiteX36" fmla="*/ 1441 w 9423"/>
                  <a:gd name="connsiteY36" fmla="*/ 1242 h 10000"/>
                  <a:gd name="connsiteX37" fmla="*/ 1250 w 9423"/>
                  <a:gd name="connsiteY37" fmla="*/ 1677 h 10000"/>
                  <a:gd name="connsiteX38" fmla="*/ 1250 w 9423"/>
                  <a:gd name="connsiteY38" fmla="*/ 2112 h 10000"/>
                  <a:gd name="connsiteX39" fmla="*/ 1250 w 9423"/>
                  <a:gd name="connsiteY39" fmla="*/ 2112 h 10000"/>
                  <a:gd name="connsiteX40" fmla="*/ 1347 w 9423"/>
                  <a:gd name="connsiteY40" fmla="*/ 2671 h 10000"/>
                  <a:gd name="connsiteX41" fmla="*/ 1731 w 9423"/>
                  <a:gd name="connsiteY41" fmla="*/ 3230 h 10000"/>
                  <a:gd name="connsiteX42" fmla="*/ 2212 w 9423"/>
                  <a:gd name="connsiteY42" fmla="*/ 3727 h 10000"/>
                  <a:gd name="connsiteX43" fmla="*/ 2693 w 9423"/>
                  <a:gd name="connsiteY43" fmla="*/ 4099 h 10000"/>
                  <a:gd name="connsiteX44" fmla="*/ 2693 w 9423"/>
                  <a:gd name="connsiteY44" fmla="*/ 4099 h 10000"/>
                  <a:gd name="connsiteX45" fmla="*/ 1634 w 9423"/>
                  <a:gd name="connsiteY45" fmla="*/ 4410 h 10000"/>
                  <a:gd name="connsiteX46" fmla="*/ 769 w 9423"/>
                  <a:gd name="connsiteY46" fmla="*/ 4783 h 10000"/>
                  <a:gd name="connsiteX47" fmla="*/ 0 w 9423"/>
                  <a:gd name="connsiteY47" fmla="*/ 5342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9423" h="10000">
                    <a:moveTo>
                      <a:pt x="3846" y="10000"/>
                    </a:moveTo>
                    <a:lnTo>
                      <a:pt x="3846" y="10000"/>
                    </a:lnTo>
                    <a:lnTo>
                      <a:pt x="5865" y="10000"/>
                    </a:lnTo>
                    <a:lnTo>
                      <a:pt x="7693" y="9938"/>
                    </a:lnTo>
                    <a:lnTo>
                      <a:pt x="8942" y="9814"/>
                    </a:lnTo>
                    <a:lnTo>
                      <a:pt x="9327" y="9752"/>
                    </a:lnTo>
                    <a:lnTo>
                      <a:pt x="9423" y="9689"/>
                    </a:lnTo>
                    <a:lnTo>
                      <a:pt x="9423" y="9689"/>
                    </a:lnTo>
                    <a:lnTo>
                      <a:pt x="9423" y="8634"/>
                    </a:lnTo>
                    <a:cubicBezTo>
                      <a:pt x="9391" y="8323"/>
                      <a:pt x="9358" y="8013"/>
                      <a:pt x="9327" y="7702"/>
                    </a:cubicBezTo>
                    <a:lnTo>
                      <a:pt x="8942" y="6832"/>
                    </a:lnTo>
                    <a:lnTo>
                      <a:pt x="8558" y="6087"/>
                    </a:lnTo>
                    <a:lnTo>
                      <a:pt x="7981" y="5342"/>
                    </a:lnTo>
                    <a:lnTo>
                      <a:pt x="7211" y="4783"/>
                    </a:lnTo>
                    <a:lnTo>
                      <a:pt x="6250" y="4410"/>
                    </a:lnTo>
                    <a:lnTo>
                      <a:pt x="5191" y="4099"/>
                    </a:lnTo>
                    <a:lnTo>
                      <a:pt x="5191" y="4099"/>
                    </a:lnTo>
                    <a:lnTo>
                      <a:pt x="5770" y="3727"/>
                    </a:lnTo>
                    <a:lnTo>
                      <a:pt x="6154" y="3230"/>
                    </a:lnTo>
                    <a:cubicBezTo>
                      <a:pt x="6251" y="3044"/>
                      <a:pt x="6347" y="2857"/>
                      <a:pt x="6444" y="2671"/>
                    </a:cubicBezTo>
                    <a:cubicBezTo>
                      <a:pt x="6540" y="2485"/>
                      <a:pt x="6635" y="2298"/>
                      <a:pt x="6731" y="2112"/>
                    </a:cubicBezTo>
                    <a:lnTo>
                      <a:pt x="6731" y="2112"/>
                    </a:lnTo>
                    <a:cubicBezTo>
                      <a:pt x="6699" y="1967"/>
                      <a:pt x="6666" y="1822"/>
                      <a:pt x="6634" y="1677"/>
                    </a:cubicBezTo>
                    <a:cubicBezTo>
                      <a:pt x="6571" y="1532"/>
                      <a:pt x="6506" y="1387"/>
                      <a:pt x="6444" y="1242"/>
                    </a:cubicBezTo>
                    <a:lnTo>
                      <a:pt x="6250" y="870"/>
                    </a:lnTo>
                    <a:lnTo>
                      <a:pt x="5865" y="559"/>
                    </a:lnTo>
                    <a:lnTo>
                      <a:pt x="5481" y="311"/>
                    </a:lnTo>
                    <a:lnTo>
                      <a:pt x="4999" y="186"/>
                    </a:lnTo>
                    <a:lnTo>
                      <a:pt x="4518" y="0"/>
                    </a:lnTo>
                    <a:lnTo>
                      <a:pt x="3942" y="0"/>
                    </a:lnTo>
                    <a:lnTo>
                      <a:pt x="3942" y="0"/>
                    </a:lnTo>
                    <a:lnTo>
                      <a:pt x="3461" y="0"/>
                    </a:lnTo>
                    <a:lnTo>
                      <a:pt x="2981" y="186"/>
                    </a:lnTo>
                    <a:lnTo>
                      <a:pt x="2500" y="311"/>
                    </a:lnTo>
                    <a:lnTo>
                      <a:pt x="2020" y="559"/>
                    </a:lnTo>
                    <a:lnTo>
                      <a:pt x="1731" y="870"/>
                    </a:lnTo>
                    <a:lnTo>
                      <a:pt x="1441" y="1242"/>
                    </a:lnTo>
                    <a:cubicBezTo>
                      <a:pt x="1379" y="1387"/>
                      <a:pt x="1314" y="1532"/>
                      <a:pt x="1250" y="1677"/>
                    </a:cubicBezTo>
                    <a:lnTo>
                      <a:pt x="1250" y="2112"/>
                    </a:lnTo>
                    <a:lnTo>
                      <a:pt x="1250" y="2112"/>
                    </a:lnTo>
                    <a:cubicBezTo>
                      <a:pt x="1282" y="2298"/>
                      <a:pt x="1315" y="2485"/>
                      <a:pt x="1347" y="2671"/>
                    </a:cubicBezTo>
                    <a:lnTo>
                      <a:pt x="1731" y="3230"/>
                    </a:lnTo>
                    <a:lnTo>
                      <a:pt x="2212" y="3727"/>
                    </a:lnTo>
                    <a:lnTo>
                      <a:pt x="2693" y="4099"/>
                    </a:lnTo>
                    <a:lnTo>
                      <a:pt x="2693" y="4099"/>
                    </a:lnTo>
                    <a:lnTo>
                      <a:pt x="1634" y="4410"/>
                    </a:lnTo>
                    <a:lnTo>
                      <a:pt x="769" y="4783"/>
                    </a:lnTo>
                    <a:lnTo>
                      <a:pt x="0" y="5342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2" name="Freeform 897"/>
              <p:cNvSpPr>
                <a:spLocks/>
              </p:cNvSpPr>
              <p:nvPr/>
            </p:nvSpPr>
            <p:spPr bwMode="auto">
              <a:xfrm>
                <a:off x="4509658" y="4876544"/>
                <a:ext cx="181869" cy="255132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2666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52" fmla="*/ 0 w 10000"/>
                  <a:gd name="connsiteY52" fmla="*/ 9689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10000" h="10000">
                    <a:moveTo>
                      <a:pt x="4912" y="10000"/>
                    </a:moveTo>
                    <a:lnTo>
                      <a:pt x="2666" y="10000"/>
                    </a:lnTo>
                    <a:lnTo>
                      <a:pt x="6754" y="10000"/>
                    </a:lnTo>
                    <a:lnTo>
                      <a:pt x="8421" y="9938"/>
                    </a:lnTo>
                    <a:lnTo>
                      <a:pt x="9561" y="9814"/>
                    </a:lnTo>
                    <a:lnTo>
                      <a:pt x="9912" y="9752"/>
                    </a:lnTo>
                    <a:lnTo>
                      <a:pt x="10000" y="9689"/>
                    </a:lnTo>
                    <a:lnTo>
                      <a:pt x="10000" y="9689"/>
                    </a:lnTo>
                    <a:lnTo>
                      <a:pt x="10000" y="8634"/>
                    </a:lnTo>
                    <a:cubicBezTo>
                      <a:pt x="9971" y="8323"/>
                      <a:pt x="9941" y="8013"/>
                      <a:pt x="9912" y="7702"/>
                    </a:cubicBezTo>
                    <a:lnTo>
                      <a:pt x="9561" y="6832"/>
                    </a:lnTo>
                    <a:lnTo>
                      <a:pt x="9211" y="6087"/>
                    </a:lnTo>
                    <a:lnTo>
                      <a:pt x="8684" y="5342"/>
                    </a:lnTo>
                    <a:lnTo>
                      <a:pt x="7982" y="4783"/>
                    </a:lnTo>
                    <a:lnTo>
                      <a:pt x="7105" y="4410"/>
                    </a:lnTo>
                    <a:lnTo>
                      <a:pt x="6140" y="4099"/>
                    </a:lnTo>
                    <a:lnTo>
                      <a:pt x="6140" y="4099"/>
                    </a:lnTo>
                    <a:lnTo>
                      <a:pt x="6667" y="3727"/>
                    </a:lnTo>
                    <a:lnTo>
                      <a:pt x="7018" y="3230"/>
                    </a:lnTo>
                    <a:cubicBezTo>
                      <a:pt x="7106" y="3044"/>
                      <a:pt x="7193" y="2857"/>
                      <a:pt x="7281" y="2671"/>
                    </a:cubicBezTo>
                    <a:cubicBezTo>
                      <a:pt x="7369" y="2485"/>
                      <a:pt x="7456" y="2298"/>
                      <a:pt x="7544" y="2112"/>
                    </a:cubicBezTo>
                    <a:lnTo>
                      <a:pt x="7544" y="2112"/>
                    </a:lnTo>
                    <a:cubicBezTo>
                      <a:pt x="7515" y="1967"/>
                      <a:pt x="7485" y="1822"/>
                      <a:pt x="7456" y="1677"/>
                    </a:cubicBezTo>
                    <a:cubicBezTo>
                      <a:pt x="7398" y="1532"/>
                      <a:pt x="7339" y="1387"/>
                      <a:pt x="7281" y="1242"/>
                    </a:cubicBezTo>
                    <a:cubicBezTo>
                      <a:pt x="7222" y="1118"/>
                      <a:pt x="7164" y="994"/>
                      <a:pt x="7105" y="870"/>
                    </a:cubicBezTo>
                    <a:lnTo>
                      <a:pt x="6754" y="559"/>
                    </a:lnTo>
                    <a:lnTo>
                      <a:pt x="6404" y="311"/>
                    </a:lnTo>
                    <a:lnTo>
                      <a:pt x="5965" y="186"/>
                    </a:lnTo>
                    <a:lnTo>
                      <a:pt x="5526" y="0"/>
                    </a:lnTo>
                    <a:lnTo>
                      <a:pt x="5000" y="0"/>
                    </a:lnTo>
                    <a:lnTo>
                      <a:pt x="5000" y="0"/>
                    </a:lnTo>
                    <a:lnTo>
                      <a:pt x="4561" y="0"/>
                    </a:lnTo>
                    <a:lnTo>
                      <a:pt x="4123" y="186"/>
                    </a:lnTo>
                    <a:lnTo>
                      <a:pt x="3684" y="311"/>
                    </a:lnTo>
                    <a:lnTo>
                      <a:pt x="3246" y="559"/>
                    </a:lnTo>
                    <a:lnTo>
                      <a:pt x="2982" y="870"/>
                    </a:lnTo>
                    <a:lnTo>
                      <a:pt x="2719" y="1242"/>
                    </a:lnTo>
                    <a:cubicBezTo>
                      <a:pt x="2661" y="1387"/>
                      <a:pt x="2602" y="1532"/>
                      <a:pt x="2544" y="1677"/>
                    </a:cubicBezTo>
                    <a:lnTo>
                      <a:pt x="2544" y="2112"/>
                    </a:lnTo>
                    <a:lnTo>
                      <a:pt x="2544" y="2112"/>
                    </a:lnTo>
                    <a:cubicBezTo>
                      <a:pt x="2573" y="2298"/>
                      <a:pt x="2603" y="2485"/>
                      <a:pt x="2632" y="2671"/>
                    </a:cubicBezTo>
                    <a:lnTo>
                      <a:pt x="2982" y="3230"/>
                    </a:lnTo>
                    <a:lnTo>
                      <a:pt x="3421" y="3727"/>
                    </a:lnTo>
                    <a:lnTo>
                      <a:pt x="3860" y="4099"/>
                    </a:lnTo>
                    <a:lnTo>
                      <a:pt x="3860" y="4099"/>
                    </a:lnTo>
                    <a:lnTo>
                      <a:pt x="2895" y="4410"/>
                    </a:lnTo>
                    <a:lnTo>
                      <a:pt x="2105" y="4783"/>
                    </a:lnTo>
                    <a:lnTo>
                      <a:pt x="1404" y="5342"/>
                    </a:lnTo>
                    <a:lnTo>
                      <a:pt x="877" y="6087"/>
                    </a:lnTo>
                    <a:lnTo>
                      <a:pt x="439" y="6832"/>
                    </a:lnTo>
                    <a:lnTo>
                      <a:pt x="175" y="7702"/>
                    </a:lnTo>
                    <a:cubicBezTo>
                      <a:pt x="117" y="8013"/>
                      <a:pt x="58" y="8323"/>
                      <a:pt x="0" y="8634"/>
                    </a:cubicBezTo>
                    <a:lnTo>
                      <a:pt x="0" y="968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grpSp>
            <p:nvGrpSpPr>
              <p:cNvPr id="9" name="Groupe 78"/>
              <p:cNvGrpSpPr>
                <a:grpSpLocks/>
              </p:cNvGrpSpPr>
              <p:nvPr/>
            </p:nvGrpSpPr>
            <p:grpSpPr bwMode="auto">
              <a:xfrm>
                <a:off x="4430703" y="4715239"/>
                <a:ext cx="166698" cy="247657"/>
                <a:chOff x="4430703" y="4715239"/>
                <a:chExt cx="166698" cy="247657"/>
              </a:xfrm>
            </p:grpSpPr>
            <p:sp>
              <p:nvSpPr>
                <p:cNvPr id="24" name="Freeform 897"/>
                <p:cNvSpPr>
                  <a:spLocks/>
                </p:cNvSpPr>
                <p:nvPr/>
              </p:nvSpPr>
              <p:spPr bwMode="auto">
                <a:xfrm>
                  <a:off x="4431090" y="4714686"/>
                  <a:ext cx="165865" cy="248273"/>
                </a:xfrm>
                <a:custGeom>
                  <a:avLst/>
                  <a:gdLst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6754 w 10000"/>
                    <a:gd name="connsiteY2" fmla="*/ 10000 h 10000"/>
                    <a:gd name="connsiteX3" fmla="*/ 8421 w 10000"/>
                    <a:gd name="connsiteY3" fmla="*/ 9938 h 10000"/>
                    <a:gd name="connsiteX4" fmla="*/ 9561 w 10000"/>
                    <a:gd name="connsiteY4" fmla="*/ 9814 h 10000"/>
                    <a:gd name="connsiteX5" fmla="*/ 9912 w 10000"/>
                    <a:gd name="connsiteY5" fmla="*/ 9752 h 10000"/>
                    <a:gd name="connsiteX6" fmla="*/ 10000 w 10000"/>
                    <a:gd name="connsiteY6" fmla="*/ 9689 h 10000"/>
                    <a:gd name="connsiteX7" fmla="*/ 10000 w 10000"/>
                    <a:gd name="connsiteY7" fmla="*/ 9689 h 10000"/>
                    <a:gd name="connsiteX8" fmla="*/ 10000 w 10000"/>
                    <a:gd name="connsiteY8" fmla="*/ 8634 h 10000"/>
                    <a:gd name="connsiteX9" fmla="*/ 9912 w 10000"/>
                    <a:gd name="connsiteY9" fmla="*/ 7702 h 10000"/>
                    <a:gd name="connsiteX10" fmla="*/ 9561 w 10000"/>
                    <a:gd name="connsiteY10" fmla="*/ 6832 h 10000"/>
                    <a:gd name="connsiteX11" fmla="*/ 9211 w 10000"/>
                    <a:gd name="connsiteY11" fmla="*/ 6087 h 10000"/>
                    <a:gd name="connsiteX12" fmla="*/ 8684 w 10000"/>
                    <a:gd name="connsiteY12" fmla="*/ 5342 h 10000"/>
                    <a:gd name="connsiteX13" fmla="*/ 7982 w 10000"/>
                    <a:gd name="connsiteY13" fmla="*/ 4783 h 10000"/>
                    <a:gd name="connsiteX14" fmla="*/ 7105 w 10000"/>
                    <a:gd name="connsiteY14" fmla="*/ 4410 h 10000"/>
                    <a:gd name="connsiteX15" fmla="*/ 6140 w 10000"/>
                    <a:gd name="connsiteY15" fmla="*/ 4099 h 10000"/>
                    <a:gd name="connsiteX16" fmla="*/ 6140 w 10000"/>
                    <a:gd name="connsiteY16" fmla="*/ 4099 h 10000"/>
                    <a:gd name="connsiteX17" fmla="*/ 6667 w 10000"/>
                    <a:gd name="connsiteY17" fmla="*/ 3727 h 10000"/>
                    <a:gd name="connsiteX18" fmla="*/ 7018 w 10000"/>
                    <a:gd name="connsiteY18" fmla="*/ 3230 h 10000"/>
                    <a:gd name="connsiteX19" fmla="*/ 7281 w 10000"/>
                    <a:gd name="connsiteY19" fmla="*/ 2671 h 10000"/>
                    <a:gd name="connsiteX20" fmla="*/ 7544 w 10000"/>
                    <a:gd name="connsiteY20" fmla="*/ 2112 h 10000"/>
                    <a:gd name="connsiteX21" fmla="*/ 7544 w 10000"/>
                    <a:gd name="connsiteY21" fmla="*/ 2112 h 10000"/>
                    <a:gd name="connsiteX22" fmla="*/ 7456 w 10000"/>
                    <a:gd name="connsiteY22" fmla="*/ 1677 h 10000"/>
                    <a:gd name="connsiteX23" fmla="*/ 7281 w 10000"/>
                    <a:gd name="connsiteY23" fmla="*/ 1242 h 10000"/>
                    <a:gd name="connsiteX24" fmla="*/ 7105 w 10000"/>
                    <a:gd name="connsiteY24" fmla="*/ 870 h 10000"/>
                    <a:gd name="connsiteX25" fmla="*/ 6754 w 10000"/>
                    <a:gd name="connsiteY25" fmla="*/ 559 h 10000"/>
                    <a:gd name="connsiteX26" fmla="*/ 6404 w 10000"/>
                    <a:gd name="connsiteY26" fmla="*/ 311 h 10000"/>
                    <a:gd name="connsiteX27" fmla="*/ 5965 w 10000"/>
                    <a:gd name="connsiteY27" fmla="*/ 186 h 10000"/>
                    <a:gd name="connsiteX28" fmla="*/ 5526 w 10000"/>
                    <a:gd name="connsiteY28" fmla="*/ 0 h 10000"/>
                    <a:gd name="connsiteX29" fmla="*/ 5000 w 10000"/>
                    <a:gd name="connsiteY29" fmla="*/ 0 h 10000"/>
                    <a:gd name="connsiteX30" fmla="*/ 5000 w 10000"/>
                    <a:gd name="connsiteY30" fmla="*/ 0 h 10000"/>
                    <a:gd name="connsiteX31" fmla="*/ 4561 w 10000"/>
                    <a:gd name="connsiteY31" fmla="*/ 0 h 10000"/>
                    <a:gd name="connsiteX32" fmla="*/ 4123 w 10000"/>
                    <a:gd name="connsiteY32" fmla="*/ 186 h 10000"/>
                    <a:gd name="connsiteX33" fmla="*/ 3684 w 10000"/>
                    <a:gd name="connsiteY33" fmla="*/ 311 h 10000"/>
                    <a:gd name="connsiteX34" fmla="*/ 3246 w 10000"/>
                    <a:gd name="connsiteY34" fmla="*/ 559 h 10000"/>
                    <a:gd name="connsiteX35" fmla="*/ 2982 w 10000"/>
                    <a:gd name="connsiteY35" fmla="*/ 870 h 10000"/>
                    <a:gd name="connsiteX36" fmla="*/ 2719 w 10000"/>
                    <a:gd name="connsiteY36" fmla="*/ 1242 h 10000"/>
                    <a:gd name="connsiteX37" fmla="*/ 2544 w 10000"/>
                    <a:gd name="connsiteY37" fmla="*/ 1677 h 10000"/>
                    <a:gd name="connsiteX38" fmla="*/ 2544 w 10000"/>
                    <a:gd name="connsiteY38" fmla="*/ 2112 h 10000"/>
                    <a:gd name="connsiteX39" fmla="*/ 2544 w 10000"/>
                    <a:gd name="connsiteY39" fmla="*/ 2112 h 10000"/>
                    <a:gd name="connsiteX40" fmla="*/ 2632 w 10000"/>
                    <a:gd name="connsiteY40" fmla="*/ 2671 h 10000"/>
                    <a:gd name="connsiteX41" fmla="*/ 2982 w 10000"/>
                    <a:gd name="connsiteY41" fmla="*/ 3230 h 10000"/>
                    <a:gd name="connsiteX42" fmla="*/ 3421 w 10000"/>
                    <a:gd name="connsiteY42" fmla="*/ 3727 h 10000"/>
                    <a:gd name="connsiteX43" fmla="*/ 3860 w 10000"/>
                    <a:gd name="connsiteY43" fmla="*/ 4099 h 10000"/>
                    <a:gd name="connsiteX44" fmla="*/ 3860 w 10000"/>
                    <a:gd name="connsiteY44" fmla="*/ 4099 h 10000"/>
                    <a:gd name="connsiteX45" fmla="*/ 2895 w 10000"/>
                    <a:gd name="connsiteY45" fmla="*/ 4410 h 10000"/>
                    <a:gd name="connsiteX46" fmla="*/ 2105 w 10000"/>
                    <a:gd name="connsiteY46" fmla="*/ 4783 h 10000"/>
                    <a:gd name="connsiteX47" fmla="*/ 1404 w 10000"/>
                    <a:gd name="connsiteY47" fmla="*/ 5342 h 10000"/>
                    <a:gd name="connsiteX48" fmla="*/ 877 w 10000"/>
                    <a:gd name="connsiteY48" fmla="*/ 6087 h 10000"/>
                    <a:gd name="connsiteX49" fmla="*/ 439 w 10000"/>
                    <a:gd name="connsiteY49" fmla="*/ 6832 h 10000"/>
                    <a:gd name="connsiteX50" fmla="*/ 175 w 10000"/>
                    <a:gd name="connsiteY50" fmla="*/ 7702 h 10000"/>
                    <a:gd name="connsiteX51" fmla="*/ 0 w 10000"/>
                    <a:gd name="connsiteY51" fmla="*/ 8634 h 10000"/>
                    <a:gd name="connsiteX52" fmla="*/ 0 w 10000"/>
                    <a:gd name="connsiteY52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8421 w 10000"/>
                    <a:gd name="connsiteY2" fmla="*/ 9938 h 10000"/>
                    <a:gd name="connsiteX3" fmla="*/ 9561 w 10000"/>
                    <a:gd name="connsiteY3" fmla="*/ 9814 h 10000"/>
                    <a:gd name="connsiteX4" fmla="*/ 9912 w 10000"/>
                    <a:gd name="connsiteY4" fmla="*/ 9752 h 10000"/>
                    <a:gd name="connsiteX5" fmla="*/ 10000 w 10000"/>
                    <a:gd name="connsiteY5" fmla="*/ 9689 h 10000"/>
                    <a:gd name="connsiteX6" fmla="*/ 10000 w 10000"/>
                    <a:gd name="connsiteY6" fmla="*/ 9689 h 10000"/>
                    <a:gd name="connsiteX7" fmla="*/ 10000 w 10000"/>
                    <a:gd name="connsiteY7" fmla="*/ 8634 h 10000"/>
                    <a:gd name="connsiteX8" fmla="*/ 9912 w 10000"/>
                    <a:gd name="connsiteY8" fmla="*/ 7702 h 10000"/>
                    <a:gd name="connsiteX9" fmla="*/ 9561 w 10000"/>
                    <a:gd name="connsiteY9" fmla="*/ 6832 h 10000"/>
                    <a:gd name="connsiteX10" fmla="*/ 9211 w 10000"/>
                    <a:gd name="connsiteY10" fmla="*/ 6087 h 10000"/>
                    <a:gd name="connsiteX11" fmla="*/ 8684 w 10000"/>
                    <a:gd name="connsiteY11" fmla="*/ 5342 h 10000"/>
                    <a:gd name="connsiteX12" fmla="*/ 7982 w 10000"/>
                    <a:gd name="connsiteY12" fmla="*/ 4783 h 10000"/>
                    <a:gd name="connsiteX13" fmla="*/ 7105 w 10000"/>
                    <a:gd name="connsiteY13" fmla="*/ 4410 h 10000"/>
                    <a:gd name="connsiteX14" fmla="*/ 6140 w 10000"/>
                    <a:gd name="connsiteY14" fmla="*/ 4099 h 10000"/>
                    <a:gd name="connsiteX15" fmla="*/ 6140 w 10000"/>
                    <a:gd name="connsiteY15" fmla="*/ 4099 h 10000"/>
                    <a:gd name="connsiteX16" fmla="*/ 6667 w 10000"/>
                    <a:gd name="connsiteY16" fmla="*/ 3727 h 10000"/>
                    <a:gd name="connsiteX17" fmla="*/ 7018 w 10000"/>
                    <a:gd name="connsiteY17" fmla="*/ 3230 h 10000"/>
                    <a:gd name="connsiteX18" fmla="*/ 7281 w 10000"/>
                    <a:gd name="connsiteY18" fmla="*/ 2671 h 10000"/>
                    <a:gd name="connsiteX19" fmla="*/ 7544 w 10000"/>
                    <a:gd name="connsiteY19" fmla="*/ 2112 h 10000"/>
                    <a:gd name="connsiteX20" fmla="*/ 7544 w 10000"/>
                    <a:gd name="connsiteY20" fmla="*/ 2112 h 10000"/>
                    <a:gd name="connsiteX21" fmla="*/ 7456 w 10000"/>
                    <a:gd name="connsiteY21" fmla="*/ 1677 h 10000"/>
                    <a:gd name="connsiteX22" fmla="*/ 7281 w 10000"/>
                    <a:gd name="connsiteY22" fmla="*/ 1242 h 10000"/>
                    <a:gd name="connsiteX23" fmla="*/ 7105 w 10000"/>
                    <a:gd name="connsiteY23" fmla="*/ 870 h 10000"/>
                    <a:gd name="connsiteX24" fmla="*/ 6754 w 10000"/>
                    <a:gd name="connsiteY24" fmla="*/ 559 h 10000"/>
                    <a:gd name="connsiteX25" fmla="*/ 6404 w 10000"/>
                    <a:gd name="connsiteY25" fmla="*/ 311 h 10000"/>
                    <a:gd name="connsiteX26" fmla="*/ 5965 w 10000"/>
                    <a:gd name="connsiteY26" fmla="*/ 186 h 10000"/>
                    <a:gd name="connsiteX27" fmla="*/ 5526 w 10000"/>
                    <a:gd name="connsiteY27" fmla="*/ 0 h 10000"/>
                    <a:gd name="connsiteX28" fmla="*/ 5000 w 10000"/>
                    <a:gd name="connsiteY28" fmla="*/ 0 h 10000"/>
                    <a:gd name="connsiteX29" fmla="*/ 5000 w 10000"/>
                    <a:gd name="connsiteY29" fmla="*/ 0 h 10000"/>
                    <a:gd name="connsiteX30" fmla="*/ 4561 w 10000"/>
                    <a:gd name="connsiteY30" fmla="*/ 0 h 10000"/>
                    <a:gd name="connsiteX31" fmla="*/ 4123 w 10000"/>
                    <a:gd name="connsiteY31" fmla="*/ 186 h 10000"/>
                    <a:gd name="connsiteX32" fmla="*/ 3684 w 10000"/>
                    <a:gd name="connsiteY32" fmla="*/ 311 h 10000"/>
                    <a:gd name="connsiteX33" fmla="*/ 3246 w 10000"/>
                    <a:gd name="connsiteY33" fmla="*/ 559 h 10000"/>
                    <a:gd name="connsiteX34" fmla="*/ 2982 w 10000"/>
                    <a:gd name="connsiteY34" fmla="*/ 870 h 10000"/>
                    <a:gd name="connsiteX35" fmla="*/ 2719 w 10000"/>
                    <a:gd name="connsiteY35" fmla="*/ 1242 h 10000"/>
                    <a:gd name="connsiteX36" fmla="*/ 2544 w 10000"/>
                    <a:gd name="connsiteY36" fmla="*/ 1677 h 10000"/>
                    <a:gd name="connsiteX37" fmla="*/ 2544 w 10000"/>
                    <a:gd name="connsiteY37" fmla="*/ 2112 h 10000"/>
                    <a:gd name="connsiteX38" fmla="*/ 2544 w 10000"/>
                    <a:gd name="connsiteY38" fmla="*/ 2112 h 10000"/>
                    <a:gd name="connsiteX39" fmla="*/ 2632 w 10000"/>
                    <a:gd name="connsiteY39" fmla="*/ 2671 h 10000"/>
                    <a:gd name="connsiteX40" fmla="*/ 2982 w 10000"/>
                    <a:gd name="connsiteY40" fmla="*/ 3230 h 10000"/>
                    <a:gd name="connsiteX41" fmla="*/ 3421 w 10000"/>
                    <a:gd name="connsiteY41" fmla="*/ 3727 h 10000"/>
                    <a:gd name="connsiteX42" fmla="*/ 3860 w 10000"/>
                    <a:gd name="connsiteY42" fmla="*/ 4099 h 10000"/>
                    <a:gd name="connsiteX43" fmla="*/ 3860 w 10000"/>
                    <a:gd name="connsiteY43" fmla="*/ 4099 h 10000"/>
                    <a:gd name="connsiteX44" fmla="*/ 2895 w 10000"/>
                    <a:gd name="connsiteY44" fmla="*/ 4410 h 10000"/>
                    <a:gd name="connsiteX45" fmla="*/ 2105 w 10000"/>
                    <a:gd name="connsiteY45" fmla="*/ 4783 h 10000"/>
                    <a:gd name="connsiteX46" fmla="*/ 1404 w 10000"/>
                    <a:gd name="connsiteY46" fmla="*/ 5342 h 10000"/>
                    <a:gd name="connsiteX47" fmla="*/ 877 w 10000"/>
                    <a:gd name="connsiteY47" fmla="*/ 6087 h 10000"/>
                    <a:gd name="connsiteX48" fmla="*/ 439 w 10000"/>
                    <a:gd name="connsiteY48" fmla="*/ 6832 h 10000"/>
                    <a:gd name="connsiteX49" fmla="*/ 175 w 10000"/>
                    <a:gd name="connsiteY49" fmla="*/ 7702 h 10000"/>
                    <a:gd name="connsiteX50" fmla="*/ 0 w 10000"/>
                    <a:gd name="connsiteY50" fmla="*/ 8634 h 10000"/>
                    <a:gd name="connsiteX51" fmla="*/ 0 w 10000"/>
                    <a:gd name="connsiteY51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9561 w 10000"/>
                    <a:gd name="connsiteY2" fmla="*/ 9814 h 10000"/>
                    <a:gd name="connsiteX3" fmla="*/ 9912 w 10000"/>
                    <a:gd name="connsiteY3" fmla="*/ 9752 h 10000"/>
                    <a:gd name="connsiteX4" fmla="*/ 10000 w 10000"/>
                    <a:gd name="connsiteY4" fmla="*/ 9689 h 10000"/>
                    <a:gd name="connsiteX5" fmla="*/ 10000 w 10000"/>
                    <a:gd name="connsiteY5" fmla="*/ 9689 h 10000"/>
                    <a:gd name="connsiteX6" fmla="*/ 10000 w 10000"/>
                    <a:gd name="connsiteY6" fmla="*/ 8634 h 10000"/>
                    <a:gd name="connsiteX7" fmla="*/ 9912 w 10000"/>
                    <a:gd name="connsiteY7" fmla="*/ 7702 h 10000"/>
                    <a:gd name="connsiteX8" fmla="*/ 9561 w 10000"/>
                    <a:gd name="connsiteY8" fmla="*/ 6832 h 10000"/>
                    <a:gd name="connsiteX9" fmla="*/ 9211 w 10000"/>
                    <a:gd name="connsiteY9" fmla="*/ 6087 h 10000"/>
                    <a:gd name="connsiteX10" fmla="*/ 8684 w 10000"/>
                    <a:gd name="connsiteY10" fmla="*/ 5342 h 10000"/>
                    <a:gd name="connsiteX11" fmla="*/ 7982 w 10000"/>
                    <a:gd name="connsiteY11" fmla="*/ 4783 h 10000"/>
                    <a:gd name="connsiteX12" fmla="*/ 7105 w 10000"/>
                    <a:gd name="connsiteY12" fmla="*/ 4410 h 10000"/>
                    <a:gd name="connsiteX13" fmla="*/ 6140 w 10000"/>
                    <a:gd name="connsiteY13" fmla="*/ 4099 h 10000"/>
                    <a:gd name="connsiteX14" fmla="*/ 6140 w 10000"/>
                    <a:gd name="connsiteY14" fmla="*/ 4099 h 10000"/>
                    <a:gd name="connsiteX15" fmla="*/ 6667 w 10000"/>
                    <a:gd name="connsiteY15" fmla="*/ 3727 h 10000"/>
                    <a:gd name="connsiteX16" fmla="*/ 7018 w 10000"/>
                    <a:gd name="connsiteY16" fmla="*/ 3230 h 10000"/>
                    <a:gd name="connsiteX17" fmla="*/ 7281 w 10000"/>
                    <a:gd name="connsiteY17" fmla="*/ 2671 h 10000"/>
                    <a:gd name="connsiteX18" fmla="*/ 7544 w 10000"/>
                    <a:gd name="connsiteY18" fmla="*/ 2112 h 10000"/>
                    <a:gd name="connsiteX19" fmla="*/ 7544 w 10000"/>
                    <a:gd name="connsiteY19" fmla="*/ 2112 h 10000"/>
                    <a:gd name="connsiteX20" fmla="*/ 7456 w 10000"/>
                    <a:gd name="connsiteY20" fmla="*/ 1677 h 10000"/>
                    <a:gd name="connsiteX21" fmla="*/ 7281 w 10000"/>
                    <a:gd name="connsiteY21" fmla="*/ 1242 h 10000"/>
                    <a:gd name="connsiteX22" fmla="*/ 7105 w 10000"/>
                    <a:gd name="connsiteY22" fmla="*/ 870 h 10000"/>
                    <a:gd name="connsiteX23" fmla="*/ 6754 w 10000"/>
                    <a:gd name="connsiteY23" fmla="*/ 559 h 10000"/>
                    <a:gd name="connsiteX24" fmla="*/ 6404 w 10000"/>
                    <a:gd name="connsiteY24" fmla="*/ 311 h 10000"/>
                    <a:gd name="connsiteX25" fmla="*/ 5965 w 10000"/>
                    <a:gd name="connsiteY25" fmla="*/ 186 h 10000"/>
                    <a:gd name="connsiteX26" fmla="*/ 5526 w 10000"/>
                    <a:gd name="connsiteY26" fmla="*/ 0 h 10000"/>
                    <a:gd name="connsiteX27" fmla="*/ 5000 w 10000"/>
                    <a:gd name="connsiteY27" fmla="*/ 0 h 10000"/>
                    <a:gd name="connsiteX28" fmla="*/ 5000 w 10000"/>
                    <a:gd name="connsiteY28" fmla="*/ 0 h 10000"/>
                    <a:gd name="connsiteX29" fmla="*/ 4561 w 10000"/>
                    <a:gd name="connsiteY29" fmla="*/ 0 h 10000"/>
                    <a:gd name="connsiteX30" fmla="*/ 4123 w 10000"/>
                    <a:gd name="connsiteY30" fmla="*/ 186 h 10000"/>
                    <a:gd name="connsiteX31" fmla="*/ 3684 w 10000"/>
                    <a:gd name="connsiteY31" fmla="*/ 311 h 10000"/>
                    <a:gd name="connsiteX32" fmla="*/ 3246 w 10000"/>
                    <a:gd name="connsiteY32" fmla="*/ 559 h 10000"/>
                    <a:gd name="connsiteX33" fmla="*/ 2982 w 10000"/>
                    <a:gd name="connsiteY33" fmla="*/ 870 h 10000"/>
                    <a:gd name="connsiteX34" fmla="*/ 2719 w 10000"/>
                    <a:gd name="connsiteY34" fmla="*/ 1242 h 10000"/>
                    <a:gd name="connsiteX35" fmla="*/ 2544 w 10000"/>
                    <a:gd name="connsiteY35" fmla="*/ 1677 h 10000"/>
                    <a:gd name="connsiteX36" fmla="*/ 2544 w 10000"/>
                    <a:gd name="connsiteY36" fmla="*/ 2112 h 10000"/>
                    <a:gd name="connsiteX37" fmla="*/ 2544 w 10000"/>
                    <a:gd name="connsiteY37" fmla="*/ 2112 h 10000"/>
                    <a:gd name="connsiteX38" fmla="*/ 2632 w 10000"/>
                    <a:gd name="connsiteY38" fmla="*/ 2671 h 10000"/>
                    <a:gd name="connsiteX39" fmla="*/ 2982 w 10000"/>
                    <a:gd name="connsiteY39" fmla="*/ 3230 h 10000"/>
                    <a:gd name="connsiteX40" fmla="*/ 3421 w 10000"/>
                    <a:gd name="connsiteY40" fmla="*/ 3727 h 10000"/>
                    <a:gd name="connsiteX41" fmla="*/ 3860 w 10000"/>
                    <a:gd name="connsiteY41" fmla="*/ 4099 h 10000"/>
                    <a:gd name="connsiteX42" fmla="*/ 3860 w 10000"/>
                    <a:gd name="connsiteY42" fmla="*/ 4099 h 10000"/>
                    <a:gd name="connsiteX43" fmla="*/ 2895 w 10000"/>
                    <a:gd name="connsiteY43" fmla="*/ 4410 h 10000"/>
                    <a:gd name="connsiteX44" fmla="*/ 2105 w 10000"/>
                    <a:gd name="connsiteY44" fmla="*/ 4783 h 10000"/>
                    <a:gd name="connsiteX45" fmla="*/ 1404 w 10000"/>
                    <a:gd name="connsiteY45" fmla="*/ 5342 h 10000"/>
                    <a:gd name="connsiteX46" fmla="*/ 877 w 10000"/>
                    <a:gd name="connsiteY46" fmla="*/ 6087 h 10000"/>
                    <a:gd name="connsiteX47" fmla="*/ 439 w 10000"/>
                    <a:gd name="connsiteY47" fmla="*/ 6832 h 10000"/>
                    <a:gd name="connsiteX48" fmla="*/ 175 w 10000"/>
                    <a:gd name="connsiteY48" fmla="*/ 7702 h 10000"/>
                    <a:gd name="connsiteX49" fmla="*/ 0 w 10000"/>
                    <a:gd name="connsiteY49" fmla="*/ 8634 h 10000"/>
                    <a:gd name="connsiteX50" fmla="*/ 0 w 10000"/>
                    <a:gd name="connsiteY50" fmla="*/ 9689 h 10000"/>
                    <a:gd name="connsiteX0" fmla="*/ 4912 w 10000"/>
                    <a:gd name="connsiteY0" fmla="*/ 10000 h 10000"/>
                    <a:gd name="connsiteX1" fmla="*/ 9561 w 10000"/>
                    <a:gd name="connsiteY1" fmla="*/ 9814 h 10000"/>
                    <a:gd name="connsiteX2" fmla="*/ 9912 w 10000"/>
                    <a:gd name="connsiteY2" fmla="*/ 9752 h 10000"/>
                    <a:gd name="connsiteX3" fmla="*/ 10000 w 10000"/>
                    <a:gd name="connsiteY3" fmla="*/ 9689 h 10000"/>
                    <a:gd name="connsiteX4" fmla="*/ 10000 w 10000"/>
                    <a:gd name="connsiteY4" fmla="*/ 9689 h 10000"/>
                    <a:gd name="connsiteX5" fmla="*/ 10000 w 10000"/>
                    <a:gd name="connsiteY5" fmla="*/ 8634 h 10000"/>
                    <a:gd name="connsiteX6" fmla="*/ 9912 w 10000"/>
                    <a:gd name="connsiteY6" fmla="*/ 7702 h 10000"/>
                    <a:gd name="connsiteX7" fmla="*/ 9561 w 10000"/>
                    <a:gd name="connsiteY7" fmla="*/ 6832 h 10000"/>
                    <a:gd name="connsiteX8" fmla="*/ 9211 w 10000"/>
                    <a:gd name="connsiteY8" fmla="*/ 6087 h 10000"/>
                    <a:gd name="connsiteX9" fmla="*/ 8684 w 10000"/>
                    <a:gd name="connsiteY9" fmla="*/ 5342 h 10000"/>
                    <a:gd name="connsiteX10" fmla="*/ 7982 w 10000"/>
                    <a:gd name="connsiteY10" fmla="*/ 4783 h 10000"/>
                    <a:gd name="connsiteX11" fmla="*/ 7105 w 10000"/>
                    <a:gd name="connsiteY11" fmla="*/ 4410 h 10000"/>
                    <a:gd name="connsiteX12" fmla="*/ 6140 w 10000"/>
                    <a:gd name="connsiteY12" fmla="*/ 4099 h 10000"/>
                    <a:gd name="connsiteX13" fmla="*/ 6140 w 10000"/>
                    <a:gd name="connsiteY13" fmla="*/ 4099 h 10000"/>
                    <a:gd name="connsiteX14" fmla="*/ 6667 w 10000"/>
                    <a:gd name="connsiteY14" fmla="*/ 3727 h 10000"/>
                    <a:gd name="connsiteX15" fmla="*/ 7018 w 10000"/>
                    <a:gd name="connsiteY15" fmla="*/ 3230 h 10000"/>
                    <a:gd name="connsiteX16" fmla="*/ 7281 w 10000"/>
                    <a:gd name="connsiteY16" fmla="*/ 2671 h 10000"/>
                    <a:gd name="connsiteX17" fmla="*/ 7544 w 10000"/>
                    <a:gd name="connsiteY17" fmla="*/ 2112 h 10000"/>
                    <a:gd name="connsiteX18" fmla="*/ 7544 w 10000"/>
                    <a:gd name="connsiteY18" fmla="*/ 2112 h 10000"/>
                    <a:gd name="connsiteX19" fmla="*/ 7456 w 10000"/>
                    <a:gd name="connsiteY19" fmla="*/ 1677 h 10000"/>
                    <a:gd name="connsiteX20" fmla="*/ 7281 w 10000"/>
                    <a:gd name="connsiteY20" fmla="*/ 1242 h 10000"/>
                    <a:gd name="connsiteX21" fmla="*/ 7105 w 10000"/>
                    <a:gd name="connsiteY21" fmla="*/ 870 h 10000"/>
                    <a:gd name="connsiteX22" fmla="*/ 6754 w 10000"/>
                    <a:gd name="connsiteY22" fmla="*/ 559 h 10000"/>
                    <a:gd name="connsiteX23" fmla="*/ 6404 w 10000"/>
                    <a:gd name="connsiteY23" fmla="*/ 311 h 10000"/>
                    <a:gd name="connsiteX24" fmla="*/ 5965 w 10000"/>
                    <a:gd name="connsiteY24" fmla="*/ 186 h 10000"/>
                    <a:gd name="connsiteX25" fmla="*/ 5526 w 10000"/>
                    <a:gd name="connsiteY25" fmla="*/ 0 h 10000"/>
                    <a:gd name="connsiteX26" fmla="*/ 5000 w 10000"/>
                    <a:gd name="connsiteY26" fmla="*/ 0 h 10000"/>
                    <a:gd name="connsiteX27" fmla="*/ 5000 w 10000"/>
                    <a:gd name="connsiteY27" fmla="*/ 0 h 10000"/>
                    <a:gd name="connsiteX28" fmla="*/ 4561 w 10000"/>
                    <a:gd name="connsiteY28" fmla="*/ 0 h 10000"/>
                    <a:gd name="connsiteX29" fmla="*/ 4123 w 10000"/>
                    <a:gd name="connsiteY29" fmla="*/ 186 h 10000"/>
                    <a:gd name="connsiteX30" fmla="*/ 3684 w 10000"/>
                    <a:gd name="connsiteY30" fmla="*/ 311 h 10000"/>
                    <a:gd name="connsiteX31" fmla="*/ 3246 w 10000"/>
                    <a:gd name="connsiteY31" fmla="*/ 559 h 10000"/>
                    <a:gd name="connsiteX32" fmla="*/ 2982 w 10000"/>
                    <a:gd name="connsiteY32" fmla="*/ 870 h 10000"/>
                    <a:gd name="connsiteX33" fmla="*/ 2719 w 10000"/>
                    <a:gd name="connsiteY33" fmla="*/ 1242 h 10000"/>
                    <a:gd name="connsiteX34" fmla="*/ 2544 w 10000"/>
                    <a:gd name="connsiteY34" fmla="*/ 1677 h 10000"/>
                    <a:gd name="connsiteX35" fmla="*/ 2544 w 10000"/>
                    <a:gd name="connsiteY35" fmla="*/ 2112 h 10000"/>
                    <a:gd name="connsiteX36" fmla="*/ 2544 w 10000"/>
                    <a:gd name="connsiteY36" fmla="*/ 2112 h 10000"/>
                    <a:gd name="connsiteX37" fmla="*/ 2632 w 10000"/>
                    <a:gd name="connsiteY37" fmla="*/ 2671 h 10000"/>
                    <a:gd name="connsiteX38" fmla="*/ 2982 w 10000"/>
                    <a:gd name="connsiteY38" fmla="*/ 3230 h 10000"/>
                    <a:gd name="connsiteX39" fmla="*/ 3421 w 10000"/>
                    <a:gd name="connsiteY39" fmla="*/ 3727 h 10000"/>
                    <a:gd name="connsiteX40" fmla="*/ 3860 w 10000"/>
                    <a:gd name="connsiteY40" fmla="*/ 4099 h 10000"/>
                    <a:gd name="connsiteX41" fmla="*/ 3860 w 10000"/>
                    <a:gd name="connsiteY41" fmla="*/ 4099 h 10000"/>
                    <a:gd name="connsiteX42" fmla="*/ 2895 w 10000"/>
                    <a:gd name="connsiteY42" fmla="*/ 4410 h 10000"/>
                    <a:gd name="connsiteX43" fmla="*/ 2105 w 10000"/>
                    <a:gd name="connsiteY43" fmla="*/ 4783 h 10000"/>
                    <a:gd name="connsiteX44" fmla="*/ 1404 w 10000"/>
                    <a:gd name="connsiteY44" fmla="*/ 5342 h 10000"/>
                    <a:gd name="connsiteX45" fmla="*/ 877 w 10000"/>
                    <a:gd name="connsiteY45" fmla="*/ 6087 h 10000"/>
                    <a:gd name="connsiteX46" fmla="*/ 439 w 10000"/>
                    <a:gd name="connsiteY46" fmla="*/ 6832 h 10000"/>
                    <a:gd name="connsiteX47" fmla="*/ 175 w 10000"/>
                    <a:gd name="connsiteY47" fmla="*/ 7702 h 10000"/>
                    <a:gd name="connsiteX48" fmla="*/ 0 w 10000"/>
                    <a:gd name="connsiteY48" fmla="*/ 8634 h 10000"/>
                    <a:gd name="connsiteX49" fmla="*/ 0 w 10000"/>
                    <a:gd name="connsiteY49" fmla="*/ 9689 h 10000"/>
                    <a:gd name="connsiteX0" fmla="*/ 9561 w 10000"/>
                    <a:gd name="connsiteY0" fmla="*/ 9814 h 9814"/>
                    <a:gd name="connsiteX1" fmla="*/ 9912 w 10000"/>
                    <a:gd name="connsiteY1" fmla="*/ 9752 h 9814"/>
                    <a:gd name="connsiteX2" fmla="*/ 10000 w 10000"/>
                    <a:gd name="connsiteY2" fmla="*/ 9689 h 9814"/>
                    <a:gd name="connsiteX3" fmla="*/ 10000 w 10000"/>
                    <a:gd name="connsiteY3" fmla="*/ 9689 h 9814"/>
                    <a:gd name="connsiteX4" fmla="*/ 10000 w 10000"/>
                    <a:gd name="connsiteY4" fmla="*/ 8634 h 9814"/>
                    <a:gd name="connsiteX5" fmla="*/ 9912 w 10000"/>
                    <a:gd name="connsiteY5" fmla="*/ 7702 h 9814"/>
                    <a:gd name="connsiteX6" fmla="*/ 9561 w 10000"/>
                    <a:gd name="connsiteY6" fmla="*/ 6832 h 9814"/>
                    <a:gd name="connsiteX7" fmla="*/ 9211 w 10000"/>
                    <a:gd name="connsiteY7" fmla="*/ 6087 h 9814"/>
                    <a:gd name="connsiteX8" fmla="*/ 8684 w 10000"/>
                    <a:gd name="connsiteY8" fmla="*/ 5342 h 9814"/>
                    <a:gd name="connsiteX9" fmla="*/ 7982 w 10000"/>
                    <a:gd name="connsiteY9" fmla="*/ 4783 h 9814"/>
                    <a:gd name="connsiteX10" fmla="*/ 7105 w 10000"/>
                    <a:gd name="connsiteY10" fmla="*/ 4410 h 9814"/>
                    <a:gd name="connsiteX11" fmla="*/ 6140 w 10000"/>
                    <a:gd name="connsiteY11" fmla="*/ 4099 h 9814"/>
                    <a:gd name="connsiteX12" fmla="*/ 6140 w 10000"/>
                    <a:gd name="connsiteY12" fmla="*/ 4099 h 9814"/>
                    <a:gd name="connsiteX13" fmla="*/ 6667 w 10000"/>
                    <a:gd name="connsiteY13" fmla="*/ 3727 h 9814"/>
                    <a:gd name="connsiteX14" fmla="*/ 7018 w 10000"/>
                    <a:gd name="connsiteY14" fmla="*/ 3230 h 9814"/>
                    <a:gd name="connsiteX15" fmla="*/ 7281 w 10000"/>
                    <a:gd name="connsiteY15" fmla="*/ 2671 h 9814"/>
                    <a:gd name="connsiteX16" fmla="*/ 7544 w 10000"/>
                    <a:gd name="connsiteY16" fmla="*/ 2112 h 9814"/>
                    <a:gd name="connsiteX17" fmla="*/ 7544 w 10000"/>
                    <a:gd name="connsiteY17" fmla="*/ 2112 h 9814"/>
                    <a:gd name="connsiteX18" fmla="*/ 7456 w 10000"/>
                    <a:gd name="connsiteY18" fmla="*/ 1677 h 9814"/>
                    <a:gd name="connsiteX19" fmla="*/ 7281 w 10000"/>
                    <a:gd name="connsiteY19" fmla="*/ 1242 h 9814"/>
                    <a:gd name="connsiteX20" fmla="*/ 7105 w 10000"/>
                    <a:gd name="connsiteY20" fmla="*/ 870 h 9814"/>
                    <a:gd name="connsiteX21" fmla="*/ 6754 w 10000"/>
                    <a:gd name="connsiteY21" fmla="*/ 559 h 9814"/>
                    <a:gd name="connsiteX22" fmla="*/ 6404 w 10000"/>
                    <a:gd name="connsiteY22" fmla="*/ 311 h 9814"/>
                    <a:gd name="connsiteX23" fmla="*/ 5965 w 10000"/>
                    <a:gd name="connsiteY23" fmla="*/ 186 h 9814"/>
                    <a:gd name="connsiteX24" fmla="*/ 5526 w 10000"/>
                    <a:gd name="connsiteY24" fmla="*/ 0 h 9814"/>
                    <a:gd name="connsiteX25" fmla="*/ 5000 w 10000"/>
                    <a:gd name="connsiteY25" fmla="*/ 0 h 9814"/>
                    <a:gd name="connsiteX26" fmla="*/ 5000 w 10000"/>
                    <a:gd name="connsiteY26" fmla="*/ 0 h 9814"/>
                    <a:gd name="connsiteX27" fmla="*/ 4561 w 10000"/>
                    <a:gd name="connsiteY27" fmla="*/ 0 h 9814"/>
                    <a:gd name="connsiteX28" fmla="*/ 4123 w 10000"/>
                    <a:gd name="connsiteY28" fmla="*/ 186 h 9814"/>
                    <a:gd name="connsiteX29" fmla="*/ 3684 w 10000"/>
                    <a:gd name="connsiteY29" fmla="*/ 311 h 9814"/>
                    <a:gd name="connsiteX30" fmla="*/ 3246 w 10000"/>
                    <a:gd name="connsiteY30" fmla="*/ 559 h 9814"/>
                    <a:gd name="connsiteX31" fmla="*/ 2982 w 10000"/>
                    <a:gd name="connsiteY31" fmla="*/ 870 h 9814"/>
                    <a:gd name="connsiteX32" fmla="*/ 2719 w 10000"/>
                    <a:gd name="connsiteY32" fmla="*/ 1242 h 9814"/>
                    <a:gd name="connsiteX33" fmla="*/ 2544 w 10000"/>
                    <a:gd name="connsiteY33" fmla="*/ 1677 h 9814"/>
                    <a:gd name="connsiteX34" fmla="*/ 2544 w 10000"/>
                    <a:gd name="connsiteY34" fmla="*/ 2112 h 9814"/>
                    <a:gd name="connsiteX35" fmla="*/ 2544 w 10000"/>
                    <a:gd name="connsiteY35" fmla="*/ 2112 h 9814"/>
                    <a:gd name="connsiteX36" fmla="*/ 2632 w 10000"/>
                    <a:gd name="connsiteY36" fmla="*/ 2671 h 9814"/>
                    <a:gd name="connsiteX37" fmla="*/ 2982 w 10000"/>
                    <a:gd name="connsiteY37" fmla="*/ 3230 h 9814"/>
                    <a:gd name="connsiteX38" fmla="*/ 3421 w 10000"/>
                    <a:gd name="connsiteY38" fmla="*/ 3727 h 9814"/>
                    <a:gd name="connsiteX39" fmla="*/ 3860 w 10000"/>
                    <a:gd name="connsiteY39" fmla="*/ 4099 h 9814"/>
                    <a:gd name="connsiteX40" fmla="*/ 3860 w 10000"/>
                    <a:gd name="connsiteY40" fmla="*/ 4099 h 9814"/>
                    <a:gd name="connsiteX41" fmla="*/ 2895 w 10000"/>
                    <a:gd name="connsiteY41" fmla="*/ 4410 h 9814"/>
                    <a:gd name="connsiteX42" fmla="*/ 2105 w 10000"/>
                    <a:gd name="connsiteY42" fmla="*/ 4783 h 9814"/>
                    <a:gd name="connsiteX43" fmla="*/ 1404 w 10000"/>
                    <a:gd name="connsiteY43" fmla="*/ 5342 h 9814"/>
                    <a:gd name="connsiteX44" fmla="*/ 877 w 10000"/>
                    <a:gd name="connsiteY44" fmla="*/ 6087 h 9814"/>
                    <a:gd name="connsiteX45" fmla="*/ 439 w 10000"/>
                    <a:gd name="connsiteY45" fmla="*/ 6832 h 9814"/>
                    <a:gd name="connsiteX46" fmla="*/ 175 w 10000"/>
                    <a:gd name="connsiteY46" fmla="*/ 7702 h 9814"/>
                    <a:gd name="connsiteX47" fmla="*/ 0 w 10000"/>
                    <a:gd name="connsiteY47" fmla="*/ 8634 h 9814"/>
                    <a:gd name="connsiteX48" fmla="*/ 0 w 10000"/>
                    <a:gd name="connsiteY48" fmla="*/ 9689 h 9814"/>
                    <a:gd name="connsiteX0" fmla="*/ 9912 w 10000"/>
                    <a:gd name="connsiteY0" fmla="*/ 9937 h 9937"/>
                    <a:gd name="connsiteX1" fmla="*/ 10000 w 10000"/>
                    <a:gd name="connsiteY1" fmla="*/ 9873 h 9937"/>
                    <a:gd name="connsiteX2" fmla="*/ 10000 w 10000"/>
                    <a:gd name="connsiteY2" fmla="*/ 9873 h 9937"/>
                    <a:gd name="connsiteX3" fmla="*/ 10000 w 10000"/>
                    <a:gd name="connsiteY3" fmla="*/ 8798 h 9937"/>
                    <a:gd name="connsiteX4" fmla="*/ 9912 w 10000"/>
                    <a:gd name="connsiteY4" fmla="*/ 7848 h 9937"/>
                    <a:gd name="connsiteX5" fmla="*/ 9561 w 10000"/>
                    <a:gd name="connsiteY5" fmla="*/ 6961 h 9937"/>
                    <a:gd name="connsiteX6" fmla="*/ 9211 w 10000"/>
                    <a:gd name="connsiteY6" fmla="*/ 6202 h 9937"/>
                    <a:gd name="connsiteX7" fmla="*/ 8684 w 10000"/>
                    <a:gd name="connsiteY7" fmla="*/ 5443 h 9937"/>
                    <a:gd name="connsiteX8" fmla="*/ 7982 w 10000"/>
                    <a:gd name="connsiteY8" fmla="*/ 4874 h 9937"/>
                    <a:gd name="connsiteX9" fmla="*/ 7105 w 10000"/>
                    <a:gd name="connsiteY9" fmla="*/ 4494 h 9937"/>
                    <a:gd name="connsiteX10" fmla="*/ 6140 w 10000"/>
                    <a:gd name="connsiteY10" fmla="*/ 4177 h 9937"/>
                    <a:gd name="connsiteX11" fmla="*/ 6140 w 10000"/>
                    <a:gd name="connsiteY11" fmla="*/ 4177 h 9937"/>
                    <a:gd name="connsiteX12" fmla="*/ 6667 w 10000"/>
                    <a:gd name="connsiteY12" fmla="*/ 3798 h 9937"/>
                    <a:gd name="connsiteX13" fmla="*/ 7018 w 10000"/>
                    <a:gd name="connsiteY13" fmla="*/ 3291 h 9937"/>
                    <a:gd name="connsiteX14" fmla="*/ 7281 w 10000"/>
                    <a:gd name="connsiteY14" fmla="*/ 2722 h 9937"/>
                    <a:gd name="connsiteX15" fmla="*/ 7544 w 10000"/>
                    <a:gd name="connsiteY15" fmla="*/ 2152 h 9937"/>
                    <a:gd name="connsiteX16" fmla="*/ 7544 w 10000"/>
                    <a:gd name="connsiteY16" fmla="*/ 2152 h 9937"/>
                    <a:gd name="connsiteX17" fmla="*/ 7456 w 10000"/>
                    <a:gd name="connsiteY17" fmla="*/ 1709 h 9937"/>
                    <a:gd name="connsiteX18" fmla="*/ 7281 w 10000"/>
                    <a:gd name="connsiteY18" fmla="*/ 1266 h 9937"/>
                    <a:gd name="connsiteX19" fmla="*/ 7105 w 10000"/>
                    <a:gd name="connsiteY19" fmla="*/ 886 h 9937"/>
                    <a:gd name="connsiteX20" fmla="*/ 6754 w 10000"/>
                    <a:gd name="connsiteY20" fmla="*/ 570 h 9937"/>
                    <a:gd name="connsiteX21" fmla="*/ 6404 w 10000"/>
                    <a:gd name="connsiteY21" fmla="*/ 317 h 9937"/>
                    <a:gd name="connsiteX22" fmla="*/ 5965 w 10000"/>
                    <a:gd name="connsiteY22" fmla="*/ 190 h 9937"/>
                    <a:gd name="connsiteX23" fmla="*/ 5526 w 10000"/>
                    <a:gd name="connsiteY23" fmla="*/ 0 h 9937"/>
                    <a:gd name="connsiteX24" fmla="*/ 5000 w 10000"/>
                    <a:gd name="connsiteY24" fmla="*/ 0 h 9937"/>
                    <a:gd name="connsiteX25" fmla="*/ 5000 w 10000"/>
                    <a:gd name="connsiteY25" fmla="*/ 0 h 9937"/>
                    <a:gd name="connsiteX26" fmla="*/ 4561 w 10000"/>
                    <a:gd name="connsiteY26" fmla="*/ 0 h 9937"/>
                    <a:gd name="connsiteX27" fmla="*/ 4123 w 10000"/>
                    <a:gd name="connsiteY27" fmla="*/ 190 h 9937"/>
                    <a:gd name="connsiteX28" fmla="*/ 3684 w 10000"/>
                    <a:gd name="connsiteY28" fmla="*/ 317 h 9937"/>
                    <a:gd name="connsiteX29" fmla="*/ 3246 w 10000"/>
                    <a:gd name="connsiteY29" fmla="*/ 570 h 9937"/>
                    <a:gd name="connsiteX30" fmla="*/ 2982 w 10000"/>
                    <a:gd name="connsiteY30" fmla="*/ 886 h 9937"/>
                    <a:gd name="connsiteX31" fmla="*/ 2719 w 10000"/>
                    <a:gd name="connsiteY31" fmla="*/ 1266 h 9937"/>
                    <a:gd name="connsiteX32" fmla="*/ 2544 w 10000"/>
                    <a:gd name="connsiteY32" fmla="*/ 1709 h 9937"/>
                    <a:gd name="connsiteX33" fmla="*/ 2544 w 10000"/>
                    <a:gd name="connsiteY33" fmla="*/ 2152 h 9937"/>
                    <a:gd name="connsiteX34" fmla="*/ 2544 w 10000"/>
                    <a:gd name="connsiteY34" fmla="*/ 2152 h 9937"/>
                    <a:gd name="connsiteX35" fmla="*/ 2632 w 10000"/>
                    <a:gd name="connsiteY35" fmla="*/ 2722 h 9937"/>
                    <a:gd name="connsiteX36" fmla="*/ 2982 w 10000"/>
                    <a:gd name="connsiteY36" fmla="*/ 3291 h 9937"/>
                    <a:gd name="connsiteX37" fmla="*/ 3421 w 10000"/>
                    <a:gd name="connsiteY37" fmla="*/ 3798 h 9937"/>
                    <a:gd name="connsiteX38" fmla="*/ 3860 w 10000"/>
                    <a:gd name="connsiteY38" fmla="*/ 4177 h 9937"/>
                    <a:gd name="connsiteX39" fmla="*/ 3860 w 10000"/>
                    <a:gd name="connsiteY39" fmla="*/ 4177 h 9937"/>
                    <a:gd name="connsiteX40" fmla="*/ 2895 w 10000"/>
                    <a:gd name="connsiteY40" fmla="*/ 4494 h 9937"/>
                    <a:gd name="connsiteX41" fmla="*/ 2105 w 10000"/>
                    <a:gd name="connsiteY41" fmla="*/ 4874 h 9937"/>
                    <a:gd name="connsiteX42" fmla="*/ 1404 w 10000"/>
                    <a:gd name="connsiteY42" fmla="*/ 5443 h 9937"/>
                    <a:gd name="connsiteX43" fmla="*/ 877 w 10000"/>
                    <a:gd name="connsiteY43" fmla="*/ 6202 h 9937"/>
                    <a:gd name="connsiteX44" fmla="*/ 439 w 10000"/>
                    <a:gd name="connsiteY44" fmla="*/ 6961 h 9937"/>
                    <a:gd name="connsiteX45" fmla="*/ 175 w 10000"/>
                    <a:gd name="connsiteY45" fmla="*/ 7848 h 9937"/>
                    <a:gd name="connsiteX46" fmla="*/ 0 w 10000"/>
                    <a:gd name="connsiteY46" fmla="*/ 8798 h 9937"/>
                    <a:gd name="connsiteX47" fmla="*/ 0 w 10000"/>
                    <a:gd name="connsiteY47" fmla="*/ 9873 h 9937"/>
                    <a:gd name="connsiteX0" fmla="*/ 9912 w 10000"/>
                    <a:gd name="connsiteY0" fmla="*/ 10000 h 10000"/>
                    <a:gd name="connsiteX1" fmla="*/ 10000 w 10000"/>
                    <a:gd name="connsiteY1" fmla="*/ 9936 h 10000"/>
                    <a:gd name="connsiteX2" fmla="*/ 10000 w 10000"/>
                    <a:gd name="connsiteY2" fmla="*/ 8854 h 10000"/>
                    <a:gd name="connsiteX3" fmla="*/ 9912 w 10000"/>
                    <a:gd name="connsiteY3" fmla="*/ 7898 h 10000"/>
                    <a:gd name="connsiteX4" fmla="*/ 9561 w 10000"/>
                    <a:gd name="connsiteY4" fmla="*/ 7005 h 10000"/>
                    <a:gd name="connsiteX5" fmla="*/ 9211 w 10000"/>
                    <a:gd name="connsiteY5" fmla="*/ 6241 h 10000"/>
                    <a:gd name="connsiteX6" fmla="*/ 8684 w 10000"/>
                    <a:gd name="connsiteY6" fmla="*/ 5478 h 10000"/>
                    <a:gd name="connsiteX7" fmla="*/ 7982 w 10000"/>
                    <a:gd name="connsiteY7" fmla="*/ 4905 h 10000"/>
                    <a:gd name="connsiteX8" fmla="*/ 7105 w 10000"/>
                    <a:gd name="connsiteY8" fmla="*/ 4522 h 10000"/>
                    <a:gd name="connsiteX9" fmla="*/ 6140 w 10000"/>
                    <a:gd name="connsiteY9" fmla="*/ 4203 h 10000"/>
                    <a:gd name="connsiteX10" fmla="*/ 6140 w 10000"/>
                    <a:gd name="connsiteY10" fmla="*/ 4203 h 10000"/>
                    <a:gd name="connsiteX11" fmla="*/ 6667 w 10000"/>
                    <a:gd name="connsiteY11" fmla="*/ 3822 h 10000"/>
                    <a:gd name="connsiteX12" fmla="*/ 7018 w 10000"/>
                    <a:gd name="connsiteY12" fmla="*/ 3312 h 10000"/>
                    <a:gd name="connsiteX13" fmla="*/ 7281 w 10000"/>
                    <a:gd name="connsiteY13" fmla="*/ 2739 h 10000"/>
                    <a:gd name="connsiteX14" fmla="*/ 7544 w 10000"/>
                    <a:gd name="connsiteY14" fmla="*/ 2166 h 10000"/>
                    <a:gd name="connsiteX15" fmla="*/ 7544 w 10000"/>
                    <a:gd name="connsiteY15" fmla="*/ 2166 h 10000"/>
                    <a:gd name="connsiteX16" fmla="*/ 7456 w 10000"/>
                    <a:gd name="connsiteY16" fmla="*/ 1720 h 10000"/>
                    <a:gd name="connsiteX17" fmla="*/ 7281 w 10000"/>
                    <a:gd name="connsiteY17" fmla="*/ 1274 h 10000"/>
                    <a:gd name="connsiteX18" fmla="*/ 7105 w 10000"/>
                    <a:gd name="connsiteY18" fmla="*/ 892 h 10000"/>
                    <a:gd name="connsiteX19" fmla="*/ 6754 w 10000"/>
                    <a:gd name="connsiteY19" fmla="*/ 574 h 10000"/>
                    <a:gd name="connsiteX20" fmla="*/ 6404 w 10000"/>
                    <a:gd name="connsiteY20" fmla="*/ 319 h 10000"/>
                    <a:gd name="connsiteX21" fmla="*/ 5965 w 10000"/>
                    <a:gd name="connsiteY21" fmla="*/ 191 h 10000"/>
                    <a:gd name="connsiteX22" fmla="*/ 5526 w 10000"/>
                    <a:gd name="connsiteY22" fmla="*/ 0 h 10000"/>
                    <a:gd name="connsiteX23" fmla="*/ 5000 w 10000"/>
                    <a:gd name="connsiteY23" fmla="*/ 0 h 10000"/>
                    <a:gd name="connsiteX24" fmla="*/ 5000 w 10000"/>
                    <a:gd name="connsiteY24" fmla="*/ 0 h 10000"/>
                    <a:gd name="connsiteX25" fmla="*/ 4561 w 10000"/>
                    <a:gd name="connsiteY25" fmla="*/ 0 h 10000"/>
                    <a:gd name="connsiteX26" fmla="*/ 4123 w 10000"/>
                    <a:gd name="connsiteY26" fmla="*/ 191 h 10000"/>
                    <a:gd name="connsiteX27" fmla="*/ 3684 w 10000"/>
                    <a:gd name="connsiteY27" fmla="*/ 319 h 10000"/>
                    <a:gd name="connsiteX28" fmla="*/ 3246 w 10000"/>
                    <a:gd name="connsiteY28" fmla="*/ 574 h 10000"/>
                    <a:gd name="connsiteX29" fmla="*/ 2982 w 10000"/>
                    <a:gd name="connsiteY29" fmla="*/ 892 h 10000"/>
                    <a:gd name="connsiteX30" fmla="*/ 2719 w 10000"/>
                    <a:gd name="connsiteY30" fmla="*/ 1274 h 10000"/>
                    <a:gd name="connsiteX31" fmla="*/ 2544 w 10000"/>
                    <a:gd name="connsiteY31" fmla="*/ 1720 h 10000"/>
                    <a:gd name="connsiteX32" fmla="*/ 2544 w 10000"/>
                    <a:gd name="connsiteY32" fmla="*/ 2166 h 10000"/>
                    <a:gd name="connsiteX33" fmla="*/ 2544 w 10000"/>
                    <a:gd name="connsiteY33" fmla="*/ 2166 h 10000"/>
                    <a:gd name="connsiteX34" fmla="*/ 2632 w 10000"/>
                    <a:gd name="connsiteY34" fmla="*/ 2739 h 10000"/>
                    <a:gd name="connsiteX35" fmla="*/ 2982 w 10000"/>
                    <a:gd name="connsiteY35" fmla="*/ 3312 h 10000"/>
                    <a:gd name="connsiteX36" fmla="*/ 3421 w 10000"/>
                    <a:gd name="connsiteY36" fmla="*/ 3822 h 10000"/>
                    <a:gd name="connsiteX37" fmla="*/ 3860 w 10000"/>
                    <a:gd name="connsiteY37" fmla="*/ 4203 h 10000"/>
                    <a:gd name="connsiteX38" fmla="*/ 3860 w 10000"/>
                    <a:gd name="connsiteY38" fmla="*/ 4203 h 10000"/>
                    <a:gd name="connsiteX39" fmla="*/ 2895 w 10000"/>
                    <a:gd name="connsiteY39" fmla="*/ 4522 h 10000"/>
                    <a:gd name="connsiteX40" fmla="*/ 2105 w 10000"/>
                    <a:gd name="connsiteY40" fmla="*/ 4905 h 10000"/>
                    <a:gd name="connsiteX41" fmla="*/ 1404 w 10000"/>
                    <a:gd name="connsiteY41" fmla="*/ 5478 h 10000"/>
                    <a:gd name="connsiteX42" fmla="*/ 877 w 10000"/>
                    <a:gd name="connsiteY42" fmla="*/ 6241 h 10000"/>
                    <a:gd name="connsiteX43" fmla="*/ 439 w 10000"/>
                    <a:gd name="connsiteY43" fmla="*/ 7005 h 10000"/>
                    <a:gd name="connsiteX44" fmla="*/ 175 w 10000"/>
                    <a:gd name="connsiteY44" fmla="*/ 7898 h 10000"/>
                    <a:gd name="connsiteX45" fmla="*/ 0 w 10000"/>
                    <a:gd name="connsiteY45" fmla="*/ 8854 h 10000"/>
                    <a:gd name="connsiteX46" fmla="*/ 0 w 10000"/>
                    <a:gd name="connsiteY46" fmla="*/ 9936 h 10000"/>
                    <a:gd name="connsiteX0" fmla="*/ 9912 w 10000"/>
                    <a:gd name="connsiteY0" fmla="*/ 10000 h 10000"/>
                    <a:gd name="connsiteX1" fmla="*/ 10000 w 10000"/>
                    <a:gd name="connsiteY1" fmla="*/ 8854 h 10000"/>
                    <a:gd name="connsiteX2" fmla="*/ 9912 w 10000"/>
                    <a:gd name="connsiteY2" fmla="*/ 7898 h 10000"/>
                    <a:gd name="connsiteX3" fmla="*/ 9561 w 10000"/>
                    <a:gd name="connsiteY3" fmla="*/ 7005 h 10000"/>
                    <a:gd name="connsiteX4" fmla="*/ 9211 w 10000"/>
                    <a:gd name="connsiteY4" fmla="*/ 6241 h 10000"/>
                    <a:gd name="connsiteX5" fmla="*/ 8684 w 10000"/>
                    <a:gd name="connsiteY5" fmla="*/ 5478 h 10000"/>
                    <a:gd name="connsiteX6" fmla="*/ 7982 w 10000"/>
                    <a:gd name="connsiteY6" fmla="*/ 4905 h 10000"/>
                    <a:gd name="connsiteX7" fmla="*/ 7105 w 10000"/>
                    <a:gd name="connsiteY7" fmla="*/ 4522 h 10000"/>
                    <a:gd name="connsiteX8" fmla="*/ 6140 w 10000"/>
                    <a:gd name="connsiteY8" fmla="*/ 4203 h 10000"/>
                    <a:gd name="connsiteX9" fmla="*/ 6140 w 10000"/>
                    <a:gd name="connsiteY9" fmla="*/ 4203 h 10000"/>
                    <a:gd name="connsiteX10" fmla="*/ 6667 w 10000"/>
                    <a:gd name="connsiteY10" fmla="*/ 3822 h 10000"/>
                    <a:gd name="connsiteX11" fmla="*/ 7018 w 10000"/>
                    <a:gd name="connsiteY11" fmla="*/ 3312 h 10000"/>
                    <a:gd name="connsiteX12" fmla="*/ 7281 w 10000"/>
                    <a:gd name="connsiteY12" fmla="*/ 2739 h 10000"/>
                    <a:gd name="connsiteX13" fmla="*/ 7544 w 10000"/>
                    <a:gd name="connsiteY13" fmla="*/ 2166 h 10000"/>
                    <a:gd name="connsiteX14" fmla="*/ 7544 w 10000"/>
                    <a:gd name="connsiteY14" fmla="*/ 2166 h 10000"/>
                    <a:gd name="connsiteX15" fmla="*/ 7456 w 10000"/>
                    <a:gd name="connsiteY15" fmla="*/ 1720 h 10000"/>
                    <a:gd name="connsiteX16" fmla="*/ 7281 w 10000"/>
                    <a:gd name="connsiteY16" fmla="*/ 1274 h 10000"/>
                    <a:gd name="connsiteX17" fmla="*/ 7105 w 10000"/>
                    <a:gd name="connsiteY17" fmla="*/ 892 h 10000"/>
                    <a:gd name="connsiteX18" fmla="*/ 6754 w 10000"/>
                    <a:gd name="connsiteY18" fmla="*/ 574 h 10000"/>
                    <a:gd name="connsiteX19" fmla="*/ 6404 w 10000"/>
                    <a:gd name="connsiteY19" fmla="*/ 319 h 10000"/>
                    <a:gd name="connsiteX20" fmla="*/ 5965 w 10000"/>
                    <a:gd name="connsiteY20" fmla="*/ 191 h 10000"/>
                    <a:gd name="connsiteX21" fmla="*/ 5526 w 10000"/>
                    <a:gd name="connsiteY21" fmla="*/ 0 h 10000"/>
                    <a:gd name="connsiteX22" fmla="*/ 5000 w 10000"/>
                    <a:gd name="connsiteY22" fmla="*/ 0 h 10000"/>
                    <a:gd name="connsiteX23" fmla="*/ 5000 w 10000"/>
                    <a:gd name="connsiteY23" fmla="*/ 0 h 10000"/>
                    <a:gd name="connsiteX24" fmla="*/ 4561 w 10000"/>
                    <a:gd name="connsiteY24" fmla="*/ 0 h 10000"/>
                    <a:gd name="connsiteX25" fmla="*/ 4123 w 10000"/>
                    <a:gd name="connsiteY25" fmla="*/ 191 h 10000"/>
                    <a:gd name="connsiteX26" fmla="*/ 3684 w 10000"/>
                    <a:gd name="connsiteY26" fmla="*/ 319 h 10000"/>
                    <a:gd name="connsiteX27" fmla="*/ 3246 w 10000"/>
                    <a:gd name="connsiteY27" fmla="*/ 574 h 10000"/>
                    <a:gd name="connsiteX28" fmla="*/ 2982 w 10000"/>
                    <a:gd name="connsiteY28" fmla="*/ 892 h 10000"/>
                    <a:gd name="connsiteX29" fmla="*/ 2719 w 10000"/>
                    <a:gd name="connsiteY29" fmla="*/ 1274 h 10000"/>
                    <a:gd name="connsiteX30" fmla="*/ 2544 w 10000"/>
                    <a:gd name="connsiteY30" fmla="*/ 1720 h 10000"/>
                    <a:gd name="connsiteX31" fmla="*/ 2544 w 10000"/>
                    <a:gd name="connsiteY31" fmla="*/ 2166 h 10000"/>
                    <a:gd name="connsiteX32" fmla="*/ 2544 w 10000"/>
                    <a:gd name="connsiteY32" fmla="*/ 2166 h 10000"/>
                    <a:gd name="connsiteX33" fmla="*/ 2632 w 10000"/>
                    <a:gd name="connsiteY33" fmla="*/ 2739 h 10000"/>
                    <a:gd name="connsiteX34" fmla="*/ 2982 w 10000"/>
                    <a:gd name="connsiteY34" fmla="*/ 3312 h 10000"/>
                    <a:gd name="connsiteX35" fmla="*/ 3421 w 10000"/>
                    <a:gd name="connsiteY35" fmla="*/ 3822 h 10000"/>
                    <a:gd name="connsiteX36" fmla="*/ 3860 w 10000"/>
                    <a:gd name="connsiteY36" fmla="*/ 4203 h 10000"/>
                    <a:gd name="connsiteX37" fmla="*/ 3860 w 10000"/>
                    <a:gd name="connsiteY37" fmla="*/ 4203 h 10000"/>
                    <a:gd name="connsiteX38" fmla="*/ 2895 w 10000"/>
                    <a:gd name="connsiteY38" fmla="*/ 4522 h 10000"/>
                    <a:gd name="connsiteX39" fmla="*/ 2105 w 10000"/>
                    <a:gd name="connsiteY39" fmla="*/ 4905 h 10000"/>
                    <a:gd name="connsiteX40" fmla="*/ 1404 w 10000"/>
                    <a:gd name="connsiteY40" fmla="*/ 5478 h 10000"/>
                    <a:gd name="connsiteX41" fmla="*/ 877 w 10000"/>
                    <a:gd name="connsiteY41" fmla="*/ 6241 h 10000"/>
                    <a:gd name="connsiteX42" fmla="*/ 439 w 10000"/>
                    <a:gd name="connsiteY42" fmla="*/ 7005 h 10000"/>
                    <a:gd name="connsiteX43" fmla="*/ 175 w 10000"/>
                    <a:gd name="connsiteY43" fmla="*/ 7898 h 10000"/>
                    <a:gd name="connsiteX44" fmla="*/ 0 w 10000"/>
                    <a:gd name="connsiteY44" fmla="*/ 8854 h 10000"/>
                    <a:gd name="connsiteX45" fmla="*/ 0 w 10000"/>
                    <a:gd name="connsiteY45" fmla="*/ 9936 h 10000"/>
                    <a:gd name="connsiteX0" fmla="*/ 10000 w 10000"/>
                    <a:gd name="connsiteY0" fmla="*/ 8854 h 9936"/>
                    <a:gd name="connsiteX1" fmla="*/ 9912 w 10000"/>
                    <a:gd name="connsiteY1" fmla="*/ 7898 h 9936"/>
                    <a:gd name="connsiteX2" fmla="*/ 9561 w 10000"/>
                    <a:gd name="connsiteY2" fmla="*/ 7005 h 9936"/>
                    <a:gd name="connsiteX3" fmla="*/ 9211 w 10000"/>
                    <a:gd name="connsiteY3" fmla="*/ 6241 h 9936"/>
                    <a:gd name="connsiteX4" fmla="*/ 8684 w 10000"/>
                    <a:gd name="connsiteY4" fmla="*/ 5478 h 9936"/>
                    <a:gd name="connsiteX5" fmla="*/ 7982 w 10000"/>
                    <a:gd name="connsiteY5" fmla="*/ 4905 h 9936"/>
                    <a:gd name="connsiteX6" fmla="*/ 7105 w 10000"/>
                    <a:gd name="connsiteY6" fmla="*/ 4522 h 9936"/>
                    <a:gd name="connsiteX7" fmla="*/ 6140 w 10000"/>
                    <a:gd name="connsiteY7" fmla="*/ 4203 h 9936"/>
                    <a:gd name="connsiteX8" fmla="*/ 6140 w 10000"/>
                    <a:gd name="connsiteY8" fmla="*/ 4203 h 9936"/>
                    <a:gd name="connsiteX9" fmla="*/ 6667 w 10000"/>
                    <a:gd name="connsiteY9" fmla="*/ 3822 h 9936"/>
                    <a:gd name="connsiteX10" fmla="*/ 7018 w 10000"/>
                    <a:gd name="connsiteY10" fmla="*/ 3312 h 9936"/>
                    <a:gd name="connsiteX11" fmla="*/ 7281 w 10000"/>
                    <a:gd name="connsiteY11" fmla="*/ 2739 h 9936"/>
                    <a:gd name="connsiteX12" fmla="*/ 7544 w 10000"/>
                    <a:gd name="connsiteY12" fmla="*/ 2166 h 9936"/>
                    <a:gd name="connsiteX13" fmla="*/ 7544 w 10000"/>
                    <a:gd name="connsiteY13" fmla="*/ 2166 h 9936"/>
                    <a:gd name="connsiteX14" fmla="*/ 7456 w 10000"/>
                    <a:gd name="connsiteY14" fmla="*/ 1720 h 9936"/>
                    <a:gd name="connsiteX15" fmla="*/ 7281 w 10000"/>
                    <a:gd name="connsiteY15" fmla="*/ 1274 h 9936"/>
                    <a:gd name="connsiteX16" fmla="*/ 7105 w 10000"/>
                    <a:gd name="connsiteY16" fmla="*/ 892 h 9936"/>
                    <a:gd name="connsiteX17" fmla="*/ 6754 w 10000"/>
                    <a:gd name="connsiteY17" fmla="*/ 574 h 9936"/>
                    <a:gd name="connsiteX18" fmla="*/ 6404 w 10000"/>
                    <a:gd name="connsiteY18" fmla="*/ 319 h 9936"/>
                    <a:gd name="connsiteX19" fmla="*/ 5965 w 10000"/>
                    <a:gd name="connsiteY19" fmla="*/ 191 h 9936"/>
                    <a:gd name="connsiteX20" fmla="*/ 5526 w 10000"/>
                    <a:gd name="connsiteY20" fmla="*/ 0 h 9936"/>
                    <a:gd name="connsiteX21" fmla="*/ 5000 w 10000"/>
                    <a:gd name="connsiteY21" fmla="*/ 0 h 9936"/>
                    <a:gd name="connsiteX22" fmla="*/ 5000 w 10000"/>
                    <a:gd name="connsiteY22" fmla="*/ 0 h 9936"/>
                    <a:gd name="connsiteX23" fmla="*/ 4561 w 10000"/>
                    <a:gd name="connsiteY23" fmla="*/ 0 h 9936"/>
                    <a:gd name="connsiteX24" fmla="*/ 4123 w 10000"/>
                    <a:gd name="connsiteY24" fmla="*/ 191 h 9936"/>
                    <a:gd name="connsiteX25" fmla="*/ 3684 w 10000"/>
                    <a:gd name="connsiteY25" fmla="*/ 319 h 9936"/>
                    <a:gd name="connsiteX26" fmla="*/ 3246 w 10000"/>
                    <a:gd name="connsiteY26" fmla="*/ 574 h 9936"/>
                    <a:gd name="connsiteX27" fmla="*/ 2982 w 10000"/>
                    <a:gd name="connsiteY27" fmla="*/ 892 h 9936"/>
                    <a:gd name="connsiteX28" fmla="*/ 2719 w 10000"/>
                    <a:gd name="connsiteY28" fmla="*/ 1274 h 9936"/>
                    <a:gd name="connsiteX29" fmla="*/ 2544 w 10000"/>
                    <a:gd name="connsiteY29" fmla="*/ 1720 h 9936"/>
                    <a:gd name="connsiteX30" fmla="*/ 2544 w 10000"/>
                    <a:gd name="connsiteY30" fmla="*/ 2166 h 9936"/>
                    <a:gd name="connsiteX31" fmla="*/ 2544 w 10000"/>
                    <a:gd name="connsiteY31" fmla="*/ 2166 h 9936"/>
                    <a:gd name="connsiteX32" fmla="*/ 2632 w 10000"/>
                    <a:gd name="connsiteY32" fmla="*/ 2739 h 9936"/>
                    <a:gd name="connsiteX33" fmla="*/ 2982 w 10000"/>
                    <a:gd name="connsiteY33" fmla="*/ 3312 h 9936"/>
                    <a:gd name="connsiteX34" fmla="*/ 3421 w 10000"/>
                    <a:gd name="connsiteY34" fmla="*/ 3822 h 9936"/>
                    <a:gd name="connsiteX35" fmla="*/ 3860 w 10000"/>
                    <a:gd name="connsiteY35" fmla="*/ 4203 h 9936"/>
                    <a:gd name="connsiteX36" fmla="*/ 3860 w 10000"/>
                    <a:gd name="connsiteY36" fmla="*/ 4203 h 9936"/>
                    <a:gd name="connsiteX37" fmla="*/ 2895 w 10000"/>
                    <a:gd name="connsiteY37" fmla="*/ 4522 h 9936"/>
                    <a:gd name="connsiteX38" fmla="*/ 2105 w 10000"/>
                    <a:gd name="connsiteY38" fmla="*/ 4905 h 9936"/>
                    <a:gd name="connsiteX39" fmla="*/ 1404 w 10000"/>
                    <a:gd name="connsiteY39" fmla="*/ 5478 h 9936"/>
                    <a:gd name="connsiteX40" fmla="*/ 877 w 10000"/>
                    <a:gd name="connsiteY40" fmla="*/ 6241 h 9936"/>
                    <a:gd name="connsiteX41" fmla="*/ 439 w 10000"/>
                    <a:gd name="connsiteY41" fmla="*/ 7005 h 9936"/>
                    <a:gd name="connsiteX42" fmla="*/ 175 w 10000"/>
                    <a:gd name="connsiteY42" fmla="*/ 7898 h 9936"/>
                    <a:gd name="connsiteX43" fmla="*/ 0 w 10000"/>
                    <a:gd name="connsiteY43" fmla="*/ 8854 h 9936"/>
                    <a:gd name="connsiteX44" fmla="*/ 0 w 10000"/>
                    <a:gd name="connsiteY44" fmla="*/ 9936 h 9936"/>
                    <a:gd name="connsiteX0" fmla="*/ 9912 w 9912"/>
                    <a:gd name="connsiteY0" fmla="*/ 7949 h 10000"/>
                    <a:gd name="connsiteX1" fmla="*/ 9561 w 9912"/>
                    <a:gd name="connsiteY1" fmla="*/ 7050 h 10000"/>
                    <a:gd name="connsiteX2" fmla="*/ 9211 w 9912"/>
                    <a:gd name="connsiteY2" fmla="*/ 6281 h 10000"/>
                    <a:gd name="connsiteX3" fmla="*/ 8684 w 9912"/>
                    <a:gd name="connsiteY3" fmla="*/ 5513 h 10000"/>
                    <a:gd name="connsiteX4" fmla="*/ 7982 w 9912"/>
                    <a:gd name="connsiteY4" fmla="*/ 4937 h 10000"/>
                    <a:gd name="connsiteX5" fmla="*/ 7105 w 9912"/>
                    <a:gd name="connsiteY5" fmla="*/ 4551 h 10000"/>
                    <a:gd name="connsiteX6" fmla="*/ 6140 w 9912"/>
                    <a:gd name="connsiteY6" fmla="*/ 4230 h 10000"/>
                    <a:gd name="connsiteX7" fmla="*/ 6140 w 9912"/>
                    <a:gd name="connsiteY7" fmla="*/ 4230 h 10000"/>
                    <a:gd name="connsiteX8" fmla="*/ 6667 w 9912"/>
                    <a:gd name="connsiteY8" fmla="*/ 3847 h 10000"/>
                    <a:gd name="connsiteX9" fmla="*/ 7018 w 9912"/>
                    <a:gd name="connsiteY9" fmla="*/ 3333 h 10000"/>
                    <a:gd name="connsiteX10" fmla="*/ 7281 w 9912"/>
                    <a:gd name="connsiteY10" fmla="*/ 2757 h 10000"/>
                    <a:gd name="connsiteX11" fmla="*/ 7544 w 9912"/>
                    <a:gd name="connsiteY11" fmla="*/ 2180 h 10000"/>
                    <a:gd name="connsiteX12" fmla="*/ 7544 w 9912"/>
                    <a:gd name="connsiteY12" fmla="*/ 2180 h 10000"/>
                    <a:gd name="connsiteX13" fmla="*/ 7456 w 9912"/>
                    <a:gd name="connsiteY13" fmla="*/ 1731 h 10000"/>
                    <a:gd name="connsiteX14" fmla="*/ 7281 w 9912"/>
                    <a:gd name="connsiteY14" fmla="*/ 1282 h 10000"/>
                    <a:gd name="connsiteX15" fmla="*/ 7105 w 9912"/>
                    <a:gd name="connsiteY15" fmla="*/ 898 h 10000"/>
                    <a:gd name="connsiteX16" fmla="*/ 6754 w 9912"/>
                    <a:gd name="connsiteY16" fmla="*/ 578 h 10000"/>
                    <a:gd name="connsiteX17" fmla="*/ 6404 w 9912"/>
                    <a:gd name="connsiteY17" fmla="*/ 321 h 10000"/>
                    <a:gd name="connsiteX18" fmla="*/ 5965 w 9912"/>
                    <a:gd name="connsiteY18" fmla="*/ 192 h 10000"/>
                    <a:gd name="connsiteX19" fmla="*/ 5526 w 9912"/>
                    <a:gd name="connsiteY19" fmla="*/ 0 h 10000"/>
                    <a:gd name="connsiteX20" fmla="*/ 5000 w 9912"/>
                    <a:gd name="connsiteY20" fmla="*/ 0 h 10000"/>
                    <a:gd name="connsiteX21" fmla="*/ 5000 w 9912"/>
                    <a:gd name="connsiteY21" fmla="*/ 0 h 10000"/>
                    <a:gd name="connsiteX22" fmla="*/ 4561 w 9912"/>
                    <a:gd name="connsiteY22" fmla="*/ 0 h 10000"/>
                    <a:gd name="connsiteX23" fmla="*/ 4123 w 9912"/>
                    <a:gd name="connsiteY23" fmla="*/ 192 h 10000"/>
                    <a:gd name="connsiteX24" fmla="*/ 3684 w 9912"/>
                    <a:gd name="connsiteY24" fmla="*/ 321 h 10000"/>
                    <a:gd name="connsiteX25" fmla="*/ 3246 w 9912"/>
                    <a:gd name="connsiteY25" fmla="*/ 578 h 10000"/>
                    <a:gd name="connsiteX26" fmla="*/ 2982 w 9912"/>
                    <a:gd name="connsiteY26" fmla="*/ 898 h 10000"/>
                    <a:gd name="connsiteX27" fmla="*/ 2719 w 9912"/>
                    <a:gd name="connsiteY27" fmla="*/ 1282 h 10000"/>
                    <a:gd name="connsiteX28" fmla="*/ 2544 w 9912"/>
                    <a:gd name="connsiteY28" fmla="*/ 1731 h 10000"/>
                    <a:gd name="connsiteX29" fmla="*/ 2544 w 9912"/>
                    <a:gd name="connsiteY29" fmla="*/ 2180 h 10000"/>
                    <a:gd name="connsiteX30" fmla="*/ 2544 w 9912"/>
                    <a:gd name="connsiteY30" fmla="*/ 2180 h 10000"/>
                    <a:gd name="connsiteX31" fmla="*/ 2632 w 9912"/>
                    <a:gd name="connsiteY31" fmla="*/ 2757 h 10000"/>
                    <a:gd name="connsiteX32" fmla="*/ 2982 w 9912"/>
                    <a:gd name="connsiteY32" fmla="*/ 3333 h 10000"/>
                    <a:gd name="connsiteX33" fmla="*/ 3421 w 9912"/>
                    <a:gd name="connsiteY33" fmla="*/ 3847 h 10000"/>
                    <a:gd name="connsiteX34" fmla="*/ 3860 w 9912"/>
                    <a:gd name="connsiteY34" fmla="*/ 4230 h 10000"/>
                    <a:gd name="connsiteX35" fmla="*/ 3860 w 9912"/>
                    <a:gd name="connsiteY35" fmla="*/ 4230 h 10000"/>
                    <a:gd name="connsiteX36" fmla="*/ 2895 w 9912"/>
                    <a:gd name="connsiteY36" fmla="*/ 4551 h 10000"/>
                    <a:gd name="connsiteX37" fmla="*/ 2105 w 9912"/>
                    <a:gd name="connsiteY37" fmla="*/ 4937 h 10000"/>
                    <a:gd name="connsiteX38" fmla="*/ 1404 w 9912"/>
                    <a:gd name="connsiteY38" fmla="*/ 5513 h 10000"/>
                    <a:gd name="connsiteX39" fmla="*/ 877 w 9912"/>
                    <a:gd name="connsiteY39" fmla="*/ 6281 h 10000"/>
                    <a:gd name="connsiteX40" fmla="*/ 439 w 9912"/>
                    <a:gd name="connsiteY40" fmla="*/ 7050 h 10000"/>
                    <a:gd name="connsiteX41" fmla="*/ 175 w 9912"/>
                    <a:gd name="connsiteY41" fmla="*/ 7949 h 10000"/>
                    <a:gd name="connsiteX42" fmla="*/ 0 w 9912"/>
                    <a:gd name="connsiteY42" fmla="*/ 8911 h 10000"/>
                    <a:gd name="connsiteX43" fmla="*/ 0 w 9912"/>
                    <a:gd name="connsiteY43" fmla="*/ 10000 h 10000"/>
                    <a:gd name="connsiteX0" fmla="*/ 9646 w 9646"/>
                    <a:gd name="connsiteY0" fmla="*/ 7050 h 10000"/>
                    <a:gd name="connsiteX1" fmla="*/ 9293 w 9646"/>
                    <a:gd name="connsiteY1" fmla="*/ 6281 h 10000"/>
                    <a:gd name="connsiteX2" fmla="*/ 8761 w 9646"/>
                    <a:gd name="connsiteY2" fmla="*/ 5513 h 10000"/>
                    <a:gd name="connsiteX3" fmla="*/ 8053 w 9646"/>
                    <a:gd name="connsiteY3" fmla="*/ 4937 h 10000"/>
                    <a:gd name="connsiteX4" fmla="*/ 7168 w 9646"/>
                    <a:gd name="connsiteY4" fmla="*/ 4551 h 10000"/>
                    <a:gd name="connsiteX5" fmla="*/ 6195 w 9646"/>
                    <a:gd name="connsiteY5" fmla="*/ 4230 h 10000"/>
                    <a:gd name="connsiteX6" fmla="*/ 6195 w 9646"/>
                    <a:gd name="connsiteY6" fmla="*/ 4230 h 10000"/>
                    <a:gd name="connsiteX7" fmla="*/ 6726 w 9646"/>
                    <a:gd name="connsiteY7" fmla="*/ 3847 h 10000"/>
                    <a:gd name="connsiteX8" fmla="*/ 7080 w 9646"/>
                    <a:gd name="connsiteY8" fmla="*/ 3333 h 10000"/>
                    <a:gd name="connsiteX9" fmla="*/ 7346 w 9646"/>
                    <a:gd name="connsiteY9" fmla="*/ 2757 h 10000"/>
                    <a:gd name="connsiteX10" fmla="*/ 7611 w 9646"/>
                    <a:gd name="connsiteY10" fmla="*/ 2180 h 10000"/>
                    <a:gd name="connsiteX11" fmla="*/ 7611 w 9646"/>
                    <a:gd name="connsiteY11" fmla="*/ 2180 h 10000"/>
                    <a:gd name="connsiteX12" fmla="*/ 7522 w 9646"/>
                    <a:gd name="connsiteY12" fmla="*/ 1731 h 10000"/>
                    <a:gd name="connsiteX13" fmla="*/ 7346 w 9646"/>
                    <a:gd name="connsiteY13" fmla="*/ 1282 h 10000"/>
                    <a:gd name="connsiteX14" fmla="*/ 7168 w 9646"/>
                    <a:gd name="connsiteY14" fmla="*/ 898 h 10000"/>
                    <a:gd name="connsiteX15" fmla="*/ 6814 w 9646"/>
                    <a:gd name="connsiteY15" fmla="*/ 578 h 10000"/>
                    <a:gd name="connsiteX16" fmla="*/ 6461 w 9646"/>
                    <a:gd name="connsiteY16" fmla="*/ 321 h 10000"/>
                    <a:gd name="connsiteX17" fmla="*/ 6018 w 9646"/>
                    <a:gd name="connsiteY17" fmla="*/ 192 h 10000"/>
                    <a:gd name="connsiteX18" fmla="*/ 5575 w 9646"/>
                    <a:gd name="connsiteY18" fmla="*/ 0 h 10000"/>
                    <a:gd name="connsiteX19" fmla="*/ 5044 w 9646"/>
                    <a:gd name="connsiteY19" fmla="*/ 0 h 10000"/>
                    <a:gd name="connsiteX20" fmla="*/ 5044 w 9646"/>
                    <a:gd name="connsiteY20" fmla="*/ 0 h 10000"/>
                    <a:gd name="connsiteX21" fmla="*/ 4601 w 9646"/>
                    <a:gd name="connsiteY21" fmla="*/ 0 h 10000"/>
                    <a:gd name="connsiteX22" fmla="*/ 4160 w 9646"/>
                    <a:gd name="connsiteY22" fmla="*/ 192 h 10000"/>
                    <a:gd name="connsiteX23" fmla="*/ 3717 w 9646"/>
                    <a:gd name="connsiteY23" fmla="*/ 321 h 10000"/>
                    <a:gd name="connsiteX24" fmla="*/ 3275 w 9646"/>
                    <a:gd name="connsiteY24" fmla="*/ 578 h 10000"/>
                    <a:gd name="connsiteX25" fmla="*/ 3008 w 9646"/>
                    <a:gd name="connsiteY25" fmla="*/ 898 h 10000"/>
                    <a:gd name="connsiteX26" fmla="*/ 2743 w 9646"/>
                    <a:gd name="connsiteY26" fmla="*/ 1282 h 10000"/>
                    <a:gd name="connsiteX27" fmla="*/ 2567 w 9646"/>
                    <a:gd name="connsiteY27" fmla="*/ 1731 h 10000"/>
                    <a:gd name="connsiteX28" fmla="*/ 2567 w 9646"/>
                    <a:gd name="connsiteY28" fmla="*/ 2180 h 10000"/>
                    <a:gd name="connsiteX29" fmla="*/ 2567 w 9646"/>
                    <a:gd name="connsiteY29" fmla="*/ 2180 h 10000"/>
                    <a:gd name="connsiteX30" fmla="*/ 2655 w 9646"/>
                    <a:gd name="connsiteY30" fmla="*/ 2757 h 10000"/>
                    <a:gd name="connsiteX31" fmla="*/ 3008 w 9646"/>
                    <a:gd name="connsiteY31" fmla="*/ 3333 h 10000"/>
                    <a:gd name="connsiteX32" fmla="*/ 3451 w 9646"/>
                    <a:gd name="connsiteY32" fmla="*/ 3847 h 10000"/>
                    <a:gd name="connsiteX33" fmla="*/ 3894 w 9646"/>
                    <a:gd name="connsiteY33" fmla="*/ 4230 h 10000"/>
                    <a:gd name="connsiteX34" fmla="*/ 3894 w 9646"/>
                    <a:gd name="connsiteY34" fmla="*/ 4230 h 10000"/>
                    <a:gd name="connsiteX35" fmla="*/ 2921 w 9646"/>
                    <a:gd name="connsiteY35" fmla="*/ 4551 h 10000"/>
                    <a:gd name="connsiteX36" fmla="*/ 2124 w 9646"/>
                    <a:gd name="connsiteY36" fmla="*/ 4937 h 10000"/>
                    <a:gd name="connsiteX37" fmla="*/ 1416 w 9646"/>
                    <a:gd name="connsiteY37" fmla="*/ 5513 h 10000"/>
                    <a:gd name="connsiteX38" fmla="*/ 885 w 9646"/>
                    <a:gd name="connsiteY38" fmla="*/ 6281 h 10000"/>
                    <a:gd name="connsiteX39" fmla="*/ 443 w 9646"/>
                    <a:gd name="connsiteY39" fmla="*/ 7050 h 10000"/>
                    <a:gd name="connsiteX40" fmla="*/ 177 w 9646"/>
                    <a:gd name="connsiteY40" fmla="*/ 7949 h 10000"/>
                    <a:gd name="connsiteX41" fmla="*/ 0 w 9646"/>
                    <a:gd name="connsiteY41" fmla="*/ 8911 h 10000"/>
                    <a:gd name="connsiteX42" fmla="*/ 0 w 9646"/>
                    <a:gd name="connsiteY42" fmla="*/ 10000 h 10000"/>
                    <a:gd name="connsiteX0" fmla="*/ 9634 w 9634"/>
                    <a:gd name="connsiteY0" fmla="*/ 6281 h 10000"/>
                    <a:gd name="connsiteX1" fmla="*/ 9083 w 9634"/>
                    <a:gd name="connsiteY1" fmla="*/ 5513 h 10000"/>
                    <a:gd name="connsiteX2" fmla="*/ 8349 w 9634"/>
                    <a:gd name="connsiteY2" fmla="*/ 4937 h 10000"/>
                    <a:gd name="connsiteX3" fmla="*/ 7431 w 9634"/>
                    <a:gd name="connsiteY3" fmla="*/ 4551 h 10000"/>
                    <a:gd name="connsiteX4" fmla="*/ 6422 w 9634"/>
                    <a:gd name="connsiteY4" fmla="*/ 4230 h 10000"/>
                    <a:gd name="connsiteX5" fmla="*/ 6422 w 9634"/>
                    <a:gd name="connsiteY5" fmla="*/ 4230 h 10000"/>
                    <a:gd name="connsiteX6" fmla="*/ 6973 w 9634"/>
                    <a:gd name="connsiteY6" fmla="*/ 3847 h 10000"/>
                    <a:gd name="connsiteX7" fmla="*/ 7340 w 9634"/>
                    <a:gd name="connsiteY7" fmla="*/ 3333 h 10000"/>
                    <a:gd name="connsiteX8" fmla="*/ 7616 w 9634"/>
                    <a:gd name="connsiteY8" fmla="*/ 2757 h 10000"/>
                    <a:gd name="connsiteX9" fmla="*/ 7890 w 9634"/>
                    <a:gd name="connsiteY9" fmla="*/ 2180 h 10000"/>
                    <a:gd name="connsiteX10" fmla="*/ 7890 w 9634"/>
                    <a:gd name="connsiteY10" fmla="*/ 2180 h 10000"/>
                    <a:gd name="connsiteX11" fmla="*/ 7798 w 9634"/>
                    <a:gd name="connsiteY11" fmla="*/ 1731 h 10000"/>
                    <a:gd name="connsiteX12" fmla="*/ 7616 w 9634"/>
                    <a:gd name="connsiteY12" fmla="*/ 1282 h 10000"/>
                    <a:gd name="connsiteX13" fmla="*/ 7431 w 9634"/>
                    <a:gd name="connsiteY13" fmla="*/ 898 h 10000"/>
                    <a:gd name="connsiteX14" fmla="*/ 7064 w 9634"/>
                    <a:gd name="connsiteY14" fmla="*/ 578 h 10000"/>
                    <a:gd name="connsiteX15" fmla="*/ 6698 w 9634"/>
                    <a:gd name="connsiteY15" fmla="*/ 321 h 10000"/>
                    <a:gd name="connsiteX16" fmla="*/ 6239 w 9634"/>
                    <a:gd name="connsiteY16" fmla="*/ 192 h 10000"/>
                    <a:gd name="connsiteX17" fmla="*/ 5780 w 9634"/>
                    <a:gd name="connsiteY17" fmla="*/ 0 h 10000"/>
                    <a:gd name="connsiteX18" fmla="*/ 5229 w 9634"/>
                    <a:gd name="connsiteY18" fmla="*/ 0 h 10000"/>
                    <a:gd name="connsiteX19" fmla="*/ 5229 w 9634"/>
                    <a:gd name="connsiteY19" fmla="*/ 0 h 10000"/>
                    <a:gd name="connsiteX20" fmla="*/ 4770 w 9634"/>
                    <a:gd name="connsiteY20" fmla="*/ 0 h 10000"/>
                    <a:gd name="connsiteX21" fmla="*/ 4313 w 9634"/>
                    <a:gd name="connsiteY21" fmla="*/ 192 h 10000"/>
                    <a:gd name="connsiteX22" fmla="*/ 3853 w 9634"/>
                    <a:gd name="connsiteY22" fmla="*/ 321 h 10000"/>
                    <a:gd name="connsiteX23" fmla="*/ 3395 w 9634"/>
                    <a:gd name="connsiteY23" fmla="*/ 578 h 10000"/>
                    <a:gd name="connsiteX24" fmla="*/ 3118 w 9634"/>
                    <a:gd name="connsiteY24" fmla="*/ 898 h 10000"/>
                    <a:gd name="connsiteX25" fmla="*/ 2844 w 9634"/>
                    <a:gd name="connsiteY25" fmla="*/ 1282 h 10000"/>
                    <a:gd name="connsiteX26" fmla="*/ 2661 w 9634"/>
                    <a:gd name="connsiteY26" fmla="*/ 1731 h 10000"/>
                    <a:gd name="connsiteX27" fmla="*/ 2661 w 9634"/>
                    <a:gd name="connsiteY27" fmla="*/ 2180 h 10000"/>
                    <a:gd name="connsiteX28" fmla="*/ 2661 w 9634"/>
                    <a:gd name="connsiteY28" fmla="*/ 2180 h 10000"/>
                    <a:gd name="connsiteX29" fmla="*/ 2752 w 9634"/>
                    <a:gd name="connsiteY29" fmla="*/ 2757 h 10000"/>
                    <a:gd name="connsiteX30" fmla="*/ 3118 w 9634"/>
                    <a:gd name="connsiteY30" fmla="*/ 3333 h 10000"/>
                    <a:gd name="connsiteX31" fmla="*/ 3578 w 9634"/>
                    <a:gd name="connsiteY31" fmla="*/ 3847 h 10000"/>
                    <a:gd name="connsiteX32" fmla="*/ 4037 w 9634"/>
                    <a:gd name="connsiteY32" fmla="*/ 4230 h 10000"/>
                    <a:gd name="connsiteX33" fmla="*/ 4037 w 9634"/>
                    <a:gd name="connsiteY33" fmla="*/ 4230 h 10000"/>
                    <a:gd name="connsiteX34" fmla="*/ 3028 w 9634"/>
                    <a:gd name="connsiteY34" fmla="*/ 4551 h 10000"/>
                    <a:gd name="connsiteX35" fmla="*/ 2202 w 9634"/>
                    <a:gd name="connsiteY35" fmla="*/ 4937 h 10000"/>
                    <a:gd name="connsiteX36" fmla="*/ 1468 w 9634"/>
                    <a:gd name="connsiteY36" fmla="*/ 5513 h 10000"/>
                    <a:gd name="connsiteX37" fmla="*/ 917 w 9634"/>
                    <a:gd name="connsiteY37" fmla="*/ 6281 h 10000"/>
                    <a:gd name="connsiteX38" fmla="*/ 459 w 9634"/>
                    <a:gd name="connsiteY38" fmla="*/ 7050 h 10000"/>
                    <a:gd name="connsiteX39" fmla="*/ 183 w 9634"/>
                    <a:gd name="connsiteY39" fmla="*/ 7949 h 10000"/>
                    <a:gd name="connsiteX40" fmla="*/ 0 w 9634"/>
                    <a:gd name="connsiteY40" fmla="*/ 8911 h 10000"/>
                    <a:gd name="connsiteX41" fmla="*/ 0 w 9634"/>
                    <a:gd name="connsiteY41" fmla="*/ 1000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9634" h="10000">
                      <a:moveTo>
                        <a:pt x="9634" y="6281"/>
                      </a:moveTo>
                      <a:lnTo>
                        <a:pt x="9083" y="5513"/>
                      </a:lnTo>
                      <a:lnTo>
                        <a:pt x="8349" y="4937"/>
                      </a:lnTo>
                      <a:lnTo>
                        <a:pt x="7431" y="4551"/>
                      </a:lnTo>
                      <a:lnTo>
                        <a:pt x="6422" y="4230"/>
                      </a:lnTo>
                      <a:lnTo>
                        <a:pt x="6422" y="4230"/>
                      </a:lnTo>
                      <a:lnTo>
                        <a:pt x="6973" y="3847"/>
                      </a:lnTo>
                      <a:lnTo>
                        <a:pt x="7340" y="3333"/>
                      </a:lnTo>
                      <a:cubicBezTo>
                        <a:pt x="7432" y="3142"/>
                        <a:pt x="7523" y="2948"/>
                        <a:pt x="7616" y="2757"/>
                      </a:cubicBezTo>
                      <a:lnTo>
                        <a:pt x="7890" y="2180"/>
                      </a:lnTo>
                      <a:lnTo>
                        <a:pt x="7890" y="2180"/>
                      </a:lnTo>
                      <a:cubicBezTo>
                        <a:pt x="7860" y="2030"/>
                        <a:pt x="7828" y="1881"/>
                        <a:pt x="7798" y="1731"/>
                      </a:cubicBezTo>
                      <a:cubicBezTo>
                        <a:pt x="7738" y="1581"/>
                        <a:pt x="7676" y="1431"/>
                        <a:pt x="7616" y="1282"/>
                      </a:cubicBezTo>
                      <a:cubicBezTo>
                        <a:pt x="7553" y="1154"/>
                        <a:pt x="7493" y="1026"/>
                        <a:pt x="7431" y="898"/>
                      </a:cubicBezTo>
                      <a:lnTo>
                        <a:pt x="7064" y="578"/>
                      </a:lnTo>
                      <a:lnTo>
                        <a:pt x="6698" y="321"/>
                      </a:lnTo>
                      <a:lnTo>
                        <a:pt x="6239" y="192"/>
                      </a:lnTo>
                      <a:lnTo>
                        <a:pt x="5780" y="0"/>
                      </a:lnTo>
                      <a:lnTo>
                        <a:pt x="5229" y="0"/>
                      </a:lnTo>
                      <a:lnTo>
                        <a:pt x="5229" y="0"/>
                      </a:lnTo>
                      <a:lnTo>
                        <a:pt x="4770" y="0"/>
                      </a:lnTo>
                      <a:lnTo>
                        <a:pt x="4313" y="192"/>
                      </a:lnTo>
                      <a:lnTo>
                        <a:pt x="3853" y="321"/>
                      </a:lnTo>
                      <a:lnTo>
                        <a:pt x="3395" y="578"/>
                      </a:lnTo>
                      <a:lnTo>
                        <a:pt x="3118" y="898"/>
                      </a:lnTo>
                      <a:lnTo>
                        <a:pt x="2844" y="1282"/>
                      </a:lnTo>
                      <a:cubicBezTo>
                        <a:pt x="2784" y="1431"/>
                        <a:pt x="2721" y="1581"/>
                        <a:pt x="2661" y="1731"/>
                      </a:cubicBezTo>
                      <a:lnTo>
                        <a:pt x="2661" y="2180"/>
                      </a:lnTo>
                      <a:lnTo>
                        <a:pt x="2661" y="2180"/>
                      </a:lnTo>
                      <a:cubicBezTo>
                        <a:pt x="2691" y="2372"/>
                        <a:pt x="2722" y="2564"/>
                        <a:pt x="2752" y="2757"/>
                      </a:cubicBezTo>
                      <a:lnTo>
                        <a:pt x="3118" y="3333"/>
                      </a:lnTo>
                      <a:lnTo>
                        <a:pt x="3578" y="3847"/>
                      </a:lnTo>
                      <a:lnTo>
                        <a:pt x="4037" y="4230"/>
                      </a:lnTo>
                      <a:lnTo>
                        <a:pt x="4037" y="4230"/>
                      </a:lnTo>
                      <a:lnTo>
                        <a:pt x="3028" y="4551"/>
                      </a:lnTo>
                      <a:lnTo>
                        <a:pt x="2202" y="4937"/>
                      </a:lnTo>
                      <a:lnTo>
                        <a:pt x="1468" y="5513"/>
                      </a:lnTo>
                      <a:lnTo>
                        <a:pt x="917" y="6281"/>
                      </a:lnTo>
                      <a:lnTo>
                        <a:pt x="459" y="7050"/>
                      </a:lnTo>
                      <a:lnTo>
                        <a:pt x="183" y="7949"/>
                      </a:lnTo>
                      <a:lnTo>
                        <a:pt x="0" y="8911"/>
                      </a:lnTo>
                      <a:lnTo>
                        <a:pt x="0" y="10000"/>
                      </a:lnTo>
                    </a:path>
                  </a:pathLst>
                </a:custGeom>
                <a:noFill/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>
                    <a:defRPr/>
                  </a:pPr>
                  <a:endParaRPr lang="en-US" sz="1800">
                    <a:solidFill>
                      <a:srgbClr val="263147"/>
                    </a:solidFill>
                    <a:cs typeface="Arial" charset="0"/>
                  </a:endParaRPr>
                </a:p>
              </p:txBody>
            </p:sp>
            <p:cxnSp>
              <p:nvCxnSpPr>
                <p:cNvPr id="25" name="Connecteur droit 325"/>
                <p:cNvCxnSpPr/>
                <p:nvPr/>
              </p:nvCxnSpPr>
              <p:spPr>
                <a:xfrm flipV="1">
                  <a:off x="4476193" y="4957472"/>
                  <a:ext cx="87297" cy="4115"/>
                </a:xfrm>
                <a:prstGeom prst="line">
                  <a:avLst/>
                </a:prstGeom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0" name="Groupe 32"/>
            <p:cNvGrpSpPr>
              <a:grpSpLocks/>
            </p:cNvGrpSpPr>
            <p:nvPr userDrawn="1"/>
          </p:nvGrpSpPr>
          <p:grpSpPr bwMode="auto">
            <a:xfrm>
              <a:off x="8691235" y="2740981"/>
              <a:ext cx="389203" cy="362534"/>
              <a:chOff x="4999013" y="3508177"/>
              <a:chExt cx="228601" cy="217487"/>
            </a:xfrm>
          </p:grpSpPr>
          <p:sp>
            <p:nvSpPr>
              <p:cNvPr id="16" name="Freeform 213"/>
              <p:cNvSpPr>
                <a:spLocks/>
              </p:cNvSpPr>
              <p:nvPr/>
            </p:nvSpPr>
            <p:spPr bwMode="auto">
              <a:xfrm>
                <a:off x="4999361" y="3508591"/>
                <a:ext cx="85862" cy="83804"/>
              </a:xfrm>
              <a:custGeom>
                <a:avLst/>
                <a:gdLst/>
                <a:ahLst/>
                <a:cxnLst>
                  <a:cxn ang="0">
                    <a:pos x="54" y="42"/>
                  </a:cxn>
                  <a:cxn ang="0">
                    <a:pos x="54" y="42"/>
                  </a:cxn>
                  <a:cxn ang="0">
                    <a:pos x="54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2" y="53"/>
                  </a:cxn>
                  <a:cxn ang="0">
                    <a:pos x="12" y="53"/>
                  </a:cxn>
                  <a:cxn ang="0">
                    <a:pos x="7" y="53"/>
                  </a:cxn>
                  <a:cxn ang="0">
                    <a:pos x="3" y="51"/>
                  </a:cxn>
                  <a:cxn ang="0">
                    <a:pos x="0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7"/>
                  </a:cxn>
                  <a:cxn ang="0">
                    <a:pos x="3" y="3"/>
                  </a:cxn>
                  <a:cxn ang="0">
                    <a:pos x="7" y="0"/>
                  </a:cxn>
                  <a:cxn ang="0">
                    <a:pos x="12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4" y="7"/>
                  </a:cxn>
                  <a:cxn ang="0">
                    <a:pos x="54" y="12"/>
                  </a:cxn>
                  <a:cxn ang="0">
                    <a:pos x="54" y="42"/>
                  </a:cxn>
                </a:cxnLst>
                <a:rect l="0" t="0" r="r" b="b"/>
                <a:pathLst>
                  <a:path w="54" h="53">
                    <a:moveTo>
                      <a:pt x="54" y="42"/>
                    </a:moveTo>
                    <a:lnTo>
                      <a:pt x="54" y="42"/>
                    </a:lnTo>
                    <a:lnTo>
                      <a:pt x="54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2" y="53"/>
                    </a:lnTo>
                    <a:lnTo>
                      <a:pt x="12" y="53"/>
                    </a:lnTo>
                    <a:lnTo>
                      <a:pt x="7" y="53"/>
                    </a:lnTo>
                    <a:lnTo>
                      <a:pt x="3" y="51"/>
                    </a:lnTo>
                    <a:lnTo>
                      <a:pt x="0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7" y="0"/>
                    </a:lnTo>
                    <a:lnTo>
                      <a:pt x="1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4" y="7"/>
                    </a:lnTo>
                    <a:lnTo>
                      <a:pt x="54" y="12"/>
                    </a:lnTo>
                    <a:lnTo>
                      <a:pt x="54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7" name="Freeform 214"/>
              <p:cNvSpPr>
                <a:spLocks/>
              </p:cNvSpPr>
              <p:nvPr/>
            </p:nvSpPr>
            <p:spPr bwMode="auto">
              <a:xfrm>
                <a:off x="5139770" y="3508591"/>
                <a:ext cx="87881" cy="83804"/>
              </a:xfrm>
              <a:custGeom>
                <a:avLst/>
                <a:gdLst/>
                <a:ahLst/>
                <a:cxnLst>
                  <a:cxn ang="0">
                    <a:pos x="55" y="42"/>
                  </a:cxn>
                  <a:cxn ang="0">
                    <a:pos x="55" y="42"/>
                  </a:cxn>
                  <a:cxn ang="0">
                    <a:pos x="53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1" y="53"/>
                  </a:cxn>
                  <a:cxn ang="0">
                    <a:pos x="11" y="53"/>
                  </a:cxn>
                  <a:cxn ang="0">
                    <a:pos x="8" y="53"/>
                  </a:cxn>
                  <a:cxn ang="0">
                    <a:pos x="4" y="51"/>
                  </a:cxn>
                  <a:cxn ang="0">
                    <a:pos x="1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4" y="3"/>
                  </a:cxn>
                  <a:cxn ang="0">
                    <a:pos x="8" y="0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3" y="7"/>
                  </a:cxn>
                  <a:cxn ang="0">
                    <a:pos x="55" y="12"/>
                  </a:cxn>
                  <a:cxn ang="0">
                    <a:pos x="55" y="42"/>
                  </a:cxn>
                </a:cxnLst>
                <a:rect l="0" t="0" r="r" b="b"/>
                <a:pathLst>
                  <a:path w="55" h="53">
                    <a:moveTo>
                      <a:pt x="55" y="42"/>
                    </a:moveTo>
                    <a:lnTo>
                      <a:pt x="55" y="42"/>
                    </a:lnTo>
                    <a:lnTo>
                      <a:pt x="53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1" y="53"/>
                    </a:lnTo>
                    <a:lnTo>
                      <a:pt x="11" y="53"/>
                    </a:lnTo>
                    <a:lnTo>
                      <a:pt x="8" y="53"/>
                    </a:lnTo>
                    <a:lnTo>
                      <a:pt x="4" y="51"/>
                    </a:lnTo>
                    <a:lnTo>
                      <a:pt x="1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4" y="3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3" y="7"/>
                    </a:lnTo>
                    <a:lnTo>
                      <a:pt x="55" y="12"/>
                    </a:lnTo>
                    <a:lnTo>
                      <a:pt x="55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8" name="Freeform 215"/>
              <p:cNvSpPr>
                <a:spLocks/>
              </p:cNvSpPr>
              <p:nvPr/>
            </p:nvSpPr>
            <p:spPr bwMode="auto">
              <a:xfrm>
                <a:off x="5071081" y="3640011"/>
                <a:ext cx="84851" cy="85709"/>
              </a:xfrm>
              <a:custGeom>
                <a:avLst/>
                <a:gdLst/>
                <a:ahLst/>
                <a:cxnLst>
                  <a:cxn ang="0">
                    <a:pos x="36" y="54"/>
                  </a:cxn>
                  <a:cxn ang="0">
                    <a:pos x="29" y="54"/>
                  </a:cxn>
                  <a:cxn ang="0">
                    <a:pos x="11" y="54"/>
                  </a:cxn>
                  <a:cxn ang="0">
                    <a:pos x="11" y="54"/>
                  </a:cxn>
                  <a:cxn ang="0">
                    <a:pos x="7" y="53"/>
                  </a:cxn>
                  <a:cxn ang="0">
                    <a:pos x="3" y="50"/>
                  </a:cxn>
                  <a:cxn ang="0">
                    <a:pos x="1" y="46"/>
                  </a:cxn>
                  <a:cxn ang="0">
                    <a:pos x="0" y="43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3" y="3"/>
                  </a:cxn>
                  <a:cxn ang="0">
                    <a:pos x="7" y="1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1"/>
                  </a:cxn>
                  <a:cxn ang="0">
                    <a:pos x="50" y="3"/>
                  </a:cxn>
                  <a:cxn ang="0">
                    <a:pos x="53" y="7"/>
                  </a:cxn>
                  <a:cxn ang="0">
                    <a:pos x="54" y="12"/>
                  </a:cxn>
                  <a:cxn ang="0">
                    <a:pos x="54" y="43"/>
                  </a:cxn>
                </a:cxnLst>
                <a:rect l="0" t="0" r="r" b="b"/>
                <a:pathLst>
                  <a:path w="54" h="54">
                    <a:moveTo>
                      <a:pt x="36" y="54"/>
                    </a:moveTo>
                    <a:lnTo>
                      <a:pt x="29" y="54"/>
                    </a:lnTo>
                    <a:lnTo>
                      <a:pt x="11" y="54"/>
                    </a:lnTo>
                    <a:lnTo>
                      <a:pt x="11" y="54"/>
                    </a:lnTo>
                    <a:lnTo>
                      <a:pt x="7" y="53"/>
                    </a:lnTo>
                    <a:lnTo>
                      <a:pt x="3" y="50"/>
                    </a:lnTo>
                    <a:lnTo>
                      <a:pt x="1" y="46"/>
                    </a:lnTo>
                    <a:lnTo>
                      <a:pt x="0" y="43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3" y="3"/>
                    </a:lnTo>
                    <a:lnTo>
                      <a:pt x="7" y="1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1"/>
                    </a:lnTo>
                    <a:lnTo>
                      <a:pt x="50" y="3"/>
                    </a:lnTo>
                    <a:lnTo>
                      <a:pt x="53" y="7"/>
                    </a:lnTo>
                    <a:lnTo>
                      <a:pt x="54" y="12"/>
                    </a:lnTo>
                    <a:lnTo>
                      <a:pt x="54" y="43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9" name="Freeform 216"/>
              <p:cNvSpPr>
                <a:spLocks/>
              </p:cNvSpPr>
              <p:nvPr/>
            </p:nvSpPr>
            <p:spPr bwMode="auto">
              <a:xfrm>
                <a:off x="5037746" y="3596204"/>
                <a:ext cx="148490" cy="17142"/>
              </a:xfrm>
              <a:custGeom>
                <a:avLst/>
                <a:gdLst/>
                <a:ahLst/>
                <a:cxnLst>
                  <a:cxn ang="0">
                    <a:pos x="94" y="0"/>
                  </a:cxn>
                  <a:cxn ang="0">
                    <a:pos x="94" y="0"/>
                  </a:cxn>
                  <a:cxn ang="0">
                    <a:pos x="94" y="5"/>
                  </a:cxn>
                  <a:cxn ang="0">
                    <a:pos x="92" y="9"/>
                  </a:cxn>
                  <a:cxn ang="0">
                    <a:pos x="88" y="10"/>
                  </a:cxn>
                  <a:cxn ang="0">
                    <a:pos x="83" y="11"/>
                  </a:cxn>
                  <a:cxn ang="0">
                    <a:pos x="47" y="11"/>
                  </a:cxn>
                  <a:cxn ang="0">
                    <a:pos x="12" y="11"/>
                  </a:cxn>
                  <a:cxn ang="0">
                    <a:pos x="12" y="11"/>
                  </a:cxn>
                  <a:cxn ang="0">
                    <a:pos x="8" y="10"/>
                  </a:cxn>
                  <a:cxn ang="0">
                    <a:pos x="4" y="9"/>
                  </a:cxn>
                  <a:cxn ang="0">
                    <a:pos x="2" y="5"/>
                  </a:cxn>
                  <a:cxn ang="0">
                    <a:pos x="0" y="0"/>
                  </a:cxn>
                </a:cxnLst>
                <a:rect l="0" t="0" r="r" b="b"/>
                <a:pathLst>
                  <a:path w="94" h="11">
                    <a:moveTo>
                      <a:pt x="94" y="0"/>
                    </a:moveTo>
                    <a:lnTo>
                      <a:pt x="94" y="0"/>
                    </a:lnTo>
                    <a:lnTo>
                      <a:pt x="94" y="5"/>
                    </a:lnTo>
                    <a:lnTo>
                      <a:pt x="92" y="9"/>
                    </a:lnTo>
                    <a:lnTo>
                      <a:pt x="88" y="10"/>
                    </a:lnTo>
                    <a:lnTo>
                      <a:pt x="83" y="11"/>
                    </a:lnTo>
                    <a:lnTo>
                      <a:pt x="47" y="11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8" y="10"/>
                    </a:lnTo>
                    <a:lnTo>
                      <a:pt x="4" y="9"/>
                    </a:lnTo>
                    <a:lnTo>
                      <a:pt x="2" y="5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0" name="Line 217"/>
              <p:cNvSpPr>
                <a:spLocks noChangeShapeType="1"/>
              </p:cNvSpPr>
              <p:nvPr/>
            </p:nvSpPr>
            <p:spPr bwMode="auto">
              <a:xfrm flipV="1">
                <a:off x="5112496" y="3613346"/>
                <a:ext cx="2020" cy="26665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23" name="Groupe 281"/>
            <p:cNvGrpSpPr>
              <a:grpSpLocks/>
            </p:cNvGrpSpPr>
            <p:nvPr userDrawn="1"/>
          </p:nvGrpSpPr>
          <p:grpSpPr bwMode="auto">
            <a:xfrm>
              <a:off x="5543115" y="3570780"/>
              <a:ext cx="562532" cy="335672"/>
              <a:chOff x="3909988" y="7116564"/>
              <a:chExt cx="268288" cy="163512"/>
            </a:xfrm>
          </p:grpSpPr>
          <p:sp>
            <p:nvSpPr>
              <p:cNvPr id="12" name="Line 326"/>
              <p:cNvSpPr>
                <a:spLocks noChangeShapeType="1"/>
              </p:cNvSpPr>
              <p:nvPr/>
            </p:nvSpPr>
            <p:spPr bwMode="auto">
              <a:xfrm>
                <a:off x="3909880" y="7120976"/>
                <a:ext cx="1640" cy="1577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3" name="Line 327"/>
              <p:cNvSpPr>
                <a:spLocks noChangeShapeType="1"/>
              </p:cNvSpPr>
              <p:nvPr/>
            </p:nvSpPr>
            <p:spPr bwMode="auto">
              <a:xfrm>
                <a:off x="3911520" y="7278723"/>
                <a:ext cx="266571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4" name="Freeform 328"/>
              <p:cNvSpPr>
                <a:spLocks/>
              </p:cNvSpPr>
              <p:nvPr/>
            </p:nvSpPr>
            <p:spPr bwMode="auto">
              <a:xfrm>
                <a:off x="3936127" y="7143401"/>
                <a:ext cx="179628" cy="115991"/>
              </a:xfrm>
              <a:custGeom>
                <a:avLst/>
                <a:gdLst/>
                <a:ahLst/>
                <a:cxnLst>
                  <a:cxn ang="0">
                    <a:pos x="0" y="73"/>
                  </a:cxn>
                  <a:cxn ang="0">
                    <a:pos x="34" y="39"/>
                  </a:cxn>
                  <a:cxn ang="0">
                    <a:pos x="55" y="59"/>
                  </a:cxn>
                  <a:cxn ang="0">
                    <a:pos x="114" y="0"/>
                  </a:cxn>
                </a:cxnLst>
                <a:rect l="0" t="0" r="r" b="b"/>
                <a:pathLst>
                  <a:path w="114" h="73">
                    <a:moveTo>
                      <a:pt x="0" y="73"/>
                    </a:moveTo>
                    <a:lnTo>
                      <a:pt x="34" y="39"/>
                    </a:lnTo>
                    <a:lnTo>
                      <a:pt x="55" y="59"/>
                    </a:lnTo>
                    <a:lnTo>
                      <a:pt x="114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5" name="Freeform 329"/>
              <p:cNvSpPr>
                <a:spLocks/>
              </p:cNvSpPr>
              <p:nvPr/>
            </p:nvSpPr>
            <p:spPr bwMode="auto">
              <a:xfrm>
                <a:off x="4087867" y="7116337"/>
                <a:ext cx="50854" cy="556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2" y="0"/>
                  </a:cxn>
                  <a:cxn ang="0">
                    <a:pos x="32" y="35"/>
                  </a:cxn>
                </a:cxnLst>
                <a:rect l="0" t="0" r="r" b="b"/>
                <a:pathLst>
                  <a:path w="32" h="35">
                    <a:moveTo>
                      <a:pt x="0" y="0"/>
                    </a:moveTo>
                    <a:lnTo>
                      <a:pt x="32" y="0"/>
                    </a:lnTo>
                    <a:lnTo>
                      <a:pt x="32" y="3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sp>
          <p:nvSpPr>
            <p:cNvPr id="11" name="Freeform 72"/>
            <p:cNvSpPr>
              <a:spLocks/>
            </p:cNvSpPr>
            <p:nvPr userDrawn="1"/>
          </p:nvSpPr>
          <p:spPr bwMode="auto">
            <a:xfrm>
              <a:off x="2579688" y="3656035"/>
              <a:ext cx="581290" cy="349236"/>
            </a:xfrm>
            <a:custGeom>
              <a:avLst/>
              <a:gdLst/>
              <a:ahLst/>
              <a:cxnLst>
                <a:cxn ang="0">
                  <a:pos x="180" y="132"/>
                </a:cxn>
                <a:cxn ang="0">
                  <a:pos x="193" y="129"/>
                </a:cxn>
                <a:cxn ang="0">
                  <a:pos x="204" y="121"/>
                </a:cxn>
                <a:cxn ang="0">
                  <a:pos x="212" y="110"/>
                </a:cxn>
                <a:cxn ang="0">
                  <a:pos x="215" y="97"/>
                </a:cxn>
                <a:cxn ang="0">
                  <a:pos x="215" y="90"/>
                </a:cxn>
                <a:cxn ang="0">
                  <a:pos x="208" y="77"/>
                </a:cxn>
                <a:cxn ang="0">
                  <a:pos x="199" y="68"/>
                </a:cxn>
                <a:cxn ang="0">
                  <a:pos x="187" y="63"/>
                </a:cxn>
                <a:cxn ang="0">
                  <a:pos x="180" y="62"/>
                </a:cxn>
                <a:cxn ang="0">
                  <a:pos x="179" y="62"/>
                </a:cxn>
                <a:cxn ang="0">
                  <a:pos x="179" y="61"/>
                </a:cxn>
                <a:cxn ang="0">
                  <a:pos x="174" y="36"/>
                </a:cxn>
                <a:cxn ang="0">
                  <a:pos x="161" y="17"/>
                </a:cxn>
                <a:cxn ang="0">
                  <a:pos x="142" y="5"/>
                </a:cxn>
                <a:cxn ang="0">
                  <a:pos x="120" y="0"/>
                </a:cxn>
                <a:cxn ang="0">
                  <a:pos x="109" y="1"/>
                </a:cxn>
                <a:cxn ang="0">
                  <a:pos x="92" y="6"/>
                </a:cxn>
                <a:cxn ang="0">
                  <a:pos x="78" y="17"/>
                </a:cxn>
                <a:cxn ang="0">
                  <a:pos x="66" y="31"/>
                </a:cxn>
                <a:cxn ang="0">
                  <a:pos x="62" y="39"/>
                </a:cxn>
                <a:cxn ang="0">
                  <a:pos x="47" y="36"/>
                </a:cxn>
                <a:cxn ang="0">
                  <a:pos x="38" y="38"/>
                </a:cxn>
                <a:cxn ang="0">
                  <a:pos x="21" y="45"/>
                </a:cxn>
                <a:cxn ang="0">
                  <a:pos x="8" y="58"/>
                </a:cxn>
                <a:cxn ang="0">
                  <a:pos x="2" y="75"/>
                </a:cxn>
                <a:cxn ang="0">
                  <a:pos x="0" y="85"/>
                </a:cxn>
                <a:cxn ang="0">
                  <a:pos x="4" y="102"/>
                </a:cxn>
                <a:cxn ang="0">
                  <a:pos x="14" y="118"/>
                </a:cxn>
                <a:cxn ang="0">
                  <a:pos x="30" y="128"/>
                </a:cxn>
                <a:cxn ang="0">
                  <a:pos x="47" y="132"/>
                </a:cxn>
                <a:cxn ang="0">
                  <a:pos x="147" y="132"/>
                </a:cxn>
              </a:cxnLst>
              <a:rect l="0" t="0" r="r" b="b"/>
              <a:pathLst>
                <a:path w="215" h="132">
                  <a:moveTo>
                    <a:pt x="180" y="132"/>
                  </a:moveTo>
                  <a:lnTo>
                    <a:pt x="180" y="132"/>
                  </a:lnTo>
                  <a:lnTo>
                    <a:pt x="187" y="132"/>
                  </a:lnTo>
                  <a:lnTo>
                    <a:pt x="193" y="129"/>
                  </a:lnTo>
                  <a:lnTo>
                    <a:pt x="199" y="125"/>
                  </a:lnTo>
                  <a:lnTo>
                    <a:pt x="204" y="121"/>
                  </a:lnTo>
                  <a:lnTo>
                    <a:pt x="208" y="116"/>
                  </a:lnTo>
                  <a:lnTo>
                    <a:pt x="212" y="110"/>
                  </a:lnTo>
                  <a:lnTo>
                    <a:pt x="215" y="104"/>
                  </a:lnTo>
                  <a:lnTo>
                    <a:pt x="215" y="97"/>
                  </a:lnTo>
                  <a:lnTo>
                    <a:pt x="215" y="97"/>
                  </a:lnTo>
                  <a:lnTo>
                    <a:pt x="215" y="90"/>
                  </a:lnTo>
                  <a:lnTo>
                    <a:pt x="212" y="83"/>
                  </a:lnTo>
                  <a:lnTo>
                    <a:pt x="208" y="77"/>
                  </a:lnTo>
                  <a:lnTo>
                    <a:pt x="204" y="72"/>
                  </a:lnTo>
                  <a:lnTo>
                    <a:pt x="199" y="68"/>
                  </a:lnTo>
                  <a:lnTo>
                    <a:pt x="193" y="64"/>
                  </a:lnTo>
                  <a:lnTo>
                    <a:pt x="187" y="63"/>
                  </a:lnTo>
                  <a:lnTo>
                    <a:pt x="180" y="62"/>
                  </a:lnTo>
                  <a:lnTo>
                    <a:pt x="180" y="62"/>
                  </a:lnTo>
                  <a:lnTo>
                    <a:pt x="179" y="62"/>
                  </a:lnTo>
                  <a:lnTo>
                    <a:pt x="179" y="62"/>
                  </a:lnTo>
                  <a:lnTo>
                    <a:pt x="179" y="61"/>
                  </a:lnTo>
                  <a:lnTo>
                    <a:pt x="179" y="61"/>
                  </a:lnTo>
                  <a:lnTo>
                    <a:pt x="178" y="48"/>
                  </a:lnTo>
                  <a:lnTo>
                    <a:pt x="174" y="36"/>
                  </a:lnTo>
                  <a:lnTo>
                    <a:pt x="169" y="26"/>
                  </a:lnTo>
                  <a:lnTo>
                    <a:pt x="161" y="17"/>
                  </a:lnTo>
                  <a:lnTo>
                    <a:pt x="152" y="10"/>
                  </a:lnTo>
                  <a:lnTo>
                    <a:pt x="142" y="5"/>
                  </a:lnTo>
                  <a:lnTo>
                    <a:pt x="131" y="1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09" y="1"/>
                  </a:lnTo>
                  <a:lnTo>
                    <a:pt x="101" y="2"/>
                  </a:lnTo>
                  <a:lnTo>
                    <a:pt x="92" y="6"/>
                  </a:lnTo>
                  <a:lnTo>
                    <a:pt x="84" y="11"/>
                  </a:lnTo>
                  <a:lnTo>
                    <a:pt x="78" y="17"/>
                  </a:lnTo>
                  <a:lnTo>
                    <a:pt x="71" y="24"/>
                  </a:lnTo>
                  <a:lnTo>
                    <a:pt x="66" y="31"/>
                  </a:lnTo>
                  <a:lnTo>
                    <a:pt x="62" y="39"/>
                  </a:lnTo>
                  <a:lnTo>
                    <a:pt x="62" y="39"/>
                  </a:lnTo>
                  <a:lnTo>
                    <a:pt x="55" y="38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38" y="38"/>
                  </a:lnTo>
                  <a:lnTo>
                    <a:pt x="30" y="40"/>
                  </a:lnTo>
                  <a:lnTo>
                    <a:pt x="21" y="45"/>
                  </a:lnTo>
                  <a:lnTo>
                    <a:pt x="14" y="50"/>
                  </a:lnTo>
                  <a:lnTo>
                    <a:pt x="8" y="58"/>
                  </a:lnTo>
                  <a:lnTo>
                    <a:pt x="4" y="66"/>
                  </a:lnTo>
                  <a:lnTo>
                    <a:pt x="2" y="7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2" y="94"/>
                  </a:lnTo>
                  <a:lnTo>
                    <a:pt x="4" y="102"/>
                  </a:lnTo>
                  <a:lnTo>
                    <a:pt x="8" y="111"/>
                  </a:lnTo>
                  <a:lnTo>
                    <a:pt x="14" y="118"/>
                  </a:lnTo>
                  <a:lnTo>
                    <a:pt x="21" y="124"/>
                  </a:lnTo>
                  <a:lnTo>
                    <a:pt x="30" y="128"/>
                  </a:lnTo>
                  <a:lnTo>
                    <a:pt x="38" y="130"/>
                  </a:lnTo>
                  <a:lnTo>
                    <a:pt x="47" y="132"/>
                  </a:lnTo>
                  <a:lnTo>
                    <a:pt x="47" y="132"/>
                  </a:lnTo>
                  <a:lnTo>
                    <a:pt x="147" y="132"/>
                  </a:lnTo>
                </a:path>
              </a:pathLst>
            </a:custGeom>
            <a:noFill/>
            <a:ln w="1905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lIns="83969" tIns="41985" rIns="83969" bIns="41985"/>
            <a:lstStyle/>
            <a:p>
              <a:pPr defTabSz="914400">
                <a:defRPr/>
              </a:pPr>
              <a:endParaRPr lang="en-US" sz="1800">
                <a:solidFill>
                  <a:srgbClr val="263147"/>
                </a:solidFill>
                <a:cs typeface="Arial" charset="0"/>
              </a:endParaRPr>
            </a:p>
          </p:txBody>
        </p:sp>
      </p:grpSp>
      <p:graphicFrame>
        <p:nvGraphicFramePr>
          <p:cNvPr id="42" name="Object 2" hidden="1"/>
          <p:cNvGraphicFramePr>
            <a:graphicFrameLocks noChangeAspect="1"/>
          </p:cNvGraphicFramePr>
          <p:nvPr/>
        </p:nvGraphicFramePr>
        <p:xfrm>
          <a:off x="0" y="0"/>
          <a:ext cx="158222" cy="158750"/>
        </p:xfrm>
        <a:graphic>
          <a:graphicData uri="http://schemas.openxmlformats.org/presentationml/2006/ole">
            <p:oleObj spid="_x0000_s1648643" name="think-cell Slide" r:id="rId6" imgW="360" imgH="360" progId="">
              <p:embed/>
            </p:oleObj>
          </a:graphicData>
        </a:graphic>
      </p:graphicFrame>
      <p:sp>
        <p:nvSpPr>
          <p:cNvPr id="43" name="Rectangle 7"/>
          <p:cNvSpPr/>
          <p:nvPr>
            <p:custDataLst>
              <p:tags r:id="rId2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xmlns="" val="4143894643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589826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590850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91874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592898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593922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94946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95970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596994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435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Body_Content Slide_PPT Template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410" y="283"/>
            <a:ext cx="9905182" cy="6857434"/>
          </a:xfrm>
          <a:prstGeom prst="rect">
            <a:avLst/>
          </a:prstGeom>
        </p:spPr>
      </p:pic>
      <p:sp>
        <p:nvSpPr>
          <p:cNvPr id="24" name="Content Placeholder 2"/>
          <p:cNvSpPr>
            <a:spLocks noGrp="1"/>
          </p:cNvSpPr>
          <p:nvPr userDrawn="1">
            <p:ph idx="1"/>
          </p:nvPr>
        </p:nvSpPr>
        <p:spPr>
          <a:xfrm>
            <a:off x="495300" y="1600204"/>
            <a:ext cx="8915400" cy="4525963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29" name="Picture 28" descr="Header_Content Slide_PPT Template_2.png"/>
          <p:cNvPicPr>
            <a:picLocks noChangeAspect="1"/>
          </p:cNvPicPr>
          <p:nvPr userDrawn="1"/>
        </p:nvPicPr>
        <p:blipFill>
          <a:blip r:embed="rId3" cstate="screen">
            <a:lum bright="100000"/>
          </a:blip>
          <a:stretch>
            <a:fillRect/>
          </a:stretch>
        </p:blipFill>
        <p:spPr>
          <a:xfrm>
            <a:off x="0" y="0"/>
            <a:ext cx="9906000" cy="1677798"/>
          </a:xfrm>
          <a:prstGeom prst="rect">
            <a:avLst/>
          </a:prstGeom>
        </p:spPr>
      </p:pic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34" name="Picture 33" descr="Footer_PPT Template_2.png"/>
          <p:cNvPicPr preferRelativeResize="0">
            <a:picLocks/>
          </p:cNvPicPr>
          <p:nvPr userDrawn="1"/>
        </p:nvPicPr>
        <p:blipFill>
          <a:blip r:embed="rId4" cstate="screen">
            <a:lum bright="100000"/>
          </a:blip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35" name="Picture 34" descr="capgemini logo.png"/>
          <p:cNvPicPr>
            <a:picLocks noChangeAspect="1"/>
          </p:cNvPicPr>
          <p:nvPr userDrawn="1"/>
        </p:nvPicPr>
        <p:blipFill>
          <a:blip r:embed="rId5" cstate="screen">
            <a:lum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pic>
        <p:nvPicPr>
          <p:cNvPr id="17" name="Picture 16" descr="logo_G148B195.png"/>
          <p:cNvPicPr>
            <a:picLocks noChangeAspect="1"/>
          </p:cNvPicPr>
          <p:nvPr userDrawn="1"/>
        </p:nvPicPr>
        <p:blipFill>
          <a:blip r:embed="rId6" cstate="screen"/>
          <a:stretch>
            <a:fillRect/>
          </a:stretch>
        </p:blipFill>
        <p:spPr>
          <a:xfrm>
            <a:off x="8547931" y="6237384"/>
            <a:ext cx="929572" cy="6480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2543573" y="6545272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black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black"/>
                </a:solidFill>
                <a:cs typeface="Arial" pitchFamily="34" charset="0"/>
              </a:rPr>
              <a:t>2016 </a:t>
            </a: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black"/>
              </a:solidFill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02114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03138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04162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6051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606210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07234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08258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609282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 Placeholder 2"/>
          <p:cNvSpPr>
            <a:spLocks noGrp="1"/>
          </p:cNvSpPr>
          <p:nvPr userDrawn="1">
            <p:ph idx="1"/>
          </p:nvPr>
        </p:nvSpPr>
        <p:spPr>
          <a:xfrm>
            <a:off x="495300" y="1600204"/>
            <a:ext cx="8915400" cy="4525963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29" name="Picture 28" descr="Header_Content Slide_PPT Template_2.png"/>
          <p:cNvPicPr>
            <a:picLocks noChangeAspect="1"/>
          </p:cNvPicPr>
          <p:nvPr userDrawn="1"/>
        </p:nvPicPr>
        <p:blipFill>
          <a:blip r:embed="rId2" cstate="screen">
            <a:lum bright="100000"/>
          </a:blip>
          <a:stretch>
            <a:fillRect/>
          </a:stretch>
        </p:blipFill>
        <p:spPr>
          <a:xfrm>
            <a:off x="0" y="0"/>
            <a:ext cx="9906000" cy="1677798"/>
          </a:xfrm>
          <a:prstGeom prst="rect">
            <a:avLst/>
          </a:prstGeom>
        </p:spPr>
      </p:pic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34" name="Picture 33" descr="Footer_PPT Template_2.png"/>
          <p:cNvPicPr preferRelativeResize="0">
            <a:picLocks/>
          </p:cNvPicPr>
          <p:nvPr userDrawn="1"/>
        </p:nvPicPr>
        <p:blipFill>
          <a:blip r:embed="rId3" cstate="screen">
            <a:lum bright="100000"/>
          </a:blip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35" name="Picture 34" descr="capgemini logo.png"/>
          <p:cNvPicPr>
            <a:picLocks noChangeAspect="1"/>
          </p:cNvPicPr>
          <p:nvPr userDrawn="1"/>
        </p:nvPicPr>
        <p:blipFill>
          <a:blip r:embed="rId4" cstate="screen">
            <a:lum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pic>
        <p:nvPicPr>
          <p:cNvPr id="17" name="Picture 16" descr="logo_G148B195.png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8547931" y="6237384"/>
            <a:ext cx="929572" cy="6480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2543573" y="6545272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black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black"/>
                </a:solidFill>
                <a:cs typeface="Arial" pitchFamily="34" charset="0"/>
              </a:rPr>
              <a:t>2016 </a:t>
            </a: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black"/>
              </a:solidFill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13378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14402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15426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616450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617474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18498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19522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620546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2930" name="Picture 2" descr="http://iif.co.nz/wp-content/uploads/2015/06/Post-it.jpg">
            <a:hlinkClick r:id="rId3"/>
          </p:cNvPr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980728"/>
            <a:ext cx="9906000" cy="5184255"/>
          </a:xfrm>
          <a:prstGeom prst="rect">
            <a:avLst/>
          </a:prstGeom>
          <a:noFill/>
        </p:spPr>
      </p:pic>
      <p:sp>
        <p:nvSpPr>
          <p:cNvPr id="24" name="Content Placeholder 2"/>
          <p:cNvSpPr>
            <a:spLocks noGrp="1"/>
          </p:cNvSpPr>
          <p:nvPr userDrawn="1">
            <p:ph idx="1"/>
          </p:nvPr>
        </p:nvSpPr>
        <p:spPr>
          <a:xfrm>
            <a:off x="495300" y="1600204"/>
            <a:ext cx="8915400" cy="4525963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34" name="Picture 33" descr="Footer_PPT Template_2.png"/>
          <p:cNvPicPr preferRelativeResize="0">
            <a:picLocks/>
          </p:cNvPicPr>
          <p:nvPr userDrawn="1"/>
        </p:nvPicPr>
        <p:blipFill>
          <a:blip r:embed="rId5" cstate="screen">
            <a:lum bright="100000"/>
          </a:blip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35" name="Picture 34" descr="capgemini logo.png"/>
          <p:cNvPicPr>
            <a:picLocks noChangeAspect="1"/>
          </p:cNvPicPr>
          <p:nvPr userDrawn="1"/>
        </p:nvPicPr>
        <p:blipFill>
          <a:blip r:embed="rId6" cstate="screen">
            <a:lum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pic>
        <p:nvPicPr>
          <p:cNvPr id="17" name="Picture 16" descr="logo_G148B195.png"/>
          <p:cNvPicPr>
            <a:picLocks noChangeAspect="1"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8547931" y="6237384"/>
            <a:ext cx="929572" cy="6480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2543573" y="6545272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black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black"/>
                </a:solidFill>
                <a:cs typeface="Arial" pitchFamily="34" charset="0"/>
              </a:rPr>
              <a:t>2016 </a:t>
            </a: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3" name="Freeform 4"/>
          <p:cNvSpPr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0" y="612109"/>
            <a:ext cx="9906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94C3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sz="180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24642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25666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26690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627714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628738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29762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0786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631810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4" name="Freeform 4"/>
          <p:cNvSpPr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0" y="612109"/>
            <a:ext cx="9906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94C3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sz="1800">
              <a:solidFill>
                <a:prstClr val="black"/>
              </a:solidFill>
            </a:endParaRPr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4" cstate="screen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pic>
        <p:nvPicPr>
          <p:cNvPr id="30" name="Picture 29" descr="logo.png"/>
          <p:cNvPicPr>
            <a:picLocks noChangeAspect="1"/>
          </p:cNvPicPr>
          <p:nvPr userDrawn="1"/>
        </p:nvPicPr>
        <p:blipFill>
          <a:blip r:embed="rId5" cstate="screen">
            <a:lum bright="100000"/>
          </a:blip>
          <a:stretch>
            <a:fillRect/>
          </a:stretch>
        </p:blipFill>
        <p:spPr>
          <a:xfrm>
            <a:off x="8547934" y="6237384"/>
            <a:ext cx="929570" cy="64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3" y="6545272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6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35906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36930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7954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638978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640002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41026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42050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643074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ody_Content Slide_PPT Template_2 copy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495673" y="283"/>
            <a:ext cx="8914663" cy="6857434"/>
          </a:xfrm>
          <a:prstGeom prst="rect">
            <a:avLst/>
          </a:prstGeom>
        </p:spPr>
      </p:pic>
      <p:pic>
        <p:nvPicPr>
          <p:cNvPr id="35" name="Picture 34" descr="capgemini logo.png"/>
          <p:cNvPicPr>
            <a:picLocks noChangeAspect="1"/>
          </p:cNvPicPr>
          <p:nvPr userDrawn="1"/>
        </p:nvPicPr>
        <p:blipFill>
          <a:blip r:embed="rId3" cstate="screen">
            <a:lum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pic>
        <p:nvPicPr>
          <p:cNvPr id="17" name="Picture 16" descr="logo_G148B195.png"/>
          <p:cNvPicPr>
            <a:picLocks noChangeAspect="1"/>
          </p:cNvPicPr>
          <p:nvPr userDrawn="1"/>
        </p:nvPicPr>
        <p:blipFill>
          <a:blip r:embed="rId4" cstate="screen"/>
          <a:stretch>
            <a:fillRect/>
          </a:stretch>
        </p:blipFill>
        <p:spPr>
          <a:xfrm>
            <a:off x="8547931" y="6237384"/>
            <a:ext cx="929572" cy="648000"/>
          </a:xfrm>
          <a:prstGeom prst="rect">
            <a:avLst/>
          </a:prstGeom>
        </p:spPr>
      </p:pic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1520618" y="1600201"/>
            <a:ext cx="7800867" cy="4565104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2543573" y="6545272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black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black"/>
                </a:solidFill>
                <a:cs typeface="Arial" pitchFamily="34" charset="0"/>
              </a:rPr>
              <a:t>2016 </a:t>
            </a: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black"/>
              </a:solidFill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2" name="Picture 2" descr="D:\Users\sbandyop\Downloads\ACE VI_FINAL_woman with mobile.png"/>
          <p:cNvPicPr>
            <a:picLocks noChangeAspect="1" noChangeArrowheads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3302000" y="1905005"/>
            <a:ext cx="6438900" cy="2960117"/>
          </a:xfrm>
          <a:prstGeom prst="rect">
            <a:avLst/>
          </a:prstGeom>
          <a:noFill/>
        </p:spPr>
      </p:pic>
      <p:pic>
        <p:nvPicPr>
          <p:cNvPr id="12" name="Picture 11" descr="Header_Title Slide_PPT Template_3.png"/>
          <p:cNvPicPr>
            <a:picLocks noChangeAspect="1"/>
          </p:cNvPicPr>
          <p:nvPr/>
        </p:nvPicPr>
        <p:blipFill>
          <a:blip r:embed="rId5" cstate="email"/>
          <a:stretch>
            <a:fillRect/>
          </a:stretch>
        </p:blipFill>
        <p:spPr>
          <a:xfrm>
            <a:off x="0" y="6"/>
            <a:ext cx="9906000" cy="2516697"/>
          </a:xfrm>
          <a:prstGeom prst="rect">
            <a:avLst/>
          </a:prstGeom>
        </p:spPr>
      </p:pic>
      <p:pic>
        <p:nvPicPr>
          <p:cNvPr id="22" name="Picture 21" descr="Header_PPT Template.png"/>
          <p:cNvPicPr>
            <a:picLocks noChangeAspect="1"/>
          </p:cNvPicPr>
          <p:nvPr/>
        </p:nvPicPr>
        <p:blipFill>
          <a:blip r:embed="rId6" cstate="email"/>
          <a:stretch>
            <a:fillRect/>
          </a:stretch>
        </p:blipFill>
        <p:spPr>
          <a:xfrm>
            <a:off x="0" y="0"/>
            <a:ext cx="9906000" cy="2516696"/>
          </a:xfrm>
          <a:prstGeom prst="rect">
            <a:avLst/>
          </a:prstGeom>
        </p:spPr>
      </p:pic>
      <p:pic>
        <p:nvPicPr>
          <p:cNvPr id="23" name="Picture 22" descr="capgemini logo.png"/>
          <p:cNvPicPr>
            <a:picLocks noChangeAspect="1"/>
          </p:cNvPicPr>
          <p:nvPr/>
        </p:nvPicPr>
        <p:blipFill>
          <a:blip r:embed="rId7" cstate="email">
            <a:lum bright="100000"/>
          </a:blip>
          <a:stretch>
            <a:fillRect/>
          </a:stretch>
        </p:blipFill>
        <p:spPr>
          <a:xfrm>
            <a:off x="428497" y="625237"/>
            <a:ext cx="2995200" cy="643531"/>
          </a:xfrm>
          <a:prstGeom prst="rect">
            <a:avLst/>
          </a:prstGeom>
        </p:spPr>
      </p:pic>
      <p:pic>
        <p:nvPicPr>
          <p:cNvPr id="26" name="Picture 25" descr="Footer_PPT Template_2.png"/>
          <p:cNvPicPr preferRelativeResize="0">
            <a:picLocks/>
          </p:cNvPicPr>
          <p:nvPr/>
        </p:nvPicPr>
        <p:blipFill>
          <a:blip r:embed="rId8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7" name="Image 7" descr="Capgemini_Slogan_RGB.png"/>
          <p:cNvPicPr>
            <a:picLocks noChangeAspect="1"/>
          </p:cNvPicPr>
          <p:nvPr/>
        </p:nvPicPr>
        <p:blipFill>
          <a:blip r:embed="rId9" cstate="email">
            <a:lum bright="100000"/>
          </a:blip>
          <a:stretch>
            <a:fillRect/>
          </a:stretch>
        </p:blipFill>
        <p:spPr>
          <a:xfrm>
            <a:off x="6747199" y="6390281"/>
            <a:ext cx="2925000" cy="27908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4" y="4202089"/>
            <a:ext cx="9905999" cy="1512168"/>
          </a:xfrm>
        </p:spPr>
        <p:txBody>
          <a:bodyPr anchor="b">
            <a:noAutofit/>
          </a:bodyPr>
          <a:lstStyle>
            <a:lvl1pPr algn="l">
              <a:defRPr sz="4800" b="0" spc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-2746" y="5672400"/>
            <a:ext cx="9910389" cy="576000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11" name="Picture 10" descr="logo.png"/>
          <p:cNvPicPr>
            <a:picLocks noChangeAspect="1"/>
          </p:cNvPicPr>
          <p:nvPr userDrawn="1"/>
        </p:nvPicPr>
        <p:blipFill>
          <a:blip r:embed="rId10" cstate="email">
            <a:lum bright="100000"/>
          </a:blip>
          <a:stretch>
            <a:fillRect/>
          </a:stretch>
        </p:blipFill>
        <p:spPr>
          <a:xfrm>
            <a:off x="7800511" y="260649"/>
            <a:ext cx="1755000" cy="122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861365275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 descr="mw2.jpg"/>
          <p:cNvPicPr>
            <a:picLocks noChangeAspect="1"/>
          </p:cNvPicPr>
          <p:nvPr userDrawn="1"/>
        </p:nvPicPr>
        <p:blipFill>
          <a:blip r:embed="rId4" cstate="email"/>
          <a:stretch>
            <a:fillRect/>
          </a:stretch>
        </p:blipFill>
        <p:spPr>
          <a:xfrm>
            <a:off x="0" y="2"/>
            <a:ext cx="9906000" cy="5325133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222" cy="158750"/>
        </p:xfrm>
        <a:graphic>
          <a:graphicData uri="http://schemas.openxmlformats.org/presentationml/2006/ole">
            <p:oleObj spid="_x0000_s648194" name="think-cell Slide" r:id="rId5" imgW="360" imgH="360" progId="">
              <p:embed/>
            </p:oleObj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/>
        </p:nvGraphicFramePr>
        <p:xfrm>
          <a:off x="0" y="0"/>
          <a:ext cx="158222" cy="158750"/>
        </p:xfrm>
        <a:graphic>
          <a:graphicData uri="http://schemas.openxmlformats.org/presentationml/2006/ole">
            <p:oleObj spid="_x0000_s648195" name="think-cell Slide" r:id="rId6" imgW="360" imgH="360" progId="">
              <p:embed/>
            </p:oleObj>
          </a:graphicData>
        </a:graphic>
      </p:graphicFrame>
      <p:sp>
        <p:nvSpPr>
          <p:cNvPr id="43" name="Rectangle 7"/>
          <p:cNvSpPr/>
          <p:nvPr>
            <p:custDataLst>
              <p:tags r:id="rId2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xmlns="" val="4143894643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7701" name="Picture 5" descr="http://talent.capgemini.com/media_library/Medias/News_Illustrations/mobile_transformation.jpg"/>
          <p:cNvPicPr>
            <a:picLocks noChangeAspect="1" noChangeArrowheads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" y="0"/>
            <a:ext cx="9905999" cy="48006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222" cy="158750"/>
        </p:xfrm>
        <a:graphic>
          <a:graphicData uri="http://schemas.openxmlformats.org/presentationml/2006/ole">
            <p:oleObj spid="_x0000_s649218" name="think-cell Slide" r:id="rId5" imgW="360" imgH="360" progId="">
              <p:embed/>
            </p:oleObj>
          </a:graphicData>
        </a:graphic>
      </p:graphicFrame>
      <p:grpSp>
        <p:nvGrpSpPr>
          <p:cNvPr id="4" name="Group 18"/>
          <p:cNvGrpSpPr>
            <a:grpSpLocks/>
          </p:cNvGrpSpPr>
          <p:nvPr/>
        </p:nvGrpSpPr>
        <p:grpSpPr bwMode="auto">
          <a:xfrm>
            <a:off x="2579688" y="700734"/>
            <a:ext cx="6500750" cy="1502721"/>
            <a:chOff x="2579688" y="2502608"/>
            <a:chExt cx="6500750" cy="1502663"/>
          </a:xfrm>
        </p:grpSpPr>
        <p:grpSp>
          <p:nvGrpSpPr>
            <p:cNvPr id="5" name="Groupe 709"/>
            <p:cNvGrpSpPr>
              <a:grpSpLocks/>
            </p:cNvGrpSpPr>
            <p:nvPr userDrawn="1"/>
          </p:nvGrpSpPr>
          <p:grpSpPr bwMode="auto">
            <a:xfrm>
              <a:off x="8084783" y="2883520"/>
              <a:ext cx="386117" cy="518177"/>
              <a:chOff x="2344714" y="4924226"/>
              <a:chExt cx="184150" cy="252413"/>
            </a:xfrm>
          </p:grpSpPr>
          <p:sp>
            <p:nvSpPr>
              <p:cNvPr id="40" name="Freeform 449"/>
              <p:cNvSpPr>
                <a:spLocks/>
              </p:cNvSpPr>
              <p:nvPr/>
            </p:nvSpPr>
            <p:spPr bwMode="auto">
              <a:xfrm>
                <a:off x="2344694" y="4923950"/>
                <a:ext cx="184548" cy="252859"/>
              </a:xfrm>
              <a:custGeom>
                <a:avLst/>
                <a:gdLst/>
                <a:ahLst/>
                <a:cxnLst>
                  <a:cxn ang="0">
                    <a:pos x="97" y="159"/>
                  </a:cxn>
                  <a:cxn ang="0">
                    <a:pos x="20" y="159"/>
                  </a:cxn>
                  <a:cxn ang="0">
                    <a:pos x="20" y="159"/>
                  </a:cxn>
                  <a:cxn ang="0">
                    <a:pos x="15" y="159"/>
                  </a:cxn>
                  <a:cxn ang="0">
                    <a:pos x="13" y="157"/>
                  </a:cxn>
                  <a:cxn ang="0">
                    <a:pos x="6" y="154"/>
                  </a:cxn>
                  <a:cxn ang="0">
                    <a:pos x="1" y="147"/>
                  </a:cxn>
                  <a:cxn ang="0">
                    <a:pos x="0" y="143"/>
                  </a:cxn>
                  <a:cxn ang="0">
                    <a:pos x="0" y="140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15"/>
                  </a:cxn>
                  <a:cxn ang="0">
                    <a:pos x="1" y="12"/>
                  </a:cxn>
                  <a:cxn ang="0">
                    <a:pos x="6" y="5"/>
                  </a:cxn>
                  <a:cxn ang="0">
                    <a:pos x="13" y="2"/>
                  </a:cxn>
                  <a:cxn ang="0">
                    <a:pos x="15" y="0"/>
                  </a:cxn>
                  <a:cxn ang="0">
                    <a:pos x="20" y="0"/>
                  </a:cxn>
                  <a:cxn ang="0">
                    <a:pos x="97" y="0"/>
                  </a:cxn>
                  <a:cxn ang="0">
                    <a:pos x="97" y="0"/>
                  </a:cxn>
                  <a:cxn ang="0">
                    <a:pos x="101" y="0"/>
                  </a:cxn>
                  <a:cxn ang="0">
                    <a:pos x="105" y="2"/>
                  </a:cxn>
                  <a:cxn ang="0">
                    <a:pos x="111" y="5"/>
                  </a:cxn>
                  <a:cxn ang="0">
                    <a:pos x="115" y="12"/>
                  </a:cxn>
                  <a:cxn ang="0">
                    <a:pos x="116" y="15"/>
                  </a:cxn>
                  <a:cxn ang="0">
                    <a:pos x="116" y="19"/>
                  </a:cxn>
                  <a:cxn ang="0">
                    <a:pos x="116" y="159"/>
                  </a:cxn>
                </a:cxnLst>
                <a:rect l="0" t="0" r="r" b="b"/>
                <a:pathLst>
                  <a:path w="116" h="159">
                    <a:moveTo>
                      <a:pt x="97" y="159"/>
                    </a:moveTo>
                    <a:lnTo>
                      <a:pt x="20" y="159"/>
                    </a:lnTo>
                    <a:lnTo>
                      <a:pt x="20" y="159"/>
                    </a:lnTo>
                    <a:lnTo>
                      <a:pt x="15" y="159"/>
                    </a:lnTo>
                    <a:lnTo>
                      <a:pt x="13" y="157"/>
                    </a:lnTo>
                    <a:lnTo>
                      <a:pt x="6" y="154"/>
                    </a:lnTo>
                    <a:lnTo>
                      <a:pt x="1" y="147"/>
                    </a:lnTo>
                    <a:lnTo>
                      <a:pt x="0" y="143"/>
                    </a:lnTo>
                    <a:lnTo>
                      <a:pt x="0" y="140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5"/>
                    </a:lnTo>
                    <a:lnTo>
                      <a:pt x="1" y="12"/>
                    </a:lnTo>
                    <a:lnTo>
                      <a:pt x="6" y="5"/>
                    </a:lnTo>
                    <a:lnTo>
                      <a:pt x="13" y="2"/>
                    </a:lnTo>
                    <a:lnTo>
                      <a:pt x="15" y="0"/>
                    </a:lnTo>
                    <a:lnTo>
                      <a:pt x="20" y="0"/>
                    </a:lnTo>
                    <a:lnTo>
                      <a:pt x="97" y="0"/>
                    </a:lnTo>
                    <a:lnTo>
                      <a:pt x="97" y="0"/>
                    </a:lnTo>
                    <a:lnTo>
                      <a:pt x="101" y="0"/>
                    </a:lnTo>
                    <a:lnTo>
                      <a:pt x="105" y="2"/>
                    </a:lnTo>
                    <a:lnTo>
                      <a:pt x="111" y="5"/>
                    </a:lnTo>
                    <a:lnTo>
                      <a:pt x="115" y="12"/>
                    </a:lnTo>
                    <a:lnTo>
                      <a:pt x="116" y="15"/>
                    </a:lnTo>
                    <a:lnTo>
                      <a:pt x="116" y="19"/>
                    </a:lnTo>
                    <a:lnTo>
                      <a:pt x="116" y="15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41" name="Freeform 450"/>
              <p:cNvSpPr>
                <a:spLocks/>
              </p:cNvSpPr>
              <p:nvPr/>
            </p:nvSpPr>
            <p:spPr bwMode="auto">
              <a:xfrm>
                <a:off x="2365199" y="4944828"/>
                <a:ext cx="145178" cy="231981"/>
              </a:xfrm>
              <a:custGeom>
                <a:avLst/>
                <a:gdLst/>
                <a:ahLst/>
                <a:cxnLst>
                  <a:cxn ang="0">
                    <a:pos x="32" y="129"/>
                  </a:cxn>
                  <a:cxn ang="0">
                    <a:pos x="32" y="129"/>
                  </a:cxn>
                  <a:cxn ang="0">
                    <a:pos x="34" y="133"/>
                  </a:cxn>
                  <a:cxn ang="0">
                    <a:pos x="35" y="136"/>
                  </a:cxn>
                  <a:cxn ang="0">
                    <a:pos x="39" y="137"/>
                  </a:cxn>
                  <a:cxn ang="0">
                    <a:pos x="41" y="138"/>
                  </a:cxn>
                  <a:cxn ang="0">
                    <a:pos x="41" y="138"/>
                  </a:cxn>
                  <a:cxn ang="0">
                    <a:pos x="45" y="137"/>
                  </a:cxn>
                  <a:cxn ang="0">
                    <a:pos x="48" y="136"/>
                  </a:cxn>
                  <a:cxn ang="0">
                    <a:pos x="49" y="133"/>
                  </a:cxn>
                  <a:cxn ang="0">
                    <a:pos x="50" y="129"/>
                  </a:cxn>
                  <a:cxn ang="0">
                    <a:pos x="50" y="129"/>
                  </a:cxn>
                  <a:cxn ang="0">
                    <a:pos x="49" y="125"/>
                  </a:cxn>
                  <a:cxn ang="0">
                    <a:pos x="48" y="123"/>
                  </a:cxn>
                  <a:cxn ang="0">
                    <a:pos x="45" y="122"/>
                  </a:cxn>
                  <a:cxn ang="0">
                    <a:pos x="41" y="120"/>
                  </a:cxn>
                  <a:cxn ang="0">
                    <a:pos x="7" y="120"/>
                  </a:cxn>
                  <a:cxn ang="0">
                    <a:pos x="7" y="120"/>
                  </a:cxn>
                  <a:cxn ang="0">
                    <a:pos x="5" y="120"/>
                  </a:cxn>
                  <a:cxn ang="0">
                    <a:pos x="2" y="119"/>
                  </a:cxn>
                  <a:cxn ang="0">
                    <a:pos x="1" y="117"/>
                  </a:cxn>
                  <a:cxn ang="0">
                    <a:pos x="0" y="11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1" y="4"/>
                  </a:cxn>
                  <a:cxn ang="0">
                    <a:pos x="2" y="2"/>
                  </a:cxn>
                  <a:cxn ang="0">
                    <a:pos x="5" y="1"/>
                  </a:cxn>
                  <a:cxn ang="0">
                    <a:pos x="7" y="0"/>
                  </a:cxn>
                  <a:cxn ang="0">
                    <a:pos x="84" y="0"/>
                  </a:cxn>
                  <a:cxn ang="0">
                    <a:pos x="84" y="0"/>
                  </a:cxn>
                  <a:cxn ang="0">
                    <a:pos x="87" y="1"/>
                  </a:cxn>
                  <a:cxn ang="0">
                    <a:pos x="88" y="2"/>
                  </a:cxn>
                  <a:cxn ang="0">
                    <a:pos x="89" y="4"/>
                  </a:cxn>
                  <a:cxn ang="0">
                    <a:pos x="91" y="6"/>
                  </a:cxn>
                  <a:cxn ang="0">
                    <a:pos x="91" y="139"/>
                  </a:cxn>
                  <a:cxn ang="0">
                    <a:pos x="91" y="139"/>
                  </a:cxn>
                  <a:cxn ang="0">
                    <a:pos x="89" y="142"/>
                  </a:cxn>
                  <a:cxn ang="0">
                    <a:pos x="88" y="144"/>
                  </a:cxn>
                  <a:cxn ang="0">
                    <a:pos x="87" y="146"/>
                  </a:cxn>
                  <a:cxn ang="0">
                    <a:pos x="84" y="146"/>
                  </a:cxn>
                </a:cxnLst>
                <a:rect l="0" t="0" r="r" b="b"/>
                <a:pathLst>
                  <a:path w="91" h="146">
                    <a:moveTo>
                      <a:pt x="32" y="129"/>
                    </a:moveTo>
                    <a:lnTo>
                      <a:pt x="32" y="129"/>
                    </a:lnTo>
                    <a:lnTo>
                      <a:pt x="34" y="133"/>
                    </a:lnTo>
                    <a:lnTo>
                      <a:pt x="35" y="136"/>
                    </a:lnTo>
                    <a:lnTo>
                      <a:pt x="39" y="137"/>
                    </a:lnTo>
                    <a:lnTo>
                      <a:pt x="41" y="138"/>
                    </a:lnTo>
                    <a:lnTo>
                      <a:pt x="41" y="138"/>
                    </a:lnTo>
                    <a:lnTo>
                      <a:pt x="45" y="137"/>
                    </a:lnTo>
                    <a:lnTo>
                      <a:pt x="48" y="136"/>
                    </a:lnTo>
                    <a:lnTo>
                      <a:pt x="49" y="133"/>
                    </a:lnTo>
                    <a:lnTo>
                      <a:pt x="50" y="129"/>
                    </a:lnTo>
                    <a:lnTo>
                      <a:pt x="50" y="129"/>
                    </a:lnTo>
                    <a:lnTo>
                      <a:pt x="49" y="125"/>
                    </a:lnTo>
                    <a:lnTo>
                      <a:pt x="48" y="123"/>
                    </a:lnTo>
                    <a:lnTo>
                      <a:pt x="45" y="122"/>
                    </a:lnTo>
                    <a:lnTo>
                      <a:pt x="41" y="120"/>
                    </a:lnTo>
                    <a:lnTo>
                      <a:pt x="7" y="120"/>
                    </a:lnTo>
                    <a:lnTo>
                      <a:pt x="7" y="120"/>
                    </a:lnTo>
                    <a:lnTo>
                      <a:pt x="5" y="120"/>
                    </a:lnTo>
                    <a:lnTo>
                      <a:pt x="2" y="119"/>
                    </a:lnTo>
                    <a:lnTo>
                      <a:pt x="1" y="117"/>
                    </a:lnTo>
                    <a:lnTo>
                      <a:pt x="0" y="11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5" y="1"/>
                    </a:lnTo>
                    <a:lnTo>
                      <a:pt x="7" y="0"/>
                    </a:lnTo>
                    <a:lnTo>
                      <a:pt x="84" y="0"/>
                    </a:lnTo>
                    <a:lnTo>
                      <a:pt x="84" y="0"/>
                    </a:lnTo>
                    <a:lnTo>
                      <a:pt x="87" y="1"/>
                    </a:lnTo>
                    <a:lnTo>
                      <a:pt x="88" y="2"/>
                    </a:lnTo>
                    <a:lnTo>
                      <a:pt x="89" y="4"/>
                    </a:lnTo>
                    <a:lnTo>
                      <a:pt x="91" y="6"/>
                    </a:lnTo>
                    <a:lnTo>
                      <a:pt x="91" y="139"/>
                    </a:lnTo>
                    <a:lnTo>
                      <a:pt x="91" y="139"/>
                    </a:lnTo>
                    <a:lnTo>
                      <a:pt x="89" y="142"/>
                    </a:lnTo>
                    <a:lnTo>
                      <a:pt x="88" y="144"/>
                    </a:lnTo>
                    <a:lnTo>
                      <a:pt x="87" y="146"/>
                    </a:lnTo>
                    <a:lnTo>
                      <a:pt x="84" y="146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6" name="Groupe 836"/>
            <p:cNvGrpSpPr>
              <a:grpSpLocks/>
            </p:cNvGrpSpPr>
            <p:nvPr userDrawn="1"/>
          </p:nvGrpSpPr>
          <p:grpSpPr bwMode="auto">
            <a:xfrm>
              <a:off x="6165033" y="2867225"/>
              <a:ext cx="722304" cy="534472"/>
              <a:chOff x="1163614" y="7062589"/>
              <a:chExt cx="344488" cy="260350"/>
            </a:xfrm>
          </p:grpSpPr>
          <p:sp>
            <p:nvSpPr>
              <p:cNvPr id="26" name="Freeform 578"/>
              <p:cNvSpPr>
                <a:spLocks/>
              </p:cNvSpPr>
              <p:nvPr/>
            </p:nvSpPr>
            <p:spPr bwMode="auto">
              <a:xfrm>
                <a:off x="1477958" y="7108914"/>
                <a:ext cx="30348" cy="166252"/>
              </a:xfrm>
              <a:custGeom>
                <a:avLst/>
                <a:gdLst/>
                <a:ahLst/>
                <a:cxnLst>
                  <a:cxn ang="0">
                    <a:pos x="0" y="105"/>
                  </a:cxn>
                  <a:cxn ang="0">
                    <a:pos x="0" y="105"/>
                  </a:cxn>
                  <a:cxn ang="0">
                    <a:pos x="7" y="94"/>
                  </a:cxn>
                  <a:cxn ang="0">
                    <a:pos x="14" y="81"/>
                  </a:cxn>
                  <a:cxn ang="0">
                    <a:pos x="17" y="67"/>
                  </a:cxn>
                  <a:cxn ang="0">
                    <a:pos x="19" y="52"/>
                  </a:cxn>
                  <a:cxn ang="0">
                    <a:pos x="19" y="52"/>
                  </a:cxn>
                  <a:cxn ang="0">
                    <a:pos x="17" y="38"/>
                  </a:cxn>
                  <a:cxn ang="0">
                    <a:pos x="14" y="24"/>
                  </a:cxn>
                  <a:cxn ang="0">
                    <a:pos x="7" y="12"/>
                  </a:cxn>
                  <a:cxn ang="0">
                    <a:pos x="0" y="0"/>
                  </a:cxn>
                </a:cxnLst>
                <a:rect l="0" t="0" r="r" b="b"/>
                <a:pathLst>
                  <a:path w="19" h="105">
                    <a:moveTo>
                      <a:pt x="0" y="105"/>
                    </a:moveTo>
                    <a:lnTo>
                      <a:pt x="0" y="105"/>
                    </a:lnTo>
                    <a:lnTo>
                      <a:pt x="7" y="94"/>
                    </a:lnTo>
                    <a:lnTo>
                      <a:pt x="14" y="81"/>
                    </a:lnTo>
                    <a:lnTo>
                      <a:pt x="17" y="67"/>
                    </a:lnTo>
                    <a:lnTo>
                      <a:pt x="19" y="52"/>
                    </a:lnTo>
                    <a:lnTo>
                      <a:pt x="19" y="52"/>
                    </a:lnTo>
                    <a:lnTo>
                      <a:pt x="17" y="38"/>
                    </a:lnTo>
                    <a:lnTo>
                      <a:pt x="14" y="24"/>
                    </a:lnTo>
                    <a:lnTo>
                      <a:pt x="7" y="12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7" name="Freeform 579"/>
              <p:cNvSpPr>
                <a:spLocks/>
              </p:cNvSpPr>
              <p:nvPr/>
            </p:nvSpPr>
            <p:spPr bwMode="auto">
              <a:xfrm>
                <a:off x="1277825" y="7273619"/>
                <a:ext cx="10170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7" y="7"/>
                  </a:cxn>
                  <a:cxn ang="0">
                    <a:pos x="13" y="13"/>
                  </a:cxn>
                  <a:cxn ang="0">
                    <a:pos x="21" y="18"/>
                  </a:cxn>
                  <a:cxn ang="0">
                    <a:pos x="28" y="22"/>
                  </a:cxn>
                  <a:cxn ang="0">
                    <a:pos x="36" y="26"/>
                  </a:cxn>
                  <a:cxn ang="0">
                    <a:pos x="45" y="28"/>
                  </a:cxn>
                  <a:cxn ang="0">
                    <a:pos x="54" y="29"/>
                  </a:cxn>
                  <a:cxn ang="0">
                    <a:pos x="64" y="31"/>
                  </a:cxn>
                </a:cxnLst>
                <a:rect l="0" t="0" r="r" b="b"/>
                <a:pathLst>
                  <a:path w="64" h="31">
                    <a:moveTo>
                      <a:pt x="0" y="0"/>
                    </a:moveTo>
                    <a:lnTo>
                      <a:pt x="0" y="0"/>
                    </a:lnTo>
                    <a:lnTo>
                      <a:pt x="7" y="7"/>
                    </a:lnTo>
                    <a:lnTo>
                      <a:pt x="13" y="13"/>
                    </a:lnTo>
                    <a:lnTo>
                      <a:pt x="21" y="18"/>
                    </a:lnTo>
                    <a:lnTo>
                      <a:pt x="28" y="22"/>
                    </a:lnTo>
                    <a:lnTo>
                      <a:pt x="36" y="26"/>
                    </a:lnTo>
                    <a:lnTo>
                      <a:pt x="45" y="28"/>
                    </a:lnTo>
                    <a:lnTo>
                      <a:pt x="54" y="29"/>
                    </a:lnTo>
                    <a:lnTo>
                      <a:pt x="64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8" name="Line 580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9" name="Line 581"/>
              <p:cNvSpPr>
                <a:spLocks noChangeShapeType="1"/>
              </p:cNvSpPr>
              <p:nvPr/>
            </p:nvSpPr>
            <p:spPr bwMode="auto">
              <a:xfrm>
                <a:off x="1277825" y="7108914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0" name="Freeform 582"/>
              <p:cNvSpPr>
                <a:spLocks/>
              </p:cNvSpPr>
              <p:nvPr/>
            </p:nvSpPr>
            <p:spPr bwMode="auto">
              <a:xfrm>
                <a:off x="1277825" y="7062518"/>
                <a:ext cx="200134" cy="46396"/>
              </a:xfrm>
              <a:custGeom>
                <a:avLst/>
                <a:gdLst/>
                <a:ahLst/>
                <a:cxnLst>
                  <a:cxn ang="0">
                    <a:pos x="0" y="29"/>
                  </a:cxn>
                  <a:cxn ang="0">
                    <a:pos x="0" y="29"/>
                  </a:cxn>
                  <a:cxn ang="0">
                    <a:pos x="7" y="23"/>
                  </a:cxn>
                  <a:cxn ang="0">
                    <a:pos x="13" y="17"/>
                  </a:cxn>
                  <a:cxn ang="0">
                    <a:pos x="21" y="12"/>
                  </a:cxn>
                  <a:cxn ang="0">
                    <a:pos x="28" y="8"/>
                  </a:cxn>
                  <a:cxn ang="0">
                    <a:pos x="37" y="4"/>
                  </a:cxn>
                  <a:cxn ang="0">
                    <a:pos x="45" y="3"/>
                  </a:cxn>
                  <a:cxn ang="0">
                    <a:pos x="54" y="0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73" y="0"/>
                  </a:cxn>
                  <a:cxn ang="0">
                    <a:pos x="81" y="3"/>
                  </a:cxn>
                  <a:cxn ang="0">
                    <a:pos x="90" y="4"/>
                  </a:cxn>
                  <a:cxn ang="0">
                    <a:pos x="98" y="8"/>
                  </a:cxn>
                  <a:cxn ang="0">
                    <a:pos x="105" y="12"/>
                  </a:cxn>
                  <a:cxn ang="0">
                    <a:pos x="113" y="17"/>
                  </a:cxn>
                  <a:cxn ang="0">
                    <a:pos x="119" y="23"/>
                  </a:cxn>
                  <a:cxn ang="0">
                    <a:pos x="126" y="29"/>
                  </a:cxn>
                </a:cxnLst>
                <a:rect l="0" t="0" r="r" b="b"/>
                <a:pathLst>
                  <a:path w="126" h="29">
                    <a:moveTo>
                      <a:pt x="0" y="29"/>
                    </a:moveTo>
                    <a:lnTo>
                      <a:pt x="0" y="29"/>
                    </a:lnTo>
                    <a:lnTo>
                      <a:pt x="7" y="23"/>
                    </a:lnTo>
                    <a:lnTo>
                      <a:pt x="13" y="17"/>
                    </a:lnTo>
                    <a:lnTo>
                      <a:pt x="21" y="12"/>
                    </a:lnTo>
                    <a:lnTo>
                      <a:pt x="28" y="8"/>
                    </a:lnTo>
                    <a:lnTo>
                      <a:pt x="37" y="4"/>
                    </a:lnTo>
                    <a:lnTo>
                      <a:pt x="45" y="3"/>
                    </a:lnTo>
                    <a:lnTo>
                      <a:pt x="5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73" y="0"/>
                    </a:lnTo>
                    <a:lnTo>
                      <a:pt x="81" y="3"/>
                    </a:lnTo>
                    <a:lnTo>
                      <a:pt x="90" y="4"/>
                    </a:lnTo>
                    <a:lnTo>
                      <a:pt x="98" y="8"/>
                    </a:lnTo>
                    <a:lnTo>
                      <a:pt x="105" y="12"/>
                    </a:lnTo>
                    <a:lnTo>
                      <a:pt x="113" y="17"/>
                    </a:lnTo>
                    <a:lnTo>
                      <a:pt x="119" y="23"/>
                    </a:lnTo>
                    <a:lnTo>
                      <a:pt x="126" y="2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1" name="Freeform 583"/>
              <p:cNvSpPr>
                <a:spLocks/>
              </p:cNvSpPr>
              <p:nvPr/>
            </p:nvSpPr>
            <p:spPr bwMode="auto">
              <a:xfrm>
                <a:off x="1277825" y="7108914"/>
                <a:ext cx="200134" cy="2165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3" y="7"/>
                  </a:cxn>
                  <a:cxn ang="0">
                    <a:pos x="28" y="10"/>
                  </a:cxn>
                  <a:cxn ang="0">
                    <a:pos x="45" y="13"/>
                  </a:cxn>
                  <a:cxn ang="0">
                    <a:pos x="62" y="14"/>
                  </a:cxn>
                  <a:cxn ang="0">
                    <a:pos x="62" y="14"/>
                  </a:cxn>
                  <a:cxn ang="0">
                    <a:pos x="81" y="13"/>
                  </a:cxn>
                  <a:cxn ang="0">
                    <a:pos x="98" y="10"/>
                  </a:cxn>
                  <a:cxn ang="0">
                    <a:pos x="113" y="5"/>
                  </a:cxn>
                  <a:cxn ang="0">
                    <a:pos x="126" y="0"/>
                  </a:cxn>
                </a:cxnLst>
                <a:rect l="0" t="0" r="r" b="b"/>
                <a:pathLst>
                  <a:path w="126" h="14">
                    <a:moveTo>
                      <a:pt x="0" y="0"/>
                    </a:moveTo>
                    <a:lnTo>
                      <a:pt x="0" y="0"/>
                    </a:lnTo>
                    <a:lnTo>
                      <a:pt x="13" y="7"/>
                    </a:lnTo>
                    <a:lnTo>
                      <a:pt x="28" y="10"/>
                    </a:lnTo>
                    <a:lnTo>
                      <a:pt x="45" y="13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1" y="13"/>
                    </a:lnTo>
                    <a:lnTo>
                      <a:pt x="98" y="10"/>
                    </a:lnTo>
                    <a:lnTo>
                      <a:pt x="113" y="5"/>
                    </a:lnTo>
                    <a:lnTo>
                      <a:pt x="126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2" name="Freeform 584"/>
              <p:cNvSpPr>
                <a:spLocks/>
              </p:cNvSpPr>
              <p:nvPr/>
            </p:nvSpPr>
            <p:spPr bwMode="auto">
              <a:xfrm>
                <a:off x="1277825" y="7251968"/>
                <a:ext cx="200134" cy="23198"/>
              </a:xfrm>
              <a:custGeom>
                <a:avLst/>
                <a:gdLst/>
                <a:ahLst/>
                <a:cxnLst>
                  <a:cxn ang="0">
                    <a:pos x="126" y="14"/>
                  </a:cxn>
                  <a:cxn ang="0">
                    <a:pos x="126" y="14"/>
                  </a:cxn>
                  <a:cxn ang="0">
                    <a:pos x="113" y="9"/>
                  </a:cxn>
                  <a:cxn ang="0">
                    <a:pos x="98" y="4"/>
                  </a:cxn>
                  <a:cxn ang="0">
                    <a:pos x="81" y="2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45" y="2"/>
                  </a:cxn>
                  <a:cxn ang="0">
                    <a:pos x="28" y="4"/>
                  </a:cxn>
                  <a:cxn ang="0">
                    <a:pos x="13" y="9"/>
                  </a:cxn>
                  <a:cxn ang="0">
                    <a:pos x="0" y="15"/>
                  </a:cxn>
                </a:cxnLst>
                <a:rect l="0" t="0" r="r" b="b"/>
                <a:pathLst>
                  <a:path w="126" h="15">
                    <a:moveTo>
                      <a:pt x="126" y="14"/>
                    </a:moveTo>
                    <a:lnTo>
                      <a:pt x="126" y="14"/>
                    </a:lnTo>
                    <a:lnTo>
                      <a:pt x="113" y="9"/>
                    </a:lnTo>
                    <a:lnTo>
                      <a:pt x="98" y="4"/>
                    </a:lnTo>
                    <a:lnTo>
                      <a:pt x="81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45" y="2"/>
                    </a:lnTo>
                    <a:lnTo>
                      <a:pt x="28" y="4"/>
                    </a:lnTo>
                    <a:lnTo>
                      <a:pt x="13" y="9"/>
                    </a:lnTo>
                    <a:lnTo>
                      <a:pt x="0" y="1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3" name="Freeform 585"/>
              <p:cNvSpPr>
                <a:spLocks/>
              </p:cNvSpPr>
              <p:nvPr/>
            </p:nvSpPr>
            <p:spPr bwMode="auto">
              <a:xfrm>
                <a:off x="1308173" y="7062518"/>
                <a:ext cx="141078" cy="260591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81"/>
                  </a:cxn>
                  <a:cxn ang="0">
                    <a:pos x="2" y="65"/>
                  </a:cxn>
                  <a:cxn ang="0">
                    <a:pos x="4" y="50"/>
                  </a:cxn>
                  <a:cxn ang="0">
                    <a:pos x="8" y="36"/>
                  </a:cxn>
                  <a:cxn ang="0">
                    <a:pos x="13" y="24"/>
                  </a:cxn>
                  <a:cxn ang="0">
                    <a:pos x="19" y="14"/>
                  </a:cxn>
                  <a:cxn ang="0">
                    <a:pos x="27" y="7"/>
                  </a:cxn>
                  <a:cxn ang="0">
                    <a:pos x="36" y="1"/>
                  </a:cxn>
                  <a:cxn ang="0">
                    <a:pos x="40" y="0"/>
                  </a:cxn>
                  <a:cxn ang="0">
                    <a:pos x="45" y="0"/>
                  </a:cxn>
                  <a:cxn ang="0">
                    <a:pos x="45" y="0"/>
                  </a:cxn>
                  <a:cxn ang="0">
                    <a:pos x="48" y="0"/>
                  </a:cxn>
                  <a:cxn ang="0">
                    <a:pos x="54" y="1"/>
                  </a:cxn>
                  <a:cxn ang="0">
                    <a:pos x="61" y="7"/>
                  </a:cxn>
                  <a:cxn ang="0">
                    <a:pos x="69" y="14"/>
                  </a:cxn>
                  <a:cxn ang="0">
                    <a:pos x="75" y="24"/>
                  </a:cxn>
                  <a:cxn ang="0">
                    <a:pos x="81" y="36"/>
                  </a:cxn>
                  <a:cxn ang="0">
                    <a:pos x="85" y="50"/>
                  </a:cxn>
                  <a:cxn ang="0">
                    <a:pos x="88" y="65"/>
                  </a:cxn>
                  <a:cxn ang="0">
                    <a:pos x="89" y="81"/>
                  </a:cxn>
                  <a:cxn ang="0">
                    <a:pos x="89" y="81"/>
                  </a:cxn>
                  <a:cxn ang="0">
                    <a:pos x="88" y="98"/>
                  </a:cxn>
                  <a:cxn ang="0">
                    <a:pos x="85" y="113"/>
                  </a:cxn>
                  <a:cxn ang="0">
                    <a:pos x="81" y="127"/>
                  </a:cxn>
                  <a:cxn ang="0">
                    <a:pos x="75" y="140"/>
                  </a:cxn>
                  <a:cxn ang="0">
                    <a:pos x="69" y="150"/>
                  </a:cxn>
                  <a:cxn ang="0">
                    <a:pos x="61" y="157"/>
                  </a:cxn>
                  <a:cxn ang="0">
                    <a:pos x="54" y="161"/>
                  </a:cxn>
                  <a:cxn ang="0">
                    <a:pos x="48" y="162"/>
                  </a:cxn>
                  <a:cxn ang="0">
                    <a:pos x="45" y="164"/>
                  </a:cxn>
                  <a:cxn ang="0">
                    <a:pos x="45" y="164"/>
                  </a:cxn>
                  <a:cxn ang="0">
                    <a:pos x="38" y="162"/>
                  </a:cxn>
                  <a:cxn ang="0">
                    <a:pos x="33" y="160"/>
                  </a:cxn>
                  <a:cxn ang="0">
                    <a:pos x="27" y="157"/>
                  </a:cxn>
                  <a:cxn ang="0">
                    <a:pos x="22" y="152"/>
                  </a:cxn>
                  <a:cxn ang="0">
                    <a:pos x="18" y="147"/>
                  </a:cxn>
                  <a:cxn ang="0">
                    <a:pos x="13" y="140"/>
                  </a:cxn>
                  <a:cxn ang="0">
                    <a:pos x="9" y="132"/>
                  </a:cxn>
                  <a:cxn ang="0">
                    <a:pos x="7" y="124"/>
                  </a:cxn>
                </a:cxnLst>
                <a:rect l="0" t="0" r="r" b="b"/>
                <a:pathLst>
                  <a:path w="89" h="164">
                    <a:moveTo>
                      <a:pt x="0" y="81"/>
                    </a:moveTo>
                    <a:lnTo>
                      <a:pt x="0" y="81"/>
                    </a:lnTo>
                    <a:lnTo>
                      <a:pt x="2" y="65"/>
                    </a:lnTo>
                    <a:lnTo>
                      <a:pt x="4" y="50"/>
                    </a:lnTo>
                    <a:lnTo>
                      <a:pt x="8" y="36"/>
                    </a:lnTo>
                    <a:lnTo>
                      <a:pt x="13" y="24"/>
                    </a:lnTo>
                    <a:lnTo>
                      <a:pt x="19" y="14"/>
                    </a:lnTo>
                    <a:lnTo>
                      <a:pt x="27" y="7"/>
                    </a:lnTo>
                    <a:lnTo>
                      <a:pt x="36" y="1"/>
                    </a:lnTo>
                    <a:lnTo>
                      <a:pt x="40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8" y="0"/>
                    </a:lnTo>
                    <a:lnTo>
                      <a:pt x="54" y="1"/>
                    </a:lnTo>
                    <a:lnTo>
                      <a:pt x="61" y="7"/>
                    </a:lnTo>
                    <a:lnTo>
                      <a:pt x="69" y="14"/>
                    </a:lnTo>
                    <a:lnTo>
                      <a:pt x="75" y="24"/>
                    </a:lnTo>
                    <a:lnTo>
                      <a:pt x="81" y="36"/>
                    </a:lnTo>
                    <a:lnTo>
                      <a:pt x="85" y="50"/>
                    </a:lnTo>
                    <a:lnTo>
                      <a:pt x="88" y="65"/>
                    </a:lnTo>
                    <a:lnTo>
                      <a:pt x="89" y="81"/>
                    </a:lnTo>
                    <a:lnTo>
                      <a:pt x="89" y="81"/>
                    </a:lnTo>
                    <a:lnTo>
                      <a:pt x="88" y="98"/>
                    </a:lnTo>
                    <a:lnTo>
                      <a:pt x="85" y="113"/>
                    </a:lnTo>
                    <a:lnTo>
                      <a:pt x="81" y="127"/>
                    </a:lnTo>
                    <a:lnTo>
                      <a:pt x="75" y="140"/>
                    </a:lnTo>
                    <a:lnTo>
                      <a:pt x="69" y="150"/>
                    </a:lnTo>
                    <a:lnTo>
                      <a:pt x="61" y="157"/>
                    </a:lnTo>
                    <a:lnTo>
                      <a:pt x="54" y="161"/>
                    </a:lnTo>
                    <a:lnTo>
                      <a:pt x="48" y="162"/>
                    </a:lnTo>
                    <a:lnTo>
                      <a:pt x="45" y="164"/>
                    </a:lnTo>
                    <a:lnTo>
                      <a:pt x="45" y="164"/>
                    </a:lnTo>
                    <a:lnTo>
                      <a:pt x="38" y="162"/>
                    </a:lnTo>
                    <a:lnTo>
                      <a:pt x="33" y="160"/>
                    </a:lnTo>
                    <a:lnTo>
                      <a:pt x="27" y="157"/>
                    </a:lnTo>
                    <a:lnTo>
                      <a:pt x="22" y="152"/>
                    </a:lnTo>
                    <a:lnTo>
                      <a:pt x="18" y="147"/>
                    </a:lnTo>
                    <a:lnTo>
                      <a:pt x="13" y="140"/>
                    </a:lnTo>
                    <a:lnTo>
                      <a:pt x="9" y="132"/>
                    </a:lnTo>
                    <a:lnTo>
                      <a:pt x="7" y="124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4" name="Line 586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26083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5" name="Line 587"/>
              <p:cNvSpPr>
                <a:spLocks noChangeShapeType="1"/>
              </p:cNvSpPr>
              <p:nvPr/>
            </p:nvSpPr>
            <p:spPr bwMode="auto">
              <a:xfrm flipV="1">
                <a:off x="1379532" y="7062518"/>
                <a:ext cx="820" cy="260591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6" name="Line 588"/>
              <p:cNvSpPr>
                <a:spLocks noChangeShapeType="1"/>
              </p:cNvSpPr>
              <p:nvPr/>
            </p:nvSpPr>
            <p:spPr bwMode="auto">
              <a:xfrm>
                <a:off x="1163814" y="7167682"/>
                <a:ext cx="83662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7" name="Freeform 589"/>
              <p:cNvSpPr>
                <a:spLocks/>
              </p:cNvSpPr>
              <p:nvPr/>
            </p:nvSpPr>
            <p:spPr bwMode="auto">
              <a:xfrm>
                <a:off x="1247477" y="7143711"/>
                <a:ext cx="25427" cy="4717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" y="15"/>
                  </a:cxn>
                  <a:cxn ang="0">
                    <a:pos x="0" y="30"/>
                  </a:cxn>
                </a:cxnLst>
                <a:rect l="0" t="0" r="r" b="b"/>
                <a:pathLst>
                  <a:path w="16" h="30">
                    <a:moveTo>
                      <a:pt x="0" y="0"/>
                    </a:moveTo>
                    <a:lnTo>
                      <a:pt x="16" y="15"/>
                    </a:lnTo>
                    <a:lnTo>
                      <a:pt x="0" y="3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8" name="Line 590"/>
              <p:cNvSpPr>
                <a:spLocks noChangeShapeType="1"/>
              </p:cNvSpPr>
              <p:nvPr/>
            </p:nvSpPr>
            <p:spPr bwMode="auto">
              <a:xfrm>
                <a:off x="1231892" y="7235730"/>
                <a:ext cx="86943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9" name="Freeform 591"/>
              <p:cNvSpPr>
                <a:spLocks/>
              </p:cNvSpPr>
              <p:nvPr/>
            </p:nvSpPr>
            <p:spPr bwMode="auto">
              <a:xfrm>
                <a:off x="1318836" y="7210212"/>
                <a:ext cx="2378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" y="16"/>
                  </a:cxn>
                  <a:cxn ang="0">
                    <a:pos x="0" y="31"/>
                  </a:cxn>
                </a:cxnLst>
                <a:rect l="0" t="0" r="r" b="b"/>
                <a:pathLst>
                  <a:path w="15" h="31">
                    <a:moveTo>
                      <a:pt x="0" y="0"/>
                    </a:moveTo>
                    <a:lnTo>
                      <a:pt x="15" y="16"/>
                    </a:lnTo>
                    <a:lnTo>
                      <a:pt x="0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7" name="Groupe 320"/>
            <p:cNvGrpSpPr>
              <a:grpSpLocks/>
            </p:cNvGrpSpPr>
            <p:nvPr userDrawn="1"/>
          </p:nvGrpSpPr>
          <p:grpSpPr bwMode="auto">
            <a:xfrm>
              <a:off x="4610305" y="2502608"/>
              <a:ext cx="442816" cy="482367"/>
              <a:chOff x="4430703" y="4715239"/>
              <a:chExt cx="374626" cy="416805"/>
            </a:xfrm>
          </p:grpSpPr>
          <p:sp>
            <p:nvSpPr>
              <p:cNvPr id="21" name="Freeform 897"/>
              <p:cNvSpPr>
                <a:spLocks/>
              </p:cNvSpPr>
              <p:nvPr/>
            </p:nvSpPr>
            <p:spPr bwMode="auto">
              <a:xfrm>
                <a:off x="4649334" y="4788757"/>
                <a:ext cx="155680" cy="256503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4912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0" fmla="*/ 4737 w 9825"/>
                  <a:gd name="connsiteY0" fmla="*/ 10000 h 10000"/>
                  <a:gd name="connsiteX1" fmla="*/ 4737 w 9825"/>
                  <a:gd name="connsiteY1" fmla="*/ 10000 h 10000"/>
                  <a:gd name="connsiteX2" fmla="*/ 6579 w 9825"/>
                  <a:gd name="connsiteY2" fmla="*/ 10000 h 10000"/>
                  <a:gd name="connsiteX3" fmla="*/ 8246 w 9825"/>
                  <a:gd name="connsiteY3" fmla="*/ 9938 h 10000"/>
                  <a:gd name="connsiteX4" fmla="*/ 9386 w 9825"/>
                  <a:gd name="connsiteY4" fmla="*/ 9814 h 10000"/>
                  <a:gd name="connsiteX5" fmla="*/ 9737 w 9825"/>
                  <a:gd name="connsiteY5" fmla="*/ 9752 h 10000"/>
                  <a:gd name="connsiteX6" fmla="*/ 9825 w 9825"/>
                  <a:gd name="connsiteY6" fmla="*/ 9689 h 10000"/>
                  <a:gd name="connsiteX7" fmla="*/ 9825 w 9825"/>
                  <a:gd name="connsiteY7" fmla="*/ 9689 h 10000"/>
                  <a:gd name="connsiteX8" fmla="*/ 9825 w 9825"/>
                  <a:gd name="connsiteY8" fmla="*/ 8634 h 10000"/>
                  <a:gd name="connsiteX9" fmla="*/ 9737 w 9825"/>
                  <a:gd name="connsiteY9" fmla="*/ 7702 h 10000"/>
                  <a:gd name="connsiteX10" fmla="*/ 9386 w 9825"/>
                  <a:gd name="connsiteY10" fmla="*/ 6832 h 10000"/>
                  <a:gd name="connsiteX11" fmla="*/ 9036 w 9825"/>
                  <a:gd name="connsiteY11" fmla="*/ 6087 h 10000"/>
                  <a:gd name="connsiteX12" fmla="*/ 8509 w 9825"/>
                  <a:gd name="connsiteY12" fmla="*/ 5342 h 10000"/>
                  <a:gd name="connsiteX13" fmla="*/ 7807 w 9825"/>
                  <a:gd name="connsiteY13" fmla="*/ 4783 h 10000"/>
                  <a:gd name="connsiteX14" fmla="*/ 6930 w 9825"/>
                  <a:gd name="connsiteY14" fmla="*/ 4410 h 10000"/>
                  <a:gd name="connsiteX15" fmla="*/ 5965 w 9825"/>
                  <a:gd name="connsiteY15" fmla="*/ 4099 h 10000"/>
                  <a:gd name="connsiteX16" fmla="*/ 5965 w 9825"/>
                  <a:gd name="connsiteY16" fmla="*/ 4099 h 10000"/>
                  <a:gd name="connsiteX17" fmla="*/ 6492 w 9825"/>
                  <a:gd name="connsiteY17" fmla="*/ 3727 h 10000"/>
                  <a:gd name="connsiteX18" fmla="*/ 6843 w 9825"/>
                  <a:gd name="connsiteY18" fmla="*/ 3230 h 10000"/>
                  <a:gd name="connsiteX19" fmla="*/ 7106 w 9825"/>
                  <a:gd name="connsiteY19" fmla="*/ 2671 h 10000"/>
                  <a:gd name="connsiteX20" fmla="*/ 7369 w 9825"/>
                  <a:gd name="connsiteY20" fmla="*/ 2112 h 10000"/>
                  <a:gd name="connsiteX21" fmla="*/ 7369 w 9825"/>
                  <a:gd name="connsiteY21" fmla="*/ 2112 h 10000"/>
                  <a:gd name="connsiteX22" fmla="*/ 7281 w 9825"/>
                  <a:gd name="connsiteY22" fmla="*/ 1677 h 10000"/>
                  <a:gd name="connsiteX23" fmla="*/ 7106 w 9825"/>
                  <a:gd name="connsiteY23" fmla="*/ 1242 h 10000"/>
                  <a:gd name="connsiteX24" fmla="*/ 6930 w 9825"/>
                  <a:gd name="connsiteY24" fmla="*/ 870 h 10000"/>
                  <a:gd name="connsiteX25" fmla="*/ 6579 w 9825"/>
                  <a:gd name="connsiteY25" fmla="*/ 559 h 10000"/>
                  <a:gd name="connsiteX26" fmla="*/ 6229 w 9825"/>
                  <a:gd name="connsiteY26" fmla="*/ 311 h 10000"/>
                  <a:gd name="connsiteX27" fmla="*/ 5790 w 9825"/>
                  <a:gd name="connsiteY27" fmla="*/ 186 h 10000"/>
                  <a:gd name="connsiteX28" fmla="*/ 5351 w 9825"/>
                  <a:gd name="connsiteY28" fmla="*/ 0 h 10000"/>
                  <a:gd name="connsiteX29" fmla="*/ 4825 w 9825"/>
                  <a:gd name="connsiteY29" fmla="*/ 0 h 10000"/>
                  <a:gd name="connsiteX30" fmla="*/ 4825 w 9825"/>
                  <a:gd name="connsiteY30" fmla="*/ 0 h 10000"/>
                  <a:gd name="connsiteX31" fmla="*/ 4386 w 9825"/>
                  <a:gd name="connsiteY31" fmla="*/ 0 h 10000"/>
                  <a:gd name="connsiteX32" fmla="*/ 3948 w 9825"/>
                  <a:gd name="connsiteY32" fmla="*/ 186 h 10000"/>
                  <a:gd name="connsiteX33" fmla="*/ 3509 w 9825"/>
                  <a:gd name="connsiteY33" fmla="*/ 311 h 10000"/>
                  <a:gd name="connsiteX34" fmla="*/ 3071 w 9825"/>
                  <a:gd name="connsiteY34" fmla="*/ 559 h 10000"/>
                  <a:gd name="connsiteX35" fmla="*/ 2807 w 9825"/>
                  <a:gd name="connsiteY35" fmla="*/ 870 h 10000"/>
                  <a:gd name="connsiteX36" fmla="*/ 2544 w 9825"/>
                  <a:gd name="connsiteY36" fmla="*/ 1242 h 10000"/>
                  <a:gd name="connsiteX37" fmla="*/ 2369 w 9825"/>
                  <a:gd name="connsiteY37" fmla="*/ 1677 h 10000"/>
                  <a:gd name="connsiteX38" fmla="*/ 2369 w 9825"/>
                  <a:gd name="connsiteY38" fmla="*/ 2112 h 10000"/>
                  <a:gd name="connsiteX39" fmla="*/ 2369 w 9825"/>
                  <a:gd name="connsiteY39" fmla="*/ 2112 h 10000"/>
                  <a:gd name="connsiteX40" fmla="*/ 2457 w 9825"/>
                  <a:gd name="connsiteY40" fmla="*/ 2671 h 10000"/>
                  <a:gd name="connsiteX41" fmla="*/ 2807 w 9825"/>
                  <a:gd name="connsiteY41" fmla="*/ 3230 h 10000"/>
                  <a:gd name="connsiteX42" fmla="*/ 3246 w 9825"/>
                  <a:gd name="connsiteY42" fmla="*/ 3727 h 10000"/>
                  <a:gd name="connsiteX43" fmla="*/ 3685 w 9825"/>
                  <a:gd name="connsiteY43" fmla="*/ 4099 h 10000"/>
                  <a:gd name="connsiteX44" fmla="*/ 3685 w 9825"/>
                  <a:gd name="connsiteY44" fmla="*/ 4099 h 10000"/>
                  <a:gd name="connsiteX45" fmla="*/ 2720 w 9825"/>
                  <a:gd name="connsiteY45" fmla="*/ 4410 h 10000"/>
                  <a:gd name="connsiteX46" fmla="*/ 1930 w 9825"/>
                  <a:gd name="connsiteY46" fmla="*/ 4783 h 10000"/>
                  <a:gd name="connsiteX47" fmla="*/ 1229 w 9825"/>
                  <a:gd name="connsiteY47" fmla="*/ 5342 h 10000"/>
                  <a:gd name="connsiteX48" fmla="*/ 702 w 9825"/>
                  <a:gd name="connsiteY48" fmla="*/ 6087 h 10000"/>
                  <a:gd name="connsiteX49" fmla="*/ 264 w 9825"/>
                  <a:gd name="connsiteY49" fmla="*/ 6832 h 10000"/>
                  <a:gd name="connsiteX50" fmla="*/ 0 w 9825"/>
                  <a:gd name="connsiteY50" fmla="*/ 7702 h 10000"/>
                  <a:gd name="connsiteX0" fmla="*/ 4552 w 9731"/>
                  <a:gd name="connsiteY0" fmla="*/ 10000 h 10000"/>
                  <a:gd name="connsiteX1" fmla="*/ 4552 w 9731"/>
                  <a:gd name="connsiteY1" fmla="*/ 10000 h 10000"/>
                  <a:gd name="connsiteX2" fmla="*/ 6427 w 9731"/>
                  <a:gd name="connsiteY2" fmla="*/ 10000 h 10000"/>
                  <a:gd name="connsiteX3" fmla="*/ 8124 w 9731"/>
                  <a:gd name="connsiteY3" fmla="*/ 9938 h 10000"/>
                  <a:gd name="connsiteX4" fmla="*/ 9284 w 9731"/>
                  <a:gd name="connsiteY4" fmla="*/ 9814 h 10000"/>
                  <a:gd name="connsiteX5" fmla="*/ 9641 w 9731"/>
                  <a:gd name="connsiteY5" fmla="*/ 9752 h 10000"/>
                  <a:gd name="connsiteX6" fmla="*/ 9731 w 9731"/>
                  <a:gd name="connsiteY6" fmla="*/ 9689 h 10000"/>
                  <a:gd name="connsiteX7" fmla="*/ 9731 w 9731"/>
                  <a:gd name="connsiteY7" fmla="*/ 9689 h 10000"/>
                  <a:gd name="connsiteX8" fmla="*/ 9731 w 9731"/>
                  <a:gd name="connsiteY8" fmla="*/ 8634 h 10000"/>
                  <a:gd name="connsiteX9" fmla="*/ 9641 w 9731"/>
                  <a:gd name="connsiteY9" fmla="*/ 7702 h 10000"/>
                  <a:gd name="connsiteX10" fmla="*/ 9284 w 9731"/>
                  <a:gd name="connsiteY10" fmla="*/ 6832 h 10000"/>
                  <a:gd name="connsiteX11" fmla="*/ 8928 w 9731"/>
                  <a:gd name="connsiteY11" fmla="*/ 6087 h 10000"/>
                  <a:gd name="connsiteX12" fmla="*/ 8392 w 9731"/>
                  <a:gd name="connsiteY12" fmla="*/ 5342 h 10000"/>
                  <a:gd name="connsiteX13" fmla="*/ 7677 w 9731"/>
                  <a:gd name="connsiteY13" fmla="*/ 4783 h 10000"/>
                  <a:gd name="connsiteX14" fmla="*/ 6784 w 9731"/>
                  <a:gd name="connsiteY14" fmla="*/ 4410 h 10000"/>
                  <a:gd name="connsiteX15" fmla="*/ 5802 w 9731"/>
                  <a:gd name="connsiteY15" fmla="*/ 4099 h 10000"/>
                  <a:gd name="connsiteX16" fmla="*/ 5802 w 9731"/>
                  <a:gd name="connsiteY16" fmla="*/ 4099 h 10000"/>
                  <a:gd name="connsiteX17" fmla="*/ 6339 w 9731"/>
                  <a:gd name="connsiteY17" fmla="*/ 3727 h 10000"/>
                  <a:gd name="connsiteX18" fmla="*/ 6696 w 9731"/>
                  <a:gd name="connsiteY18" fmla="*/ 3230 h 10000"/>
                  <a:gd name="connsiteX19" fmla="*/ 6964 w 9731"/>
                  <a:gd name="connsiteY19" fmla="*/ 2671 h 10000"/>
                  <a:gd name="connsiteX20" fmla="*/ 7231 w 9731"/>
                  <a:gd name="connsiteY20" fmla="*/ 2112 h 10000"/>
                  <a:gd name="connsiteX21" fmla="*/ 7231 w 9731"/>
                  <a:gd name="connsiteY21" fmla="*/ 2112 h 10000"/>
                  <a:gd name="connsiteX22" fmla="*/ 7142 w 9731"/>
                  <a:gd name="connsiteY22" fmla="*/ 1677 h 10000"/>
                  <a:gd name="connsiteX23" fmla="*/ 6964 w 9731"/>
                  <a:gd name="connsiteY23" fmla="*/ 1242 h 10000"/>
                  <a:gd name="connsiteX24" fmla="*/ 6784 w 9731"/>
                  <a:gd name="connsiteY24" fmla="*/ 870 h 10000"/>
                  <a:gd name="connsiteX25" fmla="*/ 6427 w 9731"/>
                  <a:gd name="connsiteY25" fmla="*/ 559 h 10000"/>
                  <a:gd name="connsiteX26" fmla="*/ 6071 w 9731"/>
                  <a:gd name="connsiteY26" fmla="*/ 311 h 10000"/>
                  <a:gd name="connsiteX27" fmla="*/ 5624 w 9731"/>
                  <a:gd name="connsiteY27" fmla="*/ 186 h 10000"/>
                  <a:gd name="connsiteX28" fmla="*/ 5177 w 9731"/>
                  <a:gd name="connsiteY28" fmla="*/ 0 h 10000"/>
                  <a:gd name="connsiteX29" fmla="*/ 4642 w 9731"/>
                  <a:gd name="connsiteY29" fmla="*/ 0 h 10000"/>
                  <a:gd name="connsiteX30" fmla="*/ 4642 w 9731"/>
                  <a:gd name="connsiteY30" fmla="*/ 0 h 10000"/>
                  <a:gd name="connsiteX31" fmla="*/ 4195 w 9731"/>
                  <a:gd name="connsiteY31" fmla="*/ 0 h 10000"/>
                  <a:gd name="connsiteX32" fmla="*/ 3749 w 9731"/>
                  <a:gd name="connsiteY32" fmla="*/ 186 h 10000"/>
                  <a:gd name="connsiteX33" fmla="*/ 3303 w 9731"/>
                  <a:gd name="connsiteY33" fmla="*/ 311 h 10000"/>
                  <a:gd name="connsiteX34" fmla="*/ 2857 w 9731"/>
                  <a:gd name="connsiteY34" fmla="*/ 559 h 10000"/>
                  <a:gd name="connsiteX35" fmla="*/ 2588 w 9731"/>
                  <a:gd name="connsiteY35" fmla="*/ 870 h 10000"/>
                  <a:gd name="connsiteX36" fmla="*/ 2320 w 9731"/>
                  <a:gd name="connsiteY36" fmla="*/ 1242 h 10000"/>
                  <a:gd name="connsiteX37" fmla="*/ 2142 w 9731"/>
                  <a:gd name="connsiteY37" fmla="*/ 1677 h 10000"/>
                  <a:gd name="connsiteX38" fmla="*/ 2142 w 9731"/>
                  <a:gd name="connsiteY38" fmla="*/ 2112 h 10000"/>
                  <a:gd name="connsiteX39" fmla="*/ 2142 w 9731"/>
                  <a:gd name="connsiteY39" fmla="*/ 2112 h 10000"/>
                  <a:gd name="connsiteX40" fmla="*/ 2232 w 9731"/>
                  <a:gd name="connsiteY40" fmla="*/ 2671 h 10000"/>
                  <a:gd name="connsiteX41" fmla="*/ 2588 w 9731"/>
                  <a:gd name="connsiteY41" fmla="*/ 3230 h 10000"/>
                  <a:gd name="connsiteX42" fmla="*/ 3035 w 9731"/>
                  <a:gd name="connsiteY42" fmla="*/ 3727 h 10000"/>
                  <a:gd name="connsiteX43" fmla="*/ 3482 w 9731"/>
                  <a:gd name="connsiteY43" fmla="*/ 4099 h 10000"/>
                  <a:gd name="connsiteX44" fmla="*/ 3482 w 9731"/>
                  <a:gd name="connsiteY44" fmla="*/ 4099 h 10000"/>
                  <a:gd name="connsiteX45" fmla="*/ 2499 w 9731"/>
                  <a:gd name="connsiteY45" fmla="*/ 4410 h 10000"/>
                  <a:gd name="connsiteX46" fmla="*/ 1695 w 9731"/>
                  <a:gd name="connsiteY46" fmla="*/ 4783 h 10000"/>
                  <a:gd name="connsiteX47" fmla="*/ 982 w 9731"/>
                  <a:gd name="connsiteY47" fmla="*/ 5342 h 10000"/>
                  <a:gd name="connsiteX48" fmla="*/ 446 w 9731"/>
                  <a:gd name="connsiteY48" fmla="*/ 6087 h 10000"/>
                  <a:gd name="connsiteX49" fmla="*/ 0 w 9731"/>
                  <a:gd name="connsiteY49" fmla="*/ 6832 h 10000"/>
                  <a:gd name="connsiteX0" fmla="*/ 4220 w 9542"/>
                  <a:gd name="connsiteY0" fmla="*/ 10000 h 10000"/>
                  <a:gd name="connsiteX1" fmla="*/ 4220 w 9542"/>
                  <a:gd name="connsiteY1" fmla="*/ 10000 h 10000"/>
                  <a:gd name="connsiteX2" fmla="*/ 6147 w 9542"/>
                  <a:gd name="connsiteY2" fmla="*/ 10000 h 10000"/>
                  <a:gd name="connsiteX3" fmla="*/ 7891 w 9542"/>
                  <a:gd name="connsiteY3" fmla="*/ 9938 h 10000"/>
                  <a:gd name="connsiteX4" fmla="*/ 9083 w 9542"/>
                  <a:gd name="connsiteY4" fmla="*/ 9814 h 10000"/>
                  <a:gd name="connsiteX5" fmla="*/ 9450 w 9542"/>
                  <a:gd name="connsiteY5" fmla="*/ 9752 h 10000"/>
                  <a:gd name="connsiteX6" fmla="*/ 9542 w 9542"/>
                  <a:gd name="connsiteY6" fmla="*/ 9689 h 10000"/>
                  <a:gd name="connsiteX7" fmla="*/ 9542 w 9542"/>
                  <a:gd name="connsiteY7" fmla="*/ 9689 h 10000"/>
                  <a:gd name="connsiteX8" fmla="*/ 9542 w 9542"/>
                  <a:gd name="connsiteY8" fmla="*/ 8634 h 10000"/>
                  <a:gd name="connsiteX9" fmla="*/ 9450 w 9542"/>
                  <a:gd name="connsiteY9" fmla="*/ 7702 h 10000"/>
                  <a:gd name="connsiteX10" fmla="*/ 9083 w 9542"/>
                  <a:gd name="connsiteY10" fmla="*/ 6832 h 10000"/>
                  <a:gd name="connsiteX11" fmla="*/ 8717 w 9542"/>
                  <a:gd name="connsiteY11" fmla="*/ 6087 h 10000"/>
                  <a:gd name="connsiteX12" fmla="*/ 8166 w 9542"/>
                  <a:gd name="connsiteY12" fmla="*/ 5342 h 10000"/>
                  <a:gd name="connsiteX13" fmla="*/ 7431 w 9542"/>
                  <a:gd name="connsiteY13" fmla="*/ 4783 h 10000"/>
                  <a:gd name="connsiteX14" fmla="*/ 6514 w 9542"/>
                  <a:gd name="connsiteY14" fmla="*/ 4410 h 10000"/>
                  <a:gd name="connsiteX15" fmla="*/ 5504 w 9542"/>
                  <a:gd name="connsiteY15" fmla="*/ 4099 h 10000"/>
                  <a:gd name="connsiteX16" fmla="*/ 5504 w 9542"/>
                  <a:gd name="connsiteY16" fmla="*/ 4099 h 10000"/>
                  <a:gd name="connsiteX17" fmla="*/ 6056 w 9542"/>
                  <a:gd name="connsiteY17" fmla="*/ 3727 h 10000"/>
                  <a:gd name="connsiteX18" fmla="*/ 6423 w 9542"/>
                  <a:gd name="connsiteY18" fmla="*/ 3230 h 10000"/>
                  <a:gd name="connsiteX19" fmla="*/ 6699 w 9542"/>
                  <a:gd name="connsiteY19" fmla="*/ 2671 h 10000"/>
                  <a:gd name="connsiteX20" fmla="*/ 6973 w 9542"/>
                  <a:gd name="connsiteY20" fmla="*/ 2112 h 10000"/>
                  <a:gd name="connsiteX21" fmla="*/ 6973 w 9542"/>
                  <a:gd name="connsiteY21" fmla="*/ 2112 h 10000"/>
                  <a:gd name="connsiteX22" fmla="*/ 6881 w 9542"/>
                  <a:gd name="connsiteY22" fmla="*/ 1677 h 10000"/>
                  <a:gd name="connsiteX23" fmla="*/ 6699 w 9542"/>
                  <a:gd name="connsiteY23" fmla="*/ 1242 h 10000"/>
                  <a:gd name="connsiteX24" fmla="*/ 6514 w 9542"/>
                  <a:gd name="connsiteY24" fmla="*/ 870 h 10000"/>
                  <a:gd name="connsiteX25" fmla="*/ 6147 w 9542"/>
                  <a:gd name="connsiteY25" fmla="*/ 559 h 10000"/>
                  <a:gd name="connsiteX26" fmla="*/ 5781 w 9542"/>
                  <a:gd name="connsiteY26" fmla="*/ 311 h 10000"/>
                  <a:gd name="connsiteX27" fmla="*/ 5321 w 9542"/>
                  <a:gd name="connsiteY27" fmla="*/ 186 h 10000"/>
                  <a:gd name="connsiteX28" fmla="*/ 4862 w 9542"/>
                  <a:gd name="connsiteY28" fmla="*/ 0 h 10000"/>
                  <a:gd name="connsiteX29" fmla="*/ 4312 w 9542"/>
                  <a:gd name="connsiteY29" fmla="*/ 0 h 10000"/>
                  <a:gd name="connsiteX30" fmla="*/ 4312 w 9542"/>
                  <a:gd name="connsiteY30" fmla="*/ 0 h 10000"/>
                  <a:gd name="connsiteX31" fmla="*/ 3853 w 9542"/>
                  <a:gd name="connsiteY31" fmla="*/ 0 h 10000"/>
                  <a:gd name="connsiteX32" fmla="*/ 3395 w 9542"/>
                  <a:gd name="connsiteY32" fmla="*/ 186 h 10000"/>
                  <a:gd name="connsiteX33" fmla="*/ 2936 w 9542"/>
                  <a:gd name="connsiteY33" fmla="*/ 311 h 10000"/>
                  <a:gd name="connsiteX34" fmla="*/ 2478 w 9542"/>
                  <a:gd name="connsiteY34" fmla="*/ 559 h 10000"/>
                  <a:gd name="connsiteX35" fmla="*/ 2202 w 9542"/>
                  <a:gd name="connsiteY35" fmla="*/ 870 h 10000"/>
                  <a:gd name="connsiteX36" fmla="*/ 1926 w 9542"/>
                  <a:gd name="connsiteY36" fmla="*/ 1242 h 10000"/>
                  <a:gd name="connsiteX37" fmla="*/ 1743 w 9542"/>
                  <a:gd name="connsiteY37" fmla="*/ 1677 h 10000"/>
                  <a:gd name="connsiteX38" fmla="*/ 1743 w 9542"/>
                  <a:gd name="connsiteY38" fmla="*/ 2112 h 10000"/>
                  <a:gd name="connsiteX39" fmla="*/ 1743 w 9542"/>
                  <a:gd name="connsiteY39" fmla="*/ 2112 h 10000"/>
                  <a:gd name="connsiteX40" fmla="*/ 1836 w 9542"/>
                  <a:gd name="connsiteY40" fmla="*/ 2671 h 10000"/>
                  <a:gd name="connsiteX41" fmla="*/ 2202 w 9542"/>
                  <a:gd name="connsiteY41" fmla="*/ 3230 h 10000"/>
                  <a:gd name="connsiteX42" fmla="*/ 2661 w 9542"/>
                  <a:gd name="connsiteY42" fmla="*/ 3727 h 10000"/>
                  <a:gd name="connsiteX43" fmla="*/ 3120 w 9542"/>
                  <a:gd name="connsiteY43" fmla="*/ 4099 h 10000"/>
                  <a:gd name="connsiteX44" fmla="*/ 3120 w 9542"/>
                  <a:gd name="connsiteY44" fmla="*/ 4099 h 10000"/>
                  <a:gd name="connsiteX45" fmla="*/ 2110 w 9542"/>
                  <a:gd name="connsiteY45" fmla="*/ 4410 h 10000"/>
                  <a:gd name="connsiteX46" fmla="*/ 1284 w 9542"/>
                  <a:gd name="connsiteY46" fmla="*/ 4783 h 10000"/>
                  <a:gd name="connsiteX47" fmla="*/ 551 w 9542"/>
                  <a:gd name="connsiteY47" fmla="*/ 5342 h 10000"/>
                  <a:gd name="connsiteX48" fmla="*/ 0 w 9542"/>
                  <a:gd name="connsiteY48" fmla="*/ 6087 h 10000"/>
                  <a:gd name="connsiteX0" fmla="*/ 3846 w 9423"/>
                  <a:gd name="connsiteY0" fmla="*/ 10000 h 10000"/>
                  <a:gd name="connsiteX1" fmla="*/ 3846 w 9423"/>
                  <a:gd name="connsiteY1" fmla="*/ 10000 h 10000"/>
                  <a:gd name="connsiteX2" fmla="*/ 5865 w 9423"/>
                  <a:gd name="connsiteY2" fmla="*/ 10000 h 10000"/>
                  <a:gd name="connsiteX3" fmla="*/ 7693 w 9423"/>
                  <a:gd name="connsiteY3" fmla="*/ 9938 h 10000"/>
                  <a:gd name="connsiteX4" fmla="*/ 8942 w 9423"/>
                  <a:gd name="connsiteY4" fmla="*/ 9814 h 10000"/>
                  <a:gd name="connsiteX5" fmla="*/ 9327 w 9423"/>
                  <a:gd name="connsiteY5" fmla="*/ 9752 h 10000"/>
                  <a:gd name="connsiteX6" fmla="*/ 9423 w 9423"/>
                  <a:gd name="connsiteY6" fmla="*/ 9689 h 10000"/>
                  <a:gd name="connsiteX7" fmla="*/ 9423 w 9423"/>
                  <a:gd name="connsiteY7" fmla="*/ 9689 h 10000"/>
                  <a:gd name="connsiteX8" fmla="*/ 9423 w 9423"/>
                  <a:gd name="connsiteY8" fmla="*/ 8634 h 10000"/>
                  <a:gd name="connsiteX9" fmla="*/ 9327 w 9423"/>
                  <a:gd name="connsiteY9" fmla="*/ 7702 h 10000"/>
                  <a:gd name="connsiteX10" fmla="*/ 8942 w 9423"/>
                  <a:gd name="connsiteY10" fmla="*/ 6832 h 10000"/>
                  <a:gd name="connsiteX11" fmla="*/ 8558 w 9423"/>
                  <a:gd name="connsiteY11" fmla="*/ 6087 h 10000"/>
                  <a:gd name="connsiteX12" fmla="*/ 7981 w 9423"/>
                  <a:gd name="connsiteY12" fmla="*/ 5342 h 10000"/>
                  <a:gd name="connsiteX13" fmla="*/ 7211 w 9423"/>
                  <a:gd name="connsiteY13" fmla="*/ 4783 h 10000"/>
                  <a:gd name="connsiteX14" fmla="*/ 6250 w 9423"/>
                  <a:gd name="connsiteY14" fmla="*/ 4410 h 10000"/>
                  <a:gd name="connsiteX15" fmla="*/ 5191 w 9423"/>
                  <a:gd name="connsiteY15" fmla="*/ 4099 h 10000"/>
                  <a:gd name="connsiteX16" fmla="*/ 5191 w 9423"/>
                  <a:gd name="connsiteY16" fmla="*/ 4099 h 10000"/>
                  <a:gd name="connsiteX17" fmla="*/ 5770 w 9423"/>
                  <a:gd name="connsiteY17" fmla="*/ 3727 h 10000"/>
                  <a:gd name="connsiteX18" fmla="*/ 6154 w 9423"/>
                  <a:gd name="connsiteY18" fmla="*/ 3230 h 10000"/>
                  <a:gd name="connsiteX19" fmla="*/ 6444 w 9423"/>
                  <a:gd name="connsiteY19" fmla="*/ 2671 h 10000"/>
                  <a:gd name="connsiteX20" fmla="*/ 6731 w 9423"/>
                  <a:gd name="connsiteY20" fmla="*/ 2112 h 10000"/>
                  <a:gd name="connsiteX21" fmla="*/ 6731 w 9423"/>
                  <a:gd name="connsiteY21" fmla="*/ 2112 h 10000"/>
                  <a:gd name="connsiteX22" fmla="*/ 6634 w 9423"/>
                  <a:gd name="connsiteY22" fmla="*/ 1677 h 10000"/>
                  <a:gd name="connsiteX23" fmla="*/ 6444 w 9423"/>
                  <a:gd name="connsiteY23" fmla="*/ 1242 h 10000"/>
                  <a:gd name="connsiteX24" fmla="*/ 6250 w 9423"/>
                  <a:gd name="connsiteY24" fmla="*/ 870 h 10000"/>
                  <a:gd name="connsiteX25" fmla="*/ 5865 w 9423"/>
                  <a:gd name="connsiteY25" fmla="*/ 559 h 10000"/>
                  <a:gd name="connsiteX26" fmla="*/ 5481 w 9423"/>
                  <a:gd name="connsiteY26" fmla="*/ 311 h 10000"/>
                  <a:gd name="connsiteX27" fmla="*/ 4999 w 9423"/>
                  <a:gd name="connsiteY27" fmla="*/ 186 h 10000"/>
                  <a:gd name="connsiteX28" fmla="*/ 4518 w 9423"/>
                  <a:gd name="connsiteY28" fmla="*/ 0 h 10000"/>
                  <a:gd name="connsiteX29" fmla="*/ 3942 w 9423"/>
                  <a:gd name="connsiteY29" fmla="*/ 0 h 10000"/>
                  <a:gd name="connsiteX30" fmla="*/ 3942 w 9423"/>
                  <a:gd name="connsiteY30" fmla="*/ 0 h 10000"/>
                  <a:gd name="connsiteX31" fmla="*/ 3461 w 9423"/>
                  <a:gd name="connsiteY31" fmla="*/ 0 h 10000"/>
                  <a:gd name="connsiteX32" fmla="*/ 2981 w 9423"/>
                  <a:gd name="connsiteY32" fmla="*/ 186 h 10000"/>
                  <a:gd name="connsiteX33" fmla="*/ 2500 w 9423"/>
                  <a:gd name="connsiteY33" fmla="*/ 311 h 10000"/>
                  <a:gd name="connsiteX34" fmla="*/ 2020 w 9423"/>
                  <a:gd name="connsiteY34" fmla="*/ 559 h 10000"/>
                  <a:gd name="connsiteX35" fmla="*/ 1731 w 9423"/>
                  <a:gd name="connsiteY35" fmla="*/ 870 h 10000"/>
                  <a:gd name="connsiteX36" fmla="*/ 1441 w 9423"/>
                  <a:gd name="connsiteY36" fmla="*/ 1242 h 10000"/>
                  <a:gd name="connsiteX37" fmla="*/ 1250 w 9423"/>
                  <a:gd name="connsiteY37" fmla="*/ 1677 h 10000"/>
                  <a:gd name="connsiteX38" fmla="*/ 1250 w 9423"/>
                  <a:gd name="connsiteY38" fmla="*/ 2112 h 10000"/>
                  <a:gd name="connsiteX39" fmla="*/ 1250 w 9423"/>
                  <a:gd name="connsiteY39" fmla="*/ 2112 h 10000"/>
                  <a:gd name="connsiteX40" fmla="*/ 1347 w 9423"/>
                  <a:gd name="connsiteY40" fmla="*/ 2671 h 10000"/>
                  <a:gd name="connsiteX41" fmla="*/ 1731 w 9423"/>
                  <a:gd name="connsiteY41" fmla="*/ 3230 h 10000"/>
                  <a:gd name="connsiteX42" fmla="*/ 2212 w 9423"/>
                  <a:gd name="connsiteY42" fmla="*/ 3727 h 10000"/>
                  <a:gd name="connsiteX43" fmla="*/ 2693 w 9423"/>
                  <a:gd name="connsiteY43" fmla="*/ 4099 h 10000"/>
                  <a:gd name="connsiteX44" fmla="*/ 2693 w 9423"/>
                  <a:gd name="connsiteY44" fmla="*/ 4099 h 10000"/>
                  <a:gd name="connsiteX45" fmla="*/ 1634 w 9423"/>
                  <a:gd name="connsiteY45" fmla="*/ 4410 h 10000"/>
                  <a:gd name="connsiteX46" fmla="*/ 769 w 9423"/>
                  <a:gd name="connsiteY46" fmla="*/ 4783 h 10000"/>
                  <a:gd name="connsiteX47" fmla="*/ 0 w 9423"/>
                  <a:gd name="connsiteY47" fmla="*/ 5342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9423" h="10000">
                    <a:moveTo>
                      <a:pt x="3846" y="10000"/>
                    </a:moveTo>
                    <a:lnTo>
                      <a:pt x="3846" y="10000"/>
                    </a:lnTo>
                    <a:lnTo>
                      <a:pt x="5865" y="10000"/>
                    </a:lnTo>
                    <a:lnTo>
                      <a:pt x="7693" y="9938"/>
                    </a:lnTo>
                    <a:lnTo>
                      <a:pt x="8942" y="9814"/>
                    </a:lnTo>
                    <a:lnTo>
                      <a:pt x="9327" y="9752"/>
                    </a:lnTo>
                    <a:lnTo>
                      <a:pt x="9423" y="9689"/>
                    </a:lnTo>
                    <a:lnTo>
                      <a:pt x="9423" y="9689"/>
                    </a:lnTo>
                    <a:lnTo>
                      <a:pt x="9423" y="8634"/>
                    </a:lnTo>
                    <a:cubicBezTo>
                      <a:pt x="9391" y="8323"/>
                      <a:pt x="9358" y="8013"/>
                      <a:pt x="9327" y="7702"/>
                    </a:cubicBezTo>
                    <a:lnTo>
                      <a:pt x="8942" y="6832"/>
                    </a:lnTo>
                    <a:lnTo>
                      <a:pt x="8558" y="6087"/>
                    </a:lnTo>
                    <a:lnTo>
                      <a:pt x="7981" y="5342"/>
                    </a:lnTo>
                    <a:lnTo>
                      <a:pt x="7211" y="4783"/>
                    </a:lnTo>
                    <a:lnTo>
                      <a:pt x="6250" y="4410"/>
                    </a:lnTo>
                    <a:lnTo>
                      <a:pt x="5191" y="4099"/>
                    </a:lnTo>
                    <a:lnTo>
                      <a:pt x="5191" y="4099"/>
                    </a:lnTo>
                    <a:lnTo>
                      <a:pt x="5770" y="3727"/>
                    </a:lnTo>
                    <a:lnTo>
                      <a:pt x="6154" y="3230"/>
                    </a:lnTo>
                    <a:cubicBezTo>
                      <a:pt x="6251" y="3044"/>
                      <a:pt x="6347" y="2857"/>
                      <a:pt x="6444" y="2671"/>
                    </a:cubicBezTo>
                    <a:cubicBezTo>
                      <a:pt x="6540" y="2485"/>
                      <a:pt x="6635" y="2298"/>
                      <a:pt x="6731" y="2112"/>
                    </a:cubicBezTo>
                    <a:lnTo>
                      <a:pt x="6731" y="2112"/>
                    </a:lnTo>
                    <a:cubicBezTo>
                      <a:pt x="6699" y="1967"/>
                      <a:pt x="6666" y="1822"/>
                      <a:pt x="6634" y="1677"/>
                    </a:cubicBezTo>
                    <a:cubicBezTo>
                      <a:pt x="6571" y="1532"/>
                      <a:pt x="6506" y="1387"/>
                      <a:pt x="6444" y="1242"/>
                    </a:cubicBezTo>
                    <a:lnTo>
                      <a:pt x="6250" y="870"/>
                    </a:lnTo>
                    <a:lnTo>
                      <a:pt x="5865" y="559"/>
                    </a:lnTo>
                    <a:lnTo>
                      <a:pt x="5481" y="311"/>
                    </a:lnTo>
                    <a:lnTo>
                      <a:pt x="4999" y="186"/>
                    </a:lnTo>
                    <a:lnTo>
                      <a:pt x="4518" y="0"/>
                    </a:lnTo>
                    <a:lnTo>
                      <a:pt x="3942" y="0"/>
                    </a:lnTo>
                    <a:lnTo>
                      <a:pt x="3942" y="0"/>
                    </a:lnTo>
                    <a:lnTo>
                      <a:pt x="3461" y="0"/>
                    </a:lnTo>
                    <a:lnTo>
                      <a:pt x="2981" y="186"/>
                    </a:lnTo>
                    <a:lnTo>
                      <a:pt x="2500" y="311"/>
                    </a:lnTo>
                    <a:lnTo>
                      <a:pt x="2020" y="559"/>
                    </a:lnTo>
                    <a:lnTo>
                      <a:pt x="1731" y="870"/>
                    </a:lnTo>
                    <a:lnTo>
                      <a:pt x="1441" y="1242"/>
                    </a:lnTo>
                    <a:cubicBezTo>
                      <a:pt x="1379" y="1387"/>
                      <a:pt x="1314" y="1532"/>
                      <a:pt x="1250" y="1677"/>
                    </a:cubicBezTo>
                    <a:lnTo>
                      <a:pt x="1250" y="2112"/>
                    </a:lnTo>
                    <a:lnTo>
                      <a:pt x="1250" y="2112"/>
                    </a:lnTo>
                    <a:cubicBezTo>
                      <a:pt x="1282" y="2298"/>
                      <a:pt x="1315" y="2485"/>
                      <a:pt x="1347" y="2671"/>
                    </a:cubicBezTo>
                    <a:lnTo>
                      <a:pt x="1731" y="3230"/>
                    </a:lnTo>
                    <a:lnTo>
                      <a:pt x="2212" y="3727"/>
                    </a:lnTo>
                    <a:lnTo>
                      <a:pt x="2693" y="4099"/>
                    </a:lnTo>
                    <a:lnTo>
                      <a:pt x="2693" y="4099"/>
                    </a:lnTo>
                    <a:lnTo>
                      <a:pt x="1634" y="4410"/>
                    </a:lnTo>
                    <a:lnTo>
                      <a:pt x="769" y="4783"/>
                    </a:lnTo>
                    <a:lnTo>
                      <a:pt x="0" y="5342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2" name="Freeform 897"/>
              <p:cNvSpPr>
                <a:spLocks/>
              </p:cNvSpPr>
              <p:nvPr/>
            </p:nvSpPr>
            <p:spPr bwMode="auto">
              <a:xfrm>
                <a:off x="4509658" y="4876544"/>
                <a:ext cx="181869" cy="255132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2666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52" fmla="*/ 0 w 10000"/>
                  <a:gd name="connsiteY52" fmla="*/ 9689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10000" h="10000">
                    <a:moveTo>
                      <a:pt x="4912" y="10000"/>
                    </a:moveTo>
                    <a:lnTo>
                      <a:pt x="2666" y="10000"/>
                    </a:lnTo>
                    <a:lnTo>
                      <a:pt x="6754" y="10000"/>
                    </a:lnTo>
                    <a:lnTo>
                      <a:pt x="8421" y="9938"/>
                    </a:lnTo>
                    <a:lnTo>
                      <a:pt x="9561" y="9814"/>
                    </a:lnTo>
                    <a:lnTo>
                      <a:pt x="9912" y="9752"/>
                    </a:lnTo>
                    <a:lnTo>
                      <a:pt x="10000" y="9689"/>
                    </a:lnTo>
                    <a:lnTo>
                      <a:pt x="10000" y="9689"/>
                    </a:lnTo>
                    <a:lnTo>
                      <a:pt x="10000" y="8634"/>
                    </a:lnTo>
                    <a:cubicBezTo>
                      <a:pt x="9971" y="8323"/>
                      <a:pt x="9941" y="8013"/>
                      <a:pt x="9912" y="7702"/>
                    </a:cubicBezTo>
                    <a:lnTo>
                      <a:pt x="9561" y="6832"/>
                    </a:lnTo>
                    <a:lnTo>
                      <a:pt x="9211" y="6087"/>
                    </a:lnTo>
                    <a:lnTo>
                      <a:pt x="8684" y="5342"/>
                    </a:lnTo>
                    <a:lnTo>
                      <a:pt x="7982" y="4783"/>
                    </a:lnTo>
                    <a:lnTo>
                      <a:pt x="7105" y="4410"/>
                    </a:lnTo>
                    <a:lnTo>
                      <a:pt x="6140" y="4099"/>
                    </a:lnTo>
                    <a:lnTo>
                      <a:pt x="6140" y="4099"/>
                    </a:lnTo>
                    <a:lnTo>
                      <a:pt x="6667" y="3727"/>
                    </a:lnTo>
                    <a:lnTo>
                      <a:pt x="7018" y="3230"/>
                    </a:lnTo>
                    <a:cubicBezTo>
                      <a:pt x="7106" y="3044"/>
                      <a:pt x="7193" y="2857"/>
                      <a:pt x="7281" y="2671"/>
                    </a:cubicBezTo>
                    <a:cubicBezTo>
                      <a:pt x="7369" y="2485"/>
                      <a:pt x="7456" y="2298"/>
                      <a:pt x="7544" y="2112"/>
                    </a:cubicBezTo>
                    <a:lnTo>
                      <a:pt x="7544" y="2112"/>
                    </a:lnTo>
                    <a:cubicBezTo>
                      <a:pt x="7515" y="1967"/>
                      <a:pt x="7485" y="1822"/>
                      <a:pt x="7456" y="1677"/>
                    </a:cubicBezTo>
                    <a:cubicBezTo>
                      <a:pt x="7398" y="1532"/>
                      <a:pt x="7339" y="1387"/>
                      <a:pt x="7281" y="1242"/>
                    </a:cubicBezTo>
                    <a:cubicBezTo>
                      <a:pt x="7222" y="1118"/>
                      <a:pt x="7164" y="994"/>
                      <a:pt x="7105" y="870"/>
                    </a:cubicBezTo>
                    <a:lnTo>
                      <a:pt x="6754" y="559"/>
                    </a:lnTo>
                    <a:lnTo>
                      <a:pt x="6404" y="311"/>
                    </a:lnTo>
                    <a:lnTo>
                      <a:pt x="5965" y="186"/>
                    </a:lnTo>
                    <a:lnTo>
                      <a:pt x="5526" y="0"/>
                    </a:lnTo>
                    <a:lnTo>
                      <a:pt x="5000" y="0"/>
                    </a:lnTo>
                    <a:lnTo>
                      <a:pt x="5000" y="0"/>
                    </a:lnTo>
                    <a:lnTo>
                      <a:pt x="4561" y="0"/>
                    </a:lnTo>
                    <a:lnTo>
                      <a:pt x="4123" y="186"/>
                    </a:lnTo>
                    <a:lnTo>
                      <a:pt x="3684" y="311"/>
                    </a:lnTo>
                    <a:lnTo>
                      <a:pt x="3246" y="559"/>
                    </a:lnTo>
                    <a:lnTo>
                      <a:pt x="2982" y="870"/>
                    </a:lnTo>
                    <a:lnTo>
                      <a:pt x="2719" y="1242"/>
                    </a:lnTo>
                    <a:cubicBezTo>
                      <a:pt x="2661" y="1387"/>
                      <a:pt x="2602" y="1532"/>
                      <a:pt x="2544" y="1677"/>
                    </a:cubicBezTo>
                    <a:lnTo>
                      <a:pt x="2544" y="2112"/>
                    </a:lnTo>
                    <a:lnTo>
                      <a:pt x="2544" y="2112"/>
                    </a:lnTo>
                    <a:cubicBezTo>
                      <a:pt x="2573" y="2298"/>
                      <a:pt x="2603" y="2485"/>
                      <a:pt x="2632" y="2671"/>
                    </a:cubicBezTo>
                    <a:lnTo>
                      <a:pt x="2982" y="3230"/>
                    </a:lnTo>
                    <a:lnTo>
                      <a:pt x="3421" y="3727"/>
                    </a:lnTo>
                    <a:lnTo>
                      <a:pt x="3860" y="4099"/>
                    </a:lnTo>
                    <a:lnTo>
                      <a:pt x="3860" y="4099"/>
                    </a:lnTo>
                    <a:lnTo>
                      <a:pt x="2895" y="4410"/>
                    </a:lnTo>
                    <a:lnTo>
                      <a:pt x="2105" y="4783"/>
                    </a:lnTo>
                    <a:lnTo>
                      <a:pt x="1404" y="5342"/>
                    </a:lnTo>
                    <a:lnTo>
                      <a:pt x="877" y="6087"/>
                    </a:lnTo>
                    <a:lnTo>
                      <a:pt x="439" y="6832"/>
                    </a:lnTo>
                    <a:lnTo>
                      <a:pt x="175" y="7702"/>
                    </a:lnTo>
                    <a:cubicBezTo>
                      <a:pt x="117" y="8013"/>
                      <a:pt x="58" y="8323"/>
                      <a:pt x="0" y="8634"/>
                    </a:cubicBezTo>
                    <a:lnTo>
                      <a:pt x="0" y="968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grpSp>
            <p:nvGrpSpPr>
              <p:cNvPr id="8" name="Groupe 78"/>
              <p:cNvGrpSpPr>
                <a:grpSpLocks/>
              </p:cNvGrpSpPr>
              <p:nvPr/>
            </p:nvGrpSpPr>
            <p:grpSpPr bwMode="auto">
              <a:xfrm>
                <a:off x="4430703" y="4715239"/>
                <a:ext cx="166698" cy="247657"/>
                <a:chOff x="4430703" y="4715239"/>
                <a:chExt cx="166698" cy="247657"/>
              </a:xfrm>
            </p:grpSpPr>
            <p:sp>
              <p:nvSpPr>
                <p:cNvPr id="24" name="Freeform 897"/>
                <p:cNvSpPr>
                  <a:spLocks/>
                </p:cNvSpPr>
                <p:nvPr/>
              </p:nvSpPr>
              <p:spPr bwMode="auto">
                <a:xfrm>
                  <a:off x="4431090" y="4714686"/>
                  <a:ext cx="165865" cy="248273"/>
                </a:xfrm>
                <a:custGeom>
                  <a:avLst/>
                  <a:gdLst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6754 w 10000"/>
                    <a:gd name="connsiteY2" fmla="*/ 10000 h 10000"/>
                    <a:gd name="connsiteX3" fmla="*/ 8421 w 10000"/>
                    <a:gd name="connsiteY3" fmla="*/ 9938 h 10000"/>
                    <a:gd name="connsiteX4" fmla="*/ 9561 w 10000"/>
                    <a:gd name="connsiteY4" fmla="*/ 9814 h 10000"/>
                    <a:gd name="connsiteX5" fmla="*/ 9912 w 10000"/>
                    <a:gd name="connsiteY5" fmla="*/ 9752 h 10000"/>
                    <a:gd name="connsiteX6" fmla="*/ 10000 w 10000"/>
                    <a:gd name="connsiteY6" fmla="*/ 9689 h 10000"/>
                    <a:gd name="connsiteX7" fmla="*/ 10000 w 10000"/>
                    <a:gd name="connsiteY7" fmla="*/ 9689 h 10000"/>
                    <a:gd name="connsiteX8" fmla="*/ 10000 w 10000"/>
                    <a:gd name="connsiteY8" fmla="*/ 8634 h 10000"/>
                    <a:gd name="connsiteX9" fmla="*/ 9912 w 10000"/>
                    <a:gd name="connsiteY9" fmla="*/ 7702 h 10000"/>
                    <a:gd name="connsiteX10" fmla="*/ 9561 w 10000"/>
                    <a:gd name="connsiteY10" fmla="*/ 6832 h 10000"/>
                    <a:gd name="connsiteX11" fmla="*/ 9211 w 10000"/>
                    <a:gd name="connsiteY11" fmla="*/ 6087 h 10000"/>
                    <a:gd name="connsiteX12" fmla="*/ 8684 w 10000"/>
                    <a:gd name="connsiteY12" fmla="*/ 5342 h 10000"/>
                    <a:gd name="connsiteX13" fmla="*/ 7982 w 10000"/>
                    <a:gd name="connsiteY13" fmla="*/ 4783 h 10000"/>
                    <a:gd name="connsiteX14" fmla="*/ 7105 w 10000"/>
                    <a:gd name="connsiteY14" fmla="*/ 4410 h 10000"/>
                    <a:gd name="connsiteX15" fmla="*/ 6140 w 10000"/>
                    <a:gd name="connsiteY15" fmla="*/ 4099 h 10000"/>
                    <a:gd name="connsiteX16" fmla="*/ 6140 w 10000"/>
                    <a:gd name="connsiteY16" fmla="*/ 4099 h 10000"/>
                    <a:gd name="connsiteX17" fmla="*/ 6667 w 10000"/>
                    <a:gd name="connsiteY17" fmla="*/ 3727 h 10000"/>
                    <a:gd name="connsiteX18" fmla="*/ 7018 w 10000"/>
                    <a:gd name="connsiteY18" fmla="*/ 3230 h 10000"/>
                    <a:gd name="connsiteX19" fmla="*/ 7281 w 10000"/>
                    <a:gd name="connsiteY19" fmla="*/ 2671 h 10000"/>
                    <a:gd name="connsiteX20" fmla="*/ 7544 w 10000"/>
                    <a:gd name="connsiteY20" fmla="*/ 2112 h 10000"/>
                    <a:gd name="connsiteX21" fmla="*/ 7544 w 10000"/>
                    <a:gd name="connsiteY21" fmla="*/ 2112 h 10000"/>
                    <a:gd name="connsiteX22" fmla="*/ 7456 w 10000"/>
                    <a:gd name="connsiteY22" fmla="*/ 1677 h 10000"/>
                    <a:gd name="connsiteX23" fmla="*/ 7281 w 10000"/>
                    <a:gd name="connsiteY23" fmla="*/ 1242 h 10000"/>
                    <a:gd name="connsiteX24" fmla="*/ 7105 w 10000"/>
                    <a:gd name="connsiteY24" fmla="*/ 870 h 10000"/>
                    <a:gd name="connsiteX25" fmla="*/ 6754 w 10000"/>
                    <a:gd name="connsiteY25" fmla="*/ 559 h 10000"/>
                    <a:gd name="connsiteX26" fmla="*/ 6404 w 10000"/>
                    <a:gd name="connsiteY26" fmla="*/ 311 h 10000"/>
                    <a:gd name="connsiteX27" fmla="*/ 5965 w 10000"/>
                    <a:gd name="connsiteY27" fmla="*/ 186 h 10000"/>
                    <a:gd name="connsiteX28" fmla="*/ 5526 w 10000"/>
                    <a:gd name="connsiteY28" fmla="*/ 0 h 10000"/>
                    <a:gd name="connsiteX29" fmla="*/ 5000 w 10000"/>
                    <a:gd name="connsiteY29" fmla="*/ 0 h 10000"/>
                    <a:gd name="connsiteX30" fmla="*/ 5000 w 10000"/>
                    <a:gd name="connsiteY30" fmla="*/ 0 h 10000"/>
                    <a:gd name="connsiteX31" fmla="*/ 4561 w 10000"/>
                    <a:gd name="connsiteY31" fmla="*/ 0 h 10000"/>
                    <a:gd name="connsiteX32" fmla="*/ 4123 w 10000"/>
                    <a:gd name="connsiteY32" fmla="*/ 186 h 10000"/>
                    <a:gd name="connsiteX33" fmla="*/ 3684 w 10000"/>
                    <a:gd name="connsiteY33" fmla="*/ 311 h 10000"/>
                    <a:gd name="connsiteX34" fmla="*/ 3246 w 10000"/>
                    <a:gd name="connsiteY34" fmla="*/ 559 h 10000"/>
                    <a:gd name="connsiteX35" fmla="*/ 2982 w 10000"/>
                    <a:gd name="connsiteY35" fmla="*/ 870 h 10000"/>
                    <a:gd name="connsiteX36" fmla="*/ 2719 w 10000"/>
                    <a:gd name="connsiteY36" fmla="*/ 1242 h 10000"/>
                    <a:gd name="connsiteX37" fmla="*/ 2544 w 10000"/>
                    <a:gd name="connsiteY37" fmla="*/ 1677 h 10000"/>
                    <a:gd name="connsiteX38" fmla="*/ 2544 w 10000"/>
                    <a:gd name="connsiteY38" fmla="*/ 2112 h 10000"/>
                    <a:gd name="connsiteX39" fmla="*/ 2544 w 10000"/>
                    <a:gd name="connsiteY39" fmla="*/ 2112 h 10000"/>
                    <a:gd name="connsiteX40" fmla="*/ 2632 w 10000"/>
                    <a:gd name="connsiteY40" fmla="*/ 2671 h 10000"/>
                    <a:gd name="connsiteX41" fmla="*/ 2982 w 10000"/>
                    <a:gd name="connsiteY41" fmla="*/ 3230 h 10000"/>
                    <a:gd name="connsiteX42" fmla="*/ 3421 w 10000"/>
                    <a:gd name="connsiteY42" fmla="*/ 3727 h 10000"/>
                    <a:gd name="connsiteX43" fmla="*/ 3860 w 10000"/>
                    <a:gd name="connsiteY43" fmla="*/ 4099 h 10000"/>
                    <a:gd name="connsiteX44" fmla="*/ 3860 w 10000"/>
                    <a:gd name="connsiteY44" fmla="*/ 4099 h 10000"/>
                    <a:gd name="connsiteX45" fmla="*/ 2895 w 10000"/>
                    <a:gd name="connsiteY45" fmla="*/ 4410 h 10000"/>
                    <a:gd name="connsiteX46" fmla="*/ 2105 w 10000"/>
                    <a:gd name="connsiteY46" fmla="*/ 4783 h 10000"/>
                    <a:gd name="connsiteX47" fmla="*/ 1404 w 10000"/>
                    <a:gd name="connsiteY47" fmla="*/ 5342 h 10000"/>
                    <a:gd name="connsiteX48" fmla="*/ 877 w 10000"/>
                    <a:gd name="connsiteY48" fmla="*/ 6087 h 10000"/>
                    <a:gd name="connsiteX49" fmla="*/ 439 w 10000"/>
                    <a:gd name="connsiteY49" fmla="*/ 6832 h 10000"/>
                    <a:gd name="connsiteX50" fmla="*/ 175 w 10000"/>
                    <a:gd name="connsiteY50" fmla="*/ 7702 h 10000"/>
                    <a:gd name="connsiteX51" fmla="*/ 0 w 10000"/>
                    <a:gd name="connsiteY51" fmla="*/ 8634 h 10000"/>
                    <a:gd name="connsiteX52" fmla="*/ 0 w 10000"/>
                    <a:gd name="connsiteY52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8421 w 10000"/>
                    <a:gd name="connsiteY2" fmla="*/ 9938 h 10000"/>
                    <a:gd name="connsiteX3" fmla="*/ 9561 w 10000"/>
                    <a:gd name="connsiteY3" fmla="*/ 9814 h 10000"/>
                    <a:gd name="connsiteX4" fmla="*/ 9912 w 10000"/>
                    <a:gd name="connsiteY4" fmla="*/ 9752 h 10000"/>
                    <a:gd name="connsiteX5" fmla="*/ 10000 w 10000"/>
                    <a:gd name="connsiteY5" fmla="*/ 9689 h 10000"/>
                    <a:gd name="connsiteX6" fmla="*/ 10000 w 10000"/>
                    <a:gd name="connsiteY6" fmla="*/ 9689 h 10000"/>
                    <a:gd name="connsiteX7" fmla="*/ 10000 w 10000"/>
                    <a:gd name="connsiteY7" fmla="*/ 8634 h 10000"/>
                    <a:gd name="connsiteX8" fmla="*/ 9912 w 10000"/>
                    <a:gd name="connsiteY8" fmla="*/ 7702 h 10000"/>
                    <a:gd name="connsiteX9" fmla="*/ 9561 w 10000"/>
                    <a:gd name="connsiteY9" fmla="*/ 6832 h 10000"/>
                    <a:gd name="connsiteX10" fmla="*/ 9211 w 10000"/>
                    <a:gd name="connsiteY10" fmla="*/ 6087 h 10000"/>
                    <a:gd name="connsiteX11" fmla="*/ 8684 w 10000"/>
                    <a:gd name="connsiteY11" fmla="*/ 5342 h 10000"/>
                    <a:gd name="connsiteX12" fmla="*/ 7982 w 10000"/>
                    <a:gd name="connsiteY12" fmla="*/ 4783 h 10000"/>
                    <a:gd name="connsiteX13" fmla="*/ 7105 w 10000"/>
                    <a:gd name="connsiteY13" fmla="*/ 4410 h 10000"/>
                    <a:gd name="connsiteX14" fmla="*/ 6140 w 10000"/>
                    <a:gd name="connsiteY14" fmla="*/ 4099 h 10000"/>
                    <a:gd name="connsiteX15" fmla="*/ 6140 w 10000"/>
                    <a:gd name="connsiteY15" fmla="*/ 4099 h 10000"/>
                    <a:gd name="connsiteX16" fmla="*/ 6667 w 10000"/>
                    <a:gd name="connsiteY16" fmla="*/ 3727 h 10000"/>
                    <a:gd name="connsiteX17" fmla="*/ 7018 w 10000"/>
                    <a:gd name="connsiteY17" fmla="*/ 3230 h 10000"/>
                    <a:gd name="connsiteX18" fmla="*/ 7281 w 10000"/>
                    <a:gd name="connsiteY18" fmla="*/ 2671 h 10000"/>
                    <a:gd name="connsiteX19" fmla="*/ 7544 w 10000"/>
                    <a:gd name="connsiteY19" fmla="*/ 2112 h 10000"/>
                    <a:gd name="connsiteX20" fmla="*/ 7544 w 10000"/>
                    <a:gd name="connsiteY20" fmla="*/ 2112 h 10000"/>
                    <a:gd name="connsiteX21" fmla="*/ 7456 w 10000"/>
                    <a:gd name="connsiteY21" fmla="*/ 1677 h 10000"/>
                    <a:gd name="connsiteX22" fmla="*/ 7281 w 10000"/>
                    <a:gd name="connsiteY22" fmla="*/ 1242 h 10000"/>
                    <a:gd name="connsiteX23" fmla="*/ 7105 w 10000"/>
                    <a:gd name="connsiteY23" fmla="*/ 870 h 10000"/>
                    <a:gd name="connsiteX24" fmla="*/ 6754 w 10000"/>
                    <a:gd name="connsiteY24" fmla="*/ 559 h 10000"/>
                    <a:gd name="connsiteX25" fmla="*/ 6404 w 10000"/>
                    <a:gd name="connsiteY25" fmla="*/ 311 h 10000"/>
                    <a:gd name="connsiteX26" fmla="*/ 5965 w 10000"/>
                    <a:gd name="connsiteY26" fmla="*/ 186 h 10000"/>
                    <a:gd name="connsiteX27" fmla="*/ 5526 w 10000"/>
                    <a:gd name="connsiteY27" fmla="*/ 0 h 10000"/>
                    <a:gd name="connsiteX28" fmla="*/ 5000 w 10000"/>
                    <a:gd name="connsiteY28" fmla="*/ 0 h 10000"/>
                    <a:gd name="connsiteX29" fmla="*/ 5000 w 10000"/>
                    <a:gd name="connsiteY29" fmla="*/ 0 h 10000"/>
                    <a:gd name="connsiteX30" fmla="*/ 4561 w 10000"/>
                    <a:gd name="connsiteY30" fmla="*/ 0 h 10000"/>
                    <a:gd name="connsiteX31" fmla="*/ 4123 w 10000"/>
                    <a:gd name="connsiteY31" fmla="*/ 186 h 10000"/>
                    <a:gd name="connsiteX32" fmla="*/ 3684 w 10000"/>
                    <a:gd name="connsiteY32" fmla="*/ 311 h 10000"/>
                    <a:gd name="connsiteX33" fmla="*/ 3246 w 10000"/>
                    <a:gd name="connsiteY33" fmla="*/ 559 h 10000"/>
                    <a:gd name="connsiteX34" fmla="*/ 2982 w 10000"/>
                    <a:gd name="connsiteY34" fmla="*/ 870 h 10000"/>
                    <a:gd name="connsiteX35" fmla="*/ 2719 w 10000"/>
                    <a:gd name="connsiteY35" fmla="*/ 1242 h 10000"/>
                    <a:gd name="connsiteX36" fmla="*/ 2544 w 10000"/>
                    <a:gd name="connsiteY36" fmla="*/ 1677 h 10000"/>
                    <a:gd name="connsiteX37" fmla="*/ 2544 w 10000"/>
                    <a:gd name="connsiteY37" fmla="*/ 2112 h 10000"/>
                    <a:gd name="connsiteX38" fmla="*/ 2544 w 10000"/>
                    <a:gd name="connsiteY38" fmla="*/ 2112 h 10000"/>
                    <a:gd name="connsiteX39" fmla="*/ 2632 w 10000"/>
                    <a:gd name="connsiteY39" fmla="*/ 2671 h 10000"/>
                    <a:gd name="connsiteX40" fmla="*/ 2982 w 10000"/>
                    <a:gd name="connsiteY40" fmla="*/ 3230 h 10000"/>
                    <a:gd name="connsiteX41" fmla="*/ 3421 w 10000"/>
                    <a:gd name="connsiteY41" fmla="*/ 3727 h 10000"/>
                    <a:gd name="connsiteX42" fmla="*/ 3860 w 10000"/>
                    <a:gd name="connsiteY42" fmla="*/ 4099 h 10000"/>
                    <a:gd name="connsiteX43" fmla="*/ 3860 w 10000"/>
                    <a:gd name="connsiteY43" fmla="*/ 4099 h 10000"/>
                    <a:gd name="connsiteX44" fmla="*/ 2895 w 10000"/>
                    <a:gd name="connsiteY44" fmla="*/ 4410 h 10000"/>
                    <a:gd name="connsiteX45" fmla="*/ 2105 w 10000"/>
                    <a:gd name="connsiteY45" fmla="*/ 4783 h 10000"/>
                    <a:gd name="connsiteX46" fmla="*/ 1404 w 10000"/>
                    <a:gd name="connsiteY46" fmla="*/ 5342 h 10000"/>
                    <a:gd name="connsiteX47" fmla="*/ 877 w 10000"/>
                    <a:gd name="connsiteY47" fmla="*/ 6087 h 10000"/>
                    <a:gd name="connsiteX48" fmla="*/ 439 w 10000"/>
                    <a:gd name="connsiteY48" fmla="*/ 6832 h 10000"/>
                    <a:gd name="connsiteX49" fmla="*/ 175 w 10000"/>
                    <a:gd name="connsiteY49" fmla="*/ 7702 h 10000"/>
                    <a:gd name="connsiteX50" fmla="*/ 0 w 10000"/>
                    <a:gd name="connsiteY50" fmla="*/ 8634 h 10000"/>
                    <a:gd name="connsiteX51" fmla="*/ 0 w 10000"/>
                    <a:gd name="connsiteY51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9561 w 10000"/>
                    <a:gd name="connsiteY2" fmla="*/ 9814 h 10000"/>
                    <a:gd name="connsiteX3" fmla="*/ 9912 w 10000"/>
                    <a:gd name="connsiteY3" fmla="*/ 9752 h 10000"/>
                    <a:gd name="connsiteX4" fmla="*/ 10000 w 10000"/>
                    <a:gd name="connsiteY4" fmla="*/ 9689 h 10000"/>
                    <a:gd name="connsiteX5" fmla="*/ 10000 w 10000"/>
                    <a:gd name="connsiteY5" fmla="*/ 9689 h 10000"/>
                    <a:gd name="connsiteX6" fmla="*/ 10000 w 10000"/>
                    <a:gd name="connsiteY6" fmla="*/ 8634 h 10000"/>
                    <a:gd name="connsiteX7" fmla="*/ 9912 w 10000"/>
                    <a:gd name="connsiteY7" fmla="*/ 7702 h 10000"/>
                    <a:gd name="connsiteX8" fmla="*/ 9561 w 10000"/>
                    <a:gd name="connsiteY8" fmla="*/ 6832 h 10000"/>
                    <a:gd name="connsiteX9" fmla="*/ 9211 w 10000"/>
                    <a:gd name="connsiteY9" fmla="*/ 6087 h 10000"/>
                    <a:gd name="connsiteX10" fmla="*/ 8684 w 10000"/>
                    <a:gd name="connsiteY10" fmla="*/ 5342 h 10000"/>
                    <a:gd name="connsiteX11" fmla="*/ 7982 w 10000"/>
                    <a:gd name="connsiteY11" fmla="*/ 4783 h 10000"/>
                    <a:gd name="connsiteX12" fmla="*/ 7105 w 10000"/>
                    <a:gd name="connsiteY12" fmla="*/ 4410 h 10000"/>
                    <a:gd name="connsiteX13" fmla="*/ 6140 w 10000"/>
                    <a:gd name="connsiteY13" fmla="*/ 4099 h 10000"/>
                    <a:gd name="connsiteX14" fmla="*/ 6140 w 10000"/>
                    <a:gd name="connsiteY14" fmla="*/ 4099 h 10000"/>
                    <a:gd name="connsiteX15" fmla="*/ 6667 w 10000"/>
                    <a:gd name="connsiteY15" fmla="*/ 3727 h 10000"/>
                    <a:gd name="connsiteX16" fmla="*/ 7018 w 10000"/>
                    <a:gd name="connsiteY16" fmla="*/ 3230 h 10000"/>
                    <a:gd name="connsiteX17" fmla="*/ 7281 w 10000"/>
                    <a:gd name="connsiteY17" fmla="*/ 2671 h 10000"/>
                    <a:gd name="connsiteX18" fmla="*/ 7544 w 10000"/>
                    <a:gd name="connsiteY18" fmla="*/ 2112 h 10000"/>
                    <a:gd name="connsiteX19" fmla="*/ 7544 w 10000"/>
                    <a:gd name="connsiteY19" fmla="*/ 2112 h 10000"/>
                    <a:gd name="connsiteX20" fmla="*/ 7456 w 10000"/>
                    <a:gd name="connsiteY20" fmla="*/ 1677 h 10000"/>
                    <a:gd name="connsiteX21" fmla="*/ 7281 w 10000"/>
                    <a:gd name="connsiteY21" fmla="*/ 1242 h 10000"/>
                    <a:gd name="connsiteX22" fmla="*/ 7105 w 10000"/>
                    <a:gd name="connsiteY22" fmla="*/ 870 h 10000"/>
                    <a:gd name="connsiteX23" fmla="*/ 6754 w 10000"/>
                    <a:gd name="connsiteY23" fmla="*/ 559 h 10000"/>
                    <a:gd name="connsiteX24" fmla="*/ 6404 w 10000"/>
                    <a:gd name="connsiteY24" fmla="*/ 311 h 10000"/>
                    <a:gd name="connsiteX25" fmla="*/ 5965 w 10000"/>
                    <a:gd name="connsiteY25" fmla="*/ 186 h 10000"/>
                    <a:gd name="connsiteX26" fmla="*/ 5526 w 10000"/>
                    <a:gd name="connsiteY26" fmla="*/ 0 h 10000"/>
                    <a:gd name="connsiteX27" fmla="*/ 5000 w 10000"/>
                    <a:gd name="connsiteY27" fmla="*/ 0 h 10000"/>
                    <a:gd name="connsiteX28" fmla="*/ 5000 w 10000"/>
                    <a:gd name="connsiteY28" fmla="*/ 0 h 10000"/>
                    <a:gd name="connsiteX29" fmla="*/ 4561 w 10000"/>
                    <a:gd name="connsiteY29" fmla="*/ 0 h 10000"/>
                    <a:gd name="connsiteX30" fmla="*/ 4123 w 10000"/>
                    <a:gd name="connsiteY30" fmla="*/ 186 h 10000"/>
                    <a:gd name="connsiteX31" fmla="*/ 3684 w 10000"/>
                    <a:gd name="connsiteY31" fmla="*/ 311 h 10000"/>
                    <a:gd name="connsiteX32" fmla="*/ 3246 w 10000"/>
                    <a:gd name="connsiteY32" fmla="*/ 559 h 10000"/>
                    <a:gd name="connsiteX33" fmla="*/ 2982 w 10000"/>
                    <a:gd name="connsiteY33" fmla="*/ 870 h 10000"/>
                    <a:gd name="connsiteX34" fmla="*/ 2719 w 10000"/>
                    <a:gd name="connsiteY34" fmla="*/ 1242 h 10000"/>
                    <a:gd name="connsiteX35" fmla="*/ 2544 w 10000"/>
                    <a:gd name="connsiteY35" fmla="*/ 1677 h 10000"/>
                    <a:gd name="connsiteX36" fmla="*/ 2544 w 10000"/>
                    <a:gd name="connsiteY36" fmla="*/ 2112 h 10000"/>
                    <a:gd name="connsiteX37" fmla="*/ 2544 w 10000"/>
                    <a:gd name="connsiteY37" fmla="*/ 2112 h 10000"/>
                    <a:gd name="connsiteX38" fmla="*/ 2632 w 10000"/>
                    <a:gd name="connsiteY38" fmla="*/ 2671 h 10000"/>
                    <a:gd name="connsiteX39" fmla="*/ 2982 w 10000"/>
                    <a:gd name="connsiteY39" fmla="*/ 3230 h 10000"/>
                    <a:gd name="connsiteX40" fmla="*/ 3421 w 10000"/>
                    <a:gd name="connsiteY40" fmla="*/ 3727 h 10000"/>
                    <a:gd name="connsiteX41" fmla="*/ 3860 w 10000"/>
                    <a:gd name="connsiteY41" fmla="*/ 4099 h 10000"/>
                    <a:gd name="connsiteX42" fmla="*/ 3860 w 10000"/>
                    <a:gd name="connsiteY42" fmla="*/ 4099 h 10000"/>
                    <a:gd name="connsiteX43" fmla="*/ 2895 w 10000"/>
                    <a:gd name="connsiteY43" fmla="*/ 4410 h 10000"/>
                    <a:gd name="connsiteX44" fmla="*/ 2105 w 10000"/>
                    <a:gd name="connsiteY44" fmla="*/ 4783 h 10000"/>
                    <a:gd name="connsiteX45" fmla="*/ 1404 w 10000"/>
                    <a:gd name="connsiteY45" fmla="*/ 5342 h 10000"/>
                    <a:gd name="connsiteX46" fmla="*/ 877 w 10000"/>
                    <a:gd name="connsiteY46" fmla="*/ 6087 h 10000"/>
                    <a:gd name="connsiteX47" fmla="*/ 439 w 10000"/>
                    <a:gd name="connsiteY47" fmla="*/ 6832 h 10000"/>
                    <a:gd name="connsiteX48" fmla="*/ 175 w 10000"/>
                    <a:gd name="connsiteY48" fmla="*/ 7702 h 10000"/>
                    <a:gd name="connsiteX49" fmla="*/ 0 w 10000"/>
                    <a:gd name="connsiteY49" fmla="*/ 8634 h 10000"/>
                    <a:gd name="connsiteX50" fmla="*/ 0 w 10000"/>
                    <a:gd name="connsiteY50" fmla="*/ 9689 h 10000"/>
                    <a:gd name="connsiteX0" fmla="*/ 4912 w 10000"/>
                    <a:gd name="connsiteY0" fmla="*/ 10000 h 10000"/>
                    <a:gd name="connsiteX1" fmla="*/ 9561 w 10000"/>
                    <a:gd name="connsiteY1" fmla="*/ 9814 h 10000"/>
                    <a:gd name="connsiteX2" fmla="*/ 9912 w 10000"/>
                    <a:gd name="connsiteY2" fmla="*/ 9752 h 10000"/>
                    <a:gd name="connsiteX3" fmla="*/ 10000 w 10000"/>
                    <a:gd name="connsiteY3" fmla="*/ 9689 h 10000"/>
                    <a:gd name="connsiteX4" fmla="*/ 10000 w 10000"/>
                    <a:gd name="connsiteY4" fmla="*/ 9689 h 10000"/>
                    <a:gd name="connsiteX5" fmla="*/ 10000 w 10000"/>
                    <a:gd name="connsiteY5" fmla="*/ 8634 h 10000"/>
                    <a:gd name="connsiteX6" fmla="*/ 9912 w 10000"/>
                    <a:gd name="connsiteY6" fmla="*/ 7702 h 10000"/>
                    <a:gd name="connsiteX7" fmla="*/ 9561 w 10000"/>
                    <a:gd name="connsiteY7" fmla="*/ 6832 h 10000"/>
                    <a:gd name="connsiteX8" fmla="*/ 9211 w 10000"/>
                    <a:gd name="connsiteY8" fmla="*/ 6087 h 10000"/>
                    <a:gd name="connsiteX9" fmla="*/ 8684 w 10000"/>
                    <a:gd name="connsiteY9" fmla="*/ 5342 h 10000"/>
                    <a:gd name="connsiteX10" fmla="*/ 7982 w 10000"/>
                    <a:gd name="connsiteY10" fmla="*/ 4783 h 10000"/>
                    <a:gd name="connsiteX11" fmla="*/ 7105 w 10000"/>
                    <a:gd name="connsiteY11" fmla="*/ 4410 h 10000"/>
                    <a:gd name="connsiteX12" fmla="*/ 6140 w 10000"/>
                    <a:gd name="connsiteY12" fmla="*/ 4099 h 10000"/>
                    <a:gd name="connsiteX13" fmla="*/ 6140 w 10000"/>
                    <a:gd name="connsiteY13" fmla="*/ 4099 h 10000"/>
                    <a:gd name="connsiteX14" fmla="*/ 6667 w 10000"/>
                    <a:gd name="connsiteY14" fmla="*/ 3727 h 10000"/>
                    <a:gd name="connsiteX15" fmla="*/ 7018 w 10000"/>
                    <a:gd name="connsiteY15" fmla="*/ 3230 h 10000"/>
                    <a:gd name="connsiteX16" fmla="*/ 7281 w 10000"/>
                    <a:gd name="connsiteY16" fmla="*/ 2671 h 10000"/>
                    <a:gd name="connsiteX17" fmla="*/ 7544 w 10000"/>
                    <a:gd name="connsiteY17" fmla="*/ 2112 h 10000"/>
                    <a:gd name="connsiteX18" fmla="*/ 7544 w 10000"/>
                    <a:gd name="connsiteY18" fmla="*/ 2112 h 10000"/>
                    <a:gd name="connsiteX19" fmla="*/ 7456 w 10000"/>
                    <a:gd name="connsiteY19" fmla="*/ 1677 h 10000"/>
                    <a:gd name="connsiteX20" fmla="*/ 7281 w 10000"/>
                    <a:gd name="connsiteY20" fmla="*/ 1242 h 10000"/>
                    <a:gd name="connsiteX21" fmla="*/ 7105 w 10000"/>
                    <a:gd name="connsiteY21" fmla="*/ 870 h 10000"/>
                    <a:gd name="connsiteX22" fmla="*/ 6754 w 10000"/>
                    <a:gd name="connsiteY22" fmla="*/ 559 h 10000"/>
                    <a:gd name="connsiteX23" fmla="*/ 6404 w 10000"/>
                    <a:gd name="connsiteY23" fmla="*/ 311 h 10000"/>
                    <a:gd name="connsiteX24" fmla="*/ 5965 w 10000"/>
                    <a:gd name="connsiteY24" fmla="*/ 186 h 10000"/>
                    <a:gd name="connsiteX25" fmla="*/ 5526 w 10000"/>
                    <a:gd name="connsiteY25" fmla="*/ 0 h 10000"/>
                    <a:gd name="connsiteX26" fmla="*/ 5000 w 10000"/>
                    <a:gd name="connsiteY26" fmla="*/ 0 h 10000"/>
                    <a:gd name="connsiteX27" fmla="*/ 5000 w 10000"/>
                    <a:gd name="connsiteY27" fmla="*/ 0 h 10000"/>
                    <a:gd name="connsiteX28" fmla="*/ 4561 w 10000"/>
                    <a:gd name="connsiteY28" fmla="*/ 0 h 10000"/>
                    <a:gd name="connsiteX29" fmla="*/ 4123 w 10000"/>
                    <a:gd name="connsiteY29" fmla="*/ 186 h 10000"/>
                    <a:gd name="connsiteX30" fmla="*/ 3684 w 10000"/>
                    <a:gd name="connsiteY30" fmla="*/ 311 h 10000"/>
                    <a:gd name="connsiteX31" fmla="*/ 3246 w 10000"/>
                    <a:gd name="connsiteY31" fmla="*/ 559 h 10000"/>
                    <a:gd name="connsiteX32" fmla="*/ 2982 w 10000"/>
                    <a:gd name="connsiteY32" fmla="*/ 870 h 10000"/>
                    <a:gd name="connsiteX33" fmla="*/ 2719 w 10000"/>
                    <a:gd name="connsiteY33" fmla="*/ 1242 h 10000"/>
                    <a:gd name="connsiteX34" fmla="*/ 2544 w 10000"/>
                    <a:gd name="connsiteY34" fmla="*/ 1677 h 10000"/>
                    <a:gd name="connsiteX35" fmla="*/ 2544 w 10000"/>
                    <a:gd name="connsiteY35" fmla="*/ 2112 h 10000"/>
                    <a:gd name="connsiteX36" fmla="*/ 2544 w 10000"/>
                    <a:gd name="connsiteY36" fmla="*/ 2112 h 10000"/>
                    <a:gd name="connsiteX37" fmla="*/ 2632 w 10000"/>
                    <a:gd name="connsiteY37" fmla="*/ 2671 h 10000"/>
                    <a:gd name="connsiteX38" fmla="*/ 2982 w 10000"/>
                    <a:gd name="connsiteY38" fmla="*/ 3230 h 10000"/>
                    <a:gd name="connsiteX39" fmla="*/ 3421 w 10000"/>
                    <a:gd name="connsiteY39" fmla="*/ 3727 h 10000"/>
                    <a:gd name="connsiteX40" fmla="*/ 3860 w 10000"/>
                    <a:gd name="connsiteY40" fmla="*/ 4099 h 10000"/>
                    <a:gd name="connsiteX41" fmla="*/ 3860 w 10000"/>
                    <a:gd name="connsiteY41" fmla="*/ 4099 h 10000"/>
                    <a:gd name="connsiteX42" fmla="*/ 2895 w 10000"/>
                    <a:gd name="connsiteY42" fmla="*/ 4410 h 10000"/>
                    <a:gd name="connsiteX43" fmla="*/ 2105 w 10000"/>
                    <a:gd name="connsiteY43" fmla="*/ 4783 h 10000"/>
                    <a:gd name="connsiteX44" fmla="*/ 1404 w 10000"/>
                    <a:gd name="connsiteY44" fmla="*/ 5342 h 10000"/>
                    <a:gd name="connsiteX45" fmla="*/ 877 w 10000"/>
                    <a:gd name="connsiteY45" fmla="*/ 6087 h 10000"/>
                    <a:gd name="connsiteX46" fmla="*/ 439 w 10000"/>
                    <a:gd name="connsiteY46" fmla="*/ 6832 h 10000"/>
                    <a:gd name="connsiteX47" fmla="*/ 175 w 10000"/>
                    <a:gd name="connsiteY47" fmla="*/ 7702 h 10000"/>
                    <a:gd name="connsiteX48" fmla="*/ 0 w 10000"/>
                    <a:gd name="connsiteY48" fmla="*/ 8634 h 10000"/>
                    <a:gd name="connsiteX49" fmla="*/ 0 w 10000"/>
                    <a:gd name="connsiteY49" fmla="*/ 9689 h 10000"/>
                    <a:gd name="connsiteX0" fmla="*/ 9561 w 10000"/>
                    <a:gd name="connsiteY0" fmla="*/ 9814 h 9814"/>
                    <a:gd name="connsiteX1" fmla="*/ 9912 w 10000"/>
                    <a:gd name="connsiteY1" fmla="*/ 9752 h 9814"/>
                    <a:gd name="connsiteX2" fmla="*/ 10000 w 10000"/>
                    <a:gd name="connsiteY2" fmla="*/ 9689 h 9814"/>
                    <a:gd name="connsiteX3" fmla="*/ 10000 w 10000"/>
                    <a:gd name="connsiteY3" fmla="*/ 9689 h 9814"/>
                    <a:gd name="connsiteX4" fmla="*/ 10000 w 10000"/>
                    <a:gd name="connsiteY4" fmla="*/ 8634 h 9814"/>
                    <a:gd name="connsiteX5" fmla="*/ 9912 w 10000"/>
                    <a:gd name="connsiteY5" fmla="*/ 7702 h 9814"/>
                    <a:gd name="connsiteX6" fmla="*/ 9561 w 10000"/>
                    <a:gd name="connsiteY6" fmla="*/ 6832 h 9814"/>
                    <a:gd name="connsiteX7" fmla="*/ 9211 w 10000"/>
                    <a:gd name="connsiteY7" fmla="*/ 6087 h 9814"/>
                    <a:gd name="connsiteX8" fmla="*/ 8684 w 10000"/>
                    <a:gd name="connsiteY8" fmla="*/ 5342 h 9814"/>
                    <a:gd name="connsiteX9" fmla="*/ 7982 w 10000"/>
                    <a:gd name="connsiteY9" fmla="*/ 4783 h 9814"/>
                    <a:gd name="connsiteX10" fmla="*/ 7105 w 10000"/>
                    <a:gd name="connsiteY10" fmla="*/ 4410 h 9814"/>
                    <a:gd name="connsiteX11" fmla="*/ 6140 w 10000"/>
                    <a:gd name="connsiteY11" fmla="*/ 4099 h 9814"/>
                    <a:gd name="connsiteX12" fmla="*/ 6140 w 10000"/>
                    <a:gd name="connsiteY12" fmla="*/ 4099 h 9814"/>
                    <a:gd name="connsiteX13" fmla="*/ 6667 w 10000"/>
                    <a:gd name="connsiteY13" fmla="*/ 3727 h 9814"/>
                    <a:gd name="connsiteX14" fmla="*/ 7018 w 10000"/>
                    <a:gd name="connsiteY14" fmla="*/ 3230 h 9814"/>
                    <a:gd name="connsiteX15" fmla="*/ 7281 w 10000"/>
                    <a:gd name="connsiteY15" fmla="*/ 2671 h 9814"/>
                    <a:gd name="connsiteX16" fmla="*/ 7544 w 10000"/>
                    <a:gd name="connsiteY16" fmla="*/ 2112 h 9814"/>
                    <a:gd name="connsiteX17" fmla="*/ 7544 w 10000"/>
                    <a:gd name="connsiteY17" fmla="*/ 2112 h 9814"/>
                    <a:gd name="connsiteX18" fmla="*/ 7456 w 10000"/>
                    <a:gd name="connsiteY18" fmla="*/ 1677 h 9814"/>
                    <a:gd name="connsiteX19" fmla="*/ 7281 w 10000"/>
                    <a:gd name="connsiteY19" fmla="*/ 1242 h 9814"/>
                    <a:gd name="connsiteX20" fmla="*/ 7105 w 10000"/>
                    <a:gd name="connsiteY20" fmla="*/ 870 h 9814"/>
                    <a:gd name="connsiteX21" fmla="*/ 6754 w 10000"/>
                    <a:gd name="connsiteY21" fmla="*/ 559 h 9814"/>
                    <a:gd name="connsiteX22" fmla="*/ 6404 w 10000"/>
                    <a:gd name="connsiteY22" fmla="*/ 311 h 9814"/>
                    <a:gd name="connsiteX23" fmla="*/ 5965 w 10000"/>
                    <a:gd name="connsiteY23" fmla="*/ 186 h 9814"/>
                    <a:gd name="connsiteX24" fmla="*/ 5526 w 10000"/>
                    <a:gd name="connsiteY24" fmla="*/ 0 h 9814"/>
                    <a:gd name="connsiteX25" fmla="*/ 5000 w 10000"/>
                    <a:gd name="connsiteY25" fmla="*/ 0 h 9814"/>
                    <a:gd name="connsiteX26" fmla="*/ 5000 w 10000"/>
                    <a:gd name="connsiteY26" fmla="*/ 0 h 9814"/>
                    <a:gd name="connsiteX27" fmla="*/ 4561 w 10000"/>
                    <a:gd name="connsiteY27" fmla="*/ 0 h 9814"/>
                    <a:gd name="connsiteX28" fmla="*/ 4123 w 10000"/>
                    <a:gd name="connsiteY28" fmla="*/ 186 h 9814"/>
                    <a:gd name="connsiteX29" fmla="*/ 3684 w 10000"/>
                    <a:gd name="connsiteY29" fmla="*/ 311 h 9814"/>
                    <a:gd name="connsiteX30" fmla="*/ 3246 w 10000"/>
                    <a:gd name="connsiteY30" fmla="*/ 559 h 9814"/>
                    <a:gd name="connsiteX31" fmla="*/ 2982 w 10000"/>
                    <a:gd name="connsiteY31" fmla="*/ 870 h 9814"/>
                    <a:gd name="connsiteX32" fmla="*/ 2719 w 10000"/>
                    <a:gd name="connsiteY32" fmla="*/ 1242 h 9814"/>
                    <a:gd name="connsiteX33" fmla="*/ 2544 w 10000"/>
                    <a:gd name="connsiteY33" fmla="*/ 1677 h 9814"/>
                    <a:gd name="connsiteX34" fmla="*/ 2544 w 10000"/>
                    <a:gd name="connsiteY34" fmla="*/ 2112 h 9814"/>
                    <a:gd name="connsiteX35" fmla="*/ 2544 w 10000"/>
                    <a:gd name="connsiteY35" fmla="*/ 2112 h 9814"/>
                    <a:gd name="connsiteX36" fmla="*/ 2632 w 10000"/>
                    <a:gd name="connsiteY36" fmla="*/ 2671 h 9814"/>
                    <a:gd name="connsiteX37" fmla="*/ 2982 w 10000"/>
                    <a:gd name="connsiteY37" fmla="*/ 3230 h 9814"/>
                    <a:gd name="connsiteX38" fmla="*/ 3421 w 10000"/>
                    <a:gd name="connsiteY38" fmla="*/ 3727 h 9814"/>
                    <a:gd name="connsiteX39" fmla="*/ 3860 w 10000"/>
                    <a:gd name="connsiteY39" fmla="*/ 4099 h 9814"/>
                    <a:gd name="connsiteX40" fmla="*/ 3860 w 10000"/>
                    <a:gd name="connsiteY40" fmla="*/ 4099 h 9814"/>
                    <a:gd name="connsiteX41" fmla="*/ 2895 w 10000"/>
                    <a:gd name="connsiteY41" fmla="*/ 4410 h 9814"/>
                    <a:gd name="connsiteX42" fmla="*/ 2105 w 10000"/>
                    <a:gd name="connsiteY42" fmla="*/ 4783 h 9814"/>
                    <a:gd name="connsiteX43" fmla="*/ 1404 w 10000"/>
                    <a:gd name="connsiteY43" fmla="*/ 5342 h 9814"/>
                    <a:gd name="connsiteX44" fmla="*/ 877 w 10000"/>
                    <a:gd name="connsiteY44" fmla="*/ 6087 h 9814"/>
                    <a:gd name="connsiteX45" fmla="*/ 439 w 10000"/>
                    <a:gd name="connsiteY45" fmla="*/ 6832 h 9814"/>
                    <a:gd name="connsiteX46" fmla="*/ 175 w 10000"/>
                    <a:gd name="connsiteY46" fmla="*/ 7702 h 9814"/>
                    <a:gd name="connsiteX47" fmla="*/ 0 w 10000"/>
                    <a:gd name="connsiteY47" fmla="*/ 8634 h 9814"/>
                    <a:gd name="connsiteX48" fmla="*/ 0 w 10000"/>
                    <a:gd name="connsiteY48" fmla="*/ 9689 h 9814"/>
                    <a:gd name="connsiteX0" fmla="*/ 9912 w 10000"/>
                    <a:gd name="connsiteY0" fmla="*/ 9937 h 9937"/>
                    <a:gd name="connsiteX1" fmla="*/ 10000 w 10000"/>
                    <a:gd name="connsiteY1" fmla="*/ 9873 h 9937"/>
                    <a:gd name="connsiteX2" fmla="*/ 10000 w 10000"/>
                    <a:gd name="connsiteY2" fmla="*/ 9873 h 9937"/>
                    <a:gd name="connsiteX3" fmla="*/ 10000 w 10000"/>
                    <a:gd name="connsiteY3" fmla="*/ 8798 h 9937"/>
                    <a:gd name="connsiteX4" fmla="*/ 9912 w 10000"/>
                    <a:gd name="connsiteY4" fmla="*/ 7848 h 9937"/>
                    <a:gd name="connsiteX5" fmla="*/ 9561 w 10000"/>
                    <a:gd name="connsiteY5" fmla="*/ 6961 h 9937"/>
                    <a:gd name="connsiteX6" fmla="*/ 9211 w 10000"/>
                    <a:gd name="connsiteY6" fmla="*/ 6202 h 9937"/>
                    <a:gd name="connsiteX7" fmla="*/ 8684 w 10000"/>
                    <a:gd name="connsiteY7" fmla="*/ 5443 h 9937"/>
                    <a:gd name="connsiteX8" fmla="*/ 7982 w 10000"/>
                    <a:gd name="connsiteY8" fmla="*/ 4874 h 9937"/>
                    <a:gd name="connsiteX9" fmla="*/ 7105 w 10000"/>
                    <a:gd name="connsiteY9" fmla="*/ 4494 h 9937"/>
                    <a:gd name="connsiteX10" fmla="*/ 6140 w 10000"/>
                    <a:gd name="connsiteY10" fmla="*/ 4177 h 9937"/>
                    <a:gd name="connsiteX11" fmla="*/ 6140 w 10000"/>
                    <a:gd name="connsiteY11" fmla="*/ 4177 h 9937"/>
                    <a:gd name="connsiteX12" fmla="*/ 6667 w 10000"/>
                    <a:gd name="connsiteY12" fmla="*/ 3798 h 9937"/>
                    <a:gd name="connsiteX13" fmla="*/ 7018 w 10000"/>
                    <a:gd name="connsiteY13" fmla="*/ 3291 h 9937"/>
                    <a:gd name="connsiteX14" fmla="*/ 7281 w 10000"/>
                    <a:gd name="connsiteY14" fmla="*/ 2722 h 9937"/>
                    <a:gd name="connsiteX15" fmla="*/ 7544 w 10000"/>
                    <a:gd name="connsiteY15" fmla="*/ 2152 h 9937"/>
                    <a:gd name="connsiteX16" fmla="*/ 7544 w 10000"/>
                    <a:gd name="connsiteY16" fmla="*/ 2152 h 9937"/>
                    <a:gd name="connsiteX17" fmla="*/ 7456 w 10000"/>
                    <a:gd name="connsiteY17" fmla="*/ 1709 h 9937"/>
                    <a:gd name="connsiteX18" fmla="*/ 7281 w 10000"/>
                    <a:gd name="connsiteY18" fmla="*/ 1266 h 9937"/>
                    <a:gd name="connsiteX19" fmla="*/ 7105 w 10000"/>
                    <a:gd name="connsiteY19" fmla="*/ 886 h 9937"/>
                    <a:gd name="connsiteX20" fmla="*/ 6754 w 10000"/>
                    <a:gd name="connsiteY20" fmla="*/ 570 h 9937"/>
                    <a:gd name="connsiteX21" fmla="*/ 6404 w 10000"/>
                    <a:gd name="connsiteY21" fmla="*/ 317 h 9937"/>
                    <a:gd name="connsiteX22" fmla="*/ 5965 w 10000"/>
                    <a:gd name="connsiteY22" fmla="*/ 190 h 9937"/>
                    <a:gd name="connsiteX23" fmla="*/ 5526 w 10000"/>
                    <a:gd name="connsiteY23" fmla="*/ 0 h 9937"/>
                    <a:gd name="connsiteX24" fmla="*/ 5000 w 10000"/>
                    <a:gd name="connsiteY24" fmla="*/ 0 h 9937"/>
                    <a:gd name="connsiteX25" fmla="*/ 5000 w 10000"/>
                    <a:gd name="connsiteY25" fmla="*/ 0 h 9937"/>
                    <a:gd name="connsiteX26" fmla="*/ 4561 w 10000"/>
                    <a:gd name="connsiteY26" fmla="*/ 0 h 9937"/>
                    <a:gd name="connsiteX27" fmla="*/ 4123 w 10000"/>
                    <a:gd name="connsiteY27" fmla="*/ 190 h 9937"/>
                    <a:gd name="connsiteX28" fmla="*/ 3684 w 10000"/>
                    <a:gd name="connsiteY28" fmla="*/ 317 h 9937"/>
                    <a:gd name="connsiteX29" fmla="*/ 3246 w 10000"/>
                    <a:gd name="connsiteY29" fmla="*/ 570 h 9937"/>
                    <a:gd name="connsiteX30" fmla="*/ 2982 w 10000"/>
                    <a:gd name="connsiteY30" fmla="*/ 886 h 9937"/>
                    <a:gd name="connsiteX31" fmla="*/ 2719 w 10000"/>
                    <a:gd name="connsiteY31" fmla="*/ 1266 h 9937"/>
                    <a:gd name="connsiteX32" fmla="*/ 2544 w 10000"/>
                    <a:gd name="connsiteY32" fmla="*/ 1709 h 9937"/>
                    <a:gd name="connsiteX33" fmla="*/ 2544 w 10000"/>
                    <a:gd name="connsiteY33" fmla="*/ 2152 h 9937"/>
                    <a:gd name="connsiteX34" fmla="*/ 2544 w 10000"/>
                    <a:gd name="connsiteY34" fmla="*/ 2152 h 9937"/>
                    <a:gd name="connsiteX35" fmla="*/ 2632 w 10000"/>
                    <a:gd name="connsiteY35" fmla="*/ 2722 h 9937"/>
                    <a:gd name="connsiteX36" fmla="*/ 2982 w 10000"/>
                    <a:gd name="connsiteY36" fmla="*/ 3291 h 9937"/>
                    <a:gd name="connsiteX37" fmla="*/ 3421 w 10000"/>
                    <a:gd name="connsiteY37" fmla="*/ 3798 h 9937"/>
                    <a:gd name="connsiteX38" fmla="*/ 3860 w 10000"/>
                    <a:gd name="connsiteY38" fmla="*/ 4177 h 9937"/>
                    <a:gd name="connsiteX39" fmla="*/ 3860 w 10000"/>
                    <a:gd name="connsiteY39" fmla="*/ 4177 h 9937"/>
                    <a:gd name="connsiteX40" fmla="*/ 2895 w 10000"/>
                    <a:gd name="connsiteY40" fmla="*/ 4494 h 9937"/>
                    <a:gd name="connsiteX41" fmla="*/ 2105 w 10000"/>
                    <a:gd name="connsiteY41" fmla="*/ 4874 h 9937"/>
                    <a:gd name="connsiteX42" fmla="*/ 1404 w 10000"/>
                    <a:gd name="connsiteY42" fmla="*/ 5443 h 9937"/>
                    <a:gd name="connsiteX43" fmla="*/ 877 w 10000"/>
                    <a:gd name="connsiteY43" fmla="*/ 6202 h 9937"/>
                    <a:gd name="connsiteX44" fmla="*/ 439 w 10000"/>
                    <a:gd name="connsiteY44" fmla="*/ 6961 h 9937"/>
                    <a:gd name="connsiteX45" fmla="*/ 175 w 10000"/>
                    <a:gd name="connsiteY45" fmla="*/ 7848 h 9937"/>
                    <a:gd name="connsiteX46" fmla="*/ 0 w 10000"/>
                    <a:gd name="connsiteY46" fmla="*/ 8798 h 9937"/>
                    <a:gd name="connsiteX47" fmla="*/ 0 w 10000"/>
                    <a:gd name="connsiteY47" fmla="*/ 9873 h 9937"/>
                    <a:gd name="connsiteX0" fmla="*/ 9912 w 10000"/>
                    <a:gd name="connsiteY0" fmla="*/ 10000 h 10000"/>
                    <a:gd name="connsiteX1" fmla="*/ 10000 w 10000"/>
                    <a:gd name="connsiteY1" fmla="*/ 9936 h 10000"/>
                    <a:gd name="connsiteX2" fmla="*/ 10000 w 10000"/>
                    <a:gd name="connsiteY2" fmla="*/ 8854 h 10000"/>
                    <a:gd name="connsiteX3" fmla="*/ 9912 w 10000"/>
                    <a:gd name="connsiteY3" fmla="*/ 7898 h 10000"/>
                    <a:gd name="connsiteX4" fmla="*/ 9561 w 10000"/>
                    <a:gd name="connsiteY4" fmla="*/ 7005 h 10000"/>
                    <a:gd name="connsiteX5" fmla="*/ 9211 w 10000"/>
                    <a:gd name="connsiteY5" fmla="*/ 6241 h 10000"/>
                    <a:gd name="connsiteX6" fmla="*/ 8684 w 10000"/>
                    <a:gd name="connsiteY6" fmla="*/ 5478 h 10000"/>
                    <a:gd name="connsiteX7" fmla="*/ 7982 w 10000"/>
                    <a:gd name="connsiteY7" fmla="*/ 4905 h 10000"/>
                    <a:gd name="connsiteX8" fmla="*/ 7105 w 10000"/>
                    <a:gd name="connsiteY8" fmla="*/ 4522 h 10000"/>
                    <a:gd name="connsiteX9" fmla="*/ 6140 w 10000"/>
                    <a:gd name="connsiteY9" fmla="*/ 4203 h 10000"/>
                    <a:gd name="connsiteX10" fmla="*/ 6140 w 10000"/>
                    <a:gd name="connsiteY10" fmla="*/ 4203 h 10000"/>
                    <a:gd name="connsiteX11" fmla="*/ 6667 w 10000"/>
                    <a:gd name="connsiteY11" fmla="*/ 3822 h 10000"/>
                    <a:gd name="connsiteX12" fmla="*/ 7018 w 10000"/>
                    <a:gd name="connsiteY12" fmla="*/ 3312 h 10000"/>
                    <a:gd name="connsiteX13" fmla="*/ 7281 w 10000"/>
                    <a:gd name="connsiteY13" fmla="*/ 2739 h 10000"/>
                    <a:gd name="connsiteX14" fmla="*/ 7544 w 10000"/>
                    <a:gd name="connsiteY14" fmla="*/ 2166 h 10000"/>
                    <a:gd name="connsiteX15" fmla="*/ 7544 w 10000"/>
                    <a:gd name="connsiteY15" fmla="*/ 2166 h 10000"/>
                    <a:gd name="connsiteX16" fmla="*/ 7456 w 10000"/>
                    <a:gd name="connsiteY16" fmla="*/ 1720 h 10000"/>
                    <a:gd name="connsiteX17" fmla="*/ 7281 w 10000"/>
                    <a:gd name="connsiteY17" fmla="*/ 1274 h 10000"/>
                    <a:gd name="connsiteX18" fmla="*/ 7105 w 10000"/>
                    <a:gd name="connsiteY18" fmla="*/ 892 h 10000"/>
                    <a:gd name="connsiteX19" fmla="*/ 6754 w 10000"/>
                    <a:gd name="connsiteY19" fmla="*/ 574 h 10000"/>
                    <a:gd name="connsiteX20" fmla="*/ 6404 w 10000"/>
                    <a:gd name="connsiteY20" fmla="*/ 319 h 10000"/>
                    <a:gd name="connsiteX21" fmla="*/ 5965 w 10000"/>
                    <a:gd name="connsiteY21" fmla="*/ 191 h 10000"/>
                    <a:gd name="connsiteX22" fmla="*/ 5526 w 10000"/>
                    <a:gd name="connsiteY22" fmla="*/ 0 h 10000"/>
                    <a:gd name="connsiteX23" fmla="*/ 5000 w 10000"/>
                    <a:gd name="connsiteY23" fmla="*/ 0 h 10000"/>
                    <a:gd name="connsiteX24" fmla="*/ 5000 w 10000"/>
                    <a:gd name="connsiteY24" fmla="*/ 0 h 10000"/>
                    <a:gd name="connsiteX25" fmla="*/ 4561 w 10000"/>
                    <a:gd name="connsiteY25" fmla="*/ 0 h 10000"/>
                    <a:gd name="connsiteX26" fmla="*/ 4123 w 10000"/>
                    <a:gd name="connsiteY26" fmla="*/ 191 h 10000"/>
                    <a:gd name="connsiteX27" fmla="*/ 3684 w 10000"/>
                    <a:gd name="connsiteY27" fmla="*/ 319 h 10000"/>
                    <a:gd name="connsiteX28" fmla="*/ 3246 w 10000"/>
                    <a:gd name="connsiteY28" fmla="*/ 574 h 10000"/>
                    <a:gd name="connsiteX29" fmla="*/ 2982 w 10000"/>
                    <a:gd name="connsiteY29" fmla="*/ 892 h 10000"/>
                    <a:gd name="connsiteX30" fmla="*/ 2719 w 10000"/>
                    <a:gd name="connsiteY30" fmla="*/ 1274 h 10000"/>
                    <a:gd name="connsiteX31" fmla="*/ 2544 w 10000"/>
                    <a:gd name="connsiteY31" fmla="*/ 1720 h 10000"/>
                    <a:gd name="connsiteX32" fmla="*/ 2544 w 10000"/>
                    <a:gd name="connsiteY32" fmla="*/ 2166 h 10000"/>
                    <a:gd name="connsiteX33" fmla="*/ 2544 w 10000"/>
                    <a:gd name="connsiteY33" fmla="*/ 2166 h 10000"/>
                    <a:gd name="connsiteX34" fmla="*/ 2632 w 10000"/>
                    <a:gd name="connsiteY34" fmla="*/ 2739 h 10000"/>
                    <a:gd name="connsiteX35" fmla="*/ 2982 w 10000"/>
                    <a:gd name="connsiteY35" fmla="*/ 3312 h 10000"/>
                    <a:gd name="connsiteX36" fmla="*/ 3421 w 10000"/>
                    <a:gd name="connsiteY36" fmla="*/ 3822 h 10000"/>
                    <a:gd name="connsiteX37" fmla="*/ 3860 w 10000"/>
                    <a:gd name="connsiteY37" fmla="*/ 4203 h 10000"/>
                    <a:gd name="connsiteX38" fmla="*/ 3860 w 10000"/>
                    <a:gd name="connsiteY38" fmla="*/ 4203 h 10000"/>
                    <a:gd name="connsiteX39" fmla="*/ 2895 w 10000"/>
                    <a:gd name="connsiteY39" fmla="*/ 4522 h 10000"/>
                    <a:gd name="connsiteX40" fmla="*/ 2105 w 10000"/>
                    <a:gd name="connsiteY40" fmla="*/ 4905 h 10000"/>
                    <a:gd name="connsiteX41" fmla="*/ 1404 w 10000"/>
                    <a:gd name="connsiteY41" fmla="*/ 5478 h 10000"/>
                    <a:gd name="connsiteX42" fmla="*/ 877 w 10000"/>
                    <a:gd name="connsiteY42" fmla="*/ 6241 h 10000"/>
                    <a:gd name="connsiteX43" fmla="*/ 439 w 10000"/>
                    <a:gd name="connsiteY43" fmla="*/ 7005 h 10000"/>
                    <a:gd name="connsiteX44" fmla="*/ 175 w 10000"/>
                    <a:gd name="connsiteY44" fmla="*/ 7898 h 10000"/>
                    <a:gd name="connsiteX45" fmla="*/ 0 w 10000"/>
                    <a:gd name="connsiteY45" fmla="*/ 8854 h 10000"/>
                    <a:gd name="connsiteX46" fmla="*/ 0 w 10000"/>
                    <a:gd name="connsiteY46" fmla="*/ 9936 h 10000"/>
                    <a:gd name="connsiteX0" fmla="*/ 9912 w 10000"/>
                    <a:gd name="connsiteY0" fmla="*/ 10000 h 10000"/>
                    <a:gd name="connsiteX1" fmla="*/ 10000 w 10000"/>
                    <a:gd name="connsiteY1" fmla="*/ 8854 h 10000"/>
                    <a:gd name="connsiteX2" fmla="*/ 9912 w 10000"/>
                    <a:gd name="connsiteY2" fmla="*/ 7898 h 10000"/>
                    <a:gd name="connsiteX3" fmla="*/ 9561 w 10000"/>
                    <a:gd name="connsiteY3" fmla="*/ 7005 h 10000"/>
                    <a:gd name="connsiteX4" fmla="*/ 9211 w 10000"/>
                    <a:gd name="connsiteY4" fmla="*/ 6241 h 10000"/>
                    <a:gd name="connsiteX5" fmla="*/ 8684 w 10000"/>
                    <a:gd name="connsiteY5" fmla="*/ 5478 h 10000"/>
                    <a:gd name="connsiteX6" fmla="*/ 7982 w 10000"/>
                    <a:gd name="connsiteY6" fmla="*/ 4905 h 10000"/>
                    <a:gd name="connsiteX7" fmla="*/ 7105 w 10000"/>
                    <a:gd name="connsiteY7" fmla="*/ 4522 h 10000"/>
                    <a:gd name="connsiteX8" fmla="*/ 6140 w 10000"/>
                    <a:gd name="connsiteY8" fmla="*/ 4203 h 10000"/>
                    <a:gd name="connsiteX9" fmla="*/ 6140 w 10000"/>
                    <a:gd name="connsiteY9" fmla="*/ 4203 h 10000"/>
                    <a:gd name="connsiteX10" fmla="*/ 6667 w 10000"/>
                    <a:gd name="connsiteY10" fmla="*/ 3822 h 10000"/>
                    <a:gd name="connsiteX11" fmla="*/ 7018 w 10000"/>
                    <a:gd name="connsiteY11" fmla="*/ 3312 h 10000"/>
                    <a:gd name="connsiteX12" fmla="*/ 7281 w 10000"/>
                    <a:gd name="connsiteY12" fmla="*/ 2739 h 10000"/>
                    <a:gd name="connsiteX13" fmla="*/ 7544 w 10000"/>
                    <a:gd name="connsiteY13" fmla="*/ 2166 h 10000"/>
                    <a:gd name="connsiteX14" fmla="*/ 7544 w 10000"/>
                    <a:gd name="connsiteY14" fmla="*/ 2166 h 10000"/>
                    <a:gd name="connsiteX15" fmla="*/ 7456 w 10000"/>
                    <a:gd name="connsiteY15" fmla="*/ 1720 h 10000"/>
                    <a:gd name="connsiteX16" fmla="*/ 7281 w 10000"/>
                    <a:gd name="connsiteY16" fmla="*/ 1274 h 10000"/>
                    <a:gd name="connsiteX17" fmla="*/ 7105 w 10000"/>
                    <a:gd name="connsiteY17" fmla="*/ 892 h 10000"/>
                    <a:gd name="connsiteX18" fmla="*/ 6754 w 10000"/>
                    <a:gd name="connsiteY18" fmla="*/ 574 h 10000"/>
                    <a:gd name="connsiteX19" fmla="*/ 6404 w 10000"/>
                    <a:gd name="connsiteY19" fmla="*/ 319 h 10000"/>
                    <a:gd name="connsiteX20" fmla="*/ 5965 w 10000"/>
                    <a:gd name="connsiteY20" fmla="*/ 191 h 10000"/>
                    <a:gd name="connsiteX21" fmla="*/ 5526 w 10000"/>
                    <a:gd name="connsiteY21" fmla="*/ 0 h 10000"/>
                    <a:gd name="connsiteX22" fmla="*/ 5000 w 10000"/>
                    <a:gd name="connsiteY22" fmla="*/ 0 h 10000"/>
                    <a:gd name="connsiteX23" fmla="*/ 5000 w 10000"/>
                    <a:gd name="connsiteY23" fmla="*/ 0 h 10000"/>
                    <a:gd name="connsiteX24" fmla="*/ 4561 w 10000"/>
                    <a:gd name="connsiteY24" fmla="*/ 0 h 10000"/>
                    <a:gd name="connsiteX25" fmla="*/ 4123 w 10000"/>
                    <a:gd name="connsiteY25" fmla="*/ 191 h 10000"/>
                    <a:gd name="connsiteX26" fmla="*/ 3684 w 10000"/>
                    <a:gd name="connsiteY26" fmla="*/ 319 h 10000"/>
                    <a:gd name="connsiteX27" fmla="*/ 3246 w 10000"/>
                    <a:gd name="connsiteY27" fmla="*/ 574 h 10000"/>
                    <a:gd name="connsiteX28" fmla="*/ 2982 w 10000"/>
                    <a:gd name="connsiteY28" fmla="*/ 892 h 10000"/>
                    <a:gd name="connsiteX29" fmla="*/ 2719 w 10000"/>
                    <a:gd name="connsiteY29" fmla="*/ 1274 h 10000"/>
                    <a:gd name="connsiteX30" fmla="*/ 2544 w 10000"/>
                    <a:gd name="connsiteY30" fmla="*/ 1720 h 10000"/>
                    <a:gd name="connsiteX31" fmla="*/ 2544 w 10000"/>
                    <a:gd name="connsiteY31" fmla="*/ 2166 h 10000"/>
                    <a:gd name="connsiteX32" fmla="*/ 2544 w 10000"/>
                    <a:gd name="connsiteY32" fmla="*/ 2166 h 10000"/>
                    <a:gd name="connsiteX33" fmla="*/ 2632 w 10000"/>
                    <a:gd name="connsiteY33" fmla="*/ 2739 h 10000"/>
                    <a:gd name="connsiteX34" fmla="*/ 2982 w 10000"/>
                    <a:gd name="connsiteY34" fmla="*/ 3312 h 10000"/>
                    <a:gd name="connsiteX35" fmla="*/ 3421 w 10000"/>
                    <a:gd name="connsiteY35" fmla="*/ 3822 h 10000"/>
                    <a:gd name="connsiteX36" fmla="*/ 3860 w 10000"/>
                    <a:gd name="connsiteY36" fmla="*/ 4203 h 10000"/>
                    <a:gd name="connsiteX37" fmla="*/ 3860 w 10000"/>
                    <a:gd name="connsiteY37" fmla="*/ 4203 h 10000"/>
                    <a:gd name="connsiteX38" fmla="*/ 2895 w 10000"/>
                    <a:gd name="connsiteY38" fmla="*/ 4522 h 10000"/>
                    <a:gd name="connsiteX39" fmla="*/ 2105 w 10000"/>
                    <a:gd name="connsiteY39" fmla="*/ 4905 h 10000"/>
                    <a:gd name="connsiteX40" fmla="*/ 1404 w 10000"/>
                    <a:gd name="connsiteY40" fmla="*/ 5478 h 10000"/>
                    <a:gd name="connsiteX41" fmla="*/ 877 w 10000"/>
                    <a:gd name="connsiteY41" fmla="*/ 6241 h 10000"/>
                    <a:gd name="connsiteX42" fmla="*/ 439 w 10000"/>
                    <a:gd name="connsiteY42" fmla="*/ 7005 h 10000"/>
                    <a:gd name="connsiteX43" fmla="*/ 175 w 10000"/>
                    <a:gd name="connsiteY43" fmla="*/ 7898 h 10000"/>
                    <a:gd name="connsiteX44" fmla="*/ 0 w 10000"/>
                    <a:gd name="connsiteY44" fmla="*/ 8854 h 10000"/>
                    <a:gd name="connsiteX45" fmla="*/ 0 w 10000"/>
                    <a:gd name="connsiteY45" fmla="*/ 9936 h 10000"/>
                    <a:gd name="connsiteX0" fmla="*/ 10000 w 10000"/>
                    <a:gd name="connsiteY0" fmla="*/ 8854 h 9936"/>
                    <a:gd name="connsiteX1" fmla="*/ 9912 w 10000"/>
                    <a:gd name="connsiteY1" fmla="*/ 7898 h 9936"/>
                    <a:gd name="connsiteX2" fmla="*/ 9561 w 10000"/>
                    <a:gd name="connsiteY2" fmla="*/ 7005 h 9936"/>
                    <a:gd name="connsiteX3" fmla="*/ 9211 w 10000"/>
                    <a:gd name="connsiteY3" fmla="*/ 6241 h 9936"/>
                    <a:gd name="connsiteX4" fmla="*/ 8684 w 10000"/>
                    <a:gd name="connsiteY4" fmla="*/ 5478 h 9936"/>
                    <a:gd name="connsiteX5" fmla="*/ 7982 w 10000"/>
                    <a:gd name="connsiteY5" fmla="*/ 4905 h 9936"/>
                    <a:gd name="connsiteX6" fmla="*/ 7105 w 10000"/>
                    <a:gd name="connsiteY6" fmla="*/ 4522 h 9936"/>
                    <a:gd name="connsiteX7" fmla="*/ 6140 w 10000"/>
                    <a:gd name="connsiteY7" fmla="*/ 4203 h 9936"/>
                    <a:gd name="connsiteX8" fmla="*/ 6140 w 10000"/>
                    <a:gd name="connsiteY8" fmla="*/ 4203 h 9936"/>
                    <a:gd name="connsiteX9" fmla="*/ 6667 w 10000"/>
                    <a:gd name="connsiteY9" fmla="*/ 3822 h 9936"/>
                    <a:gd name="connsiteX10" fmla="*/ 7018 w 10000"/>
                    <a:gd name="connsiteY10" fmla="*/ 3312 h 9936"/>
                    <a:gd name="connsiteX11" fmla="*/ 7281 w 10000"/>
                    <a:gd name="connsiteY11" fmla="*/ 2739 h 9936"/>
                    <a:gd name="connsiteX12" fmla="*/ 7544 w 10000"/>
                    <a:gd name="connsiteY12" fmla="*/ 2166 h 9936"/>
                    <a:gd name="connsiteX13" fmla="*/ 7544 w 10000"/>
                    <a:gd name="connsiteY13" fmla="*/ 2166 h 9936"/>
                    <a:gd name="connsiteX14" fmla="*/ 7456 w 10000"/>
                    <a:gd name="connsiteY14" fmla="*/ 1720 h 9936"/>
                    <a:gd name="connsiteX15" fmla="*/ 7281 w 10000"/>
                    <a:gd name="connsiteY15" fmla="*/ 1274 h 9936"/>
                    <a:gd name="connsiteX16" fmla="*/ 7105 w 10000"/>
                    <a:gd name="connsiteY16" fmla="*/ 892 h 9936"/>
                    <a:gd name="connsiteX17" fmla="*/ 6754 w 10000"/>
                    <a:gd name="connsiteY17" fmla="*/ 574 h 9936"/>
                    <a:gd name="connsiteX18" fmla="*/ 6404 w 10000"/>
                    <a:gd name="connsiteY18" fmla="*/ 319 h 9936"/>
                    <a:gd name="connsiteX19" fmla="*/ 5965 w 10000"/>
                    <a:gd name="connsiteY19" fmla="*/ 191 h 9936"/>
                    <a:gd name="connsiteX20" fmla="*/ 5526 w 10000"/>
                    <a:gd name="connsiteY20" fmla="*/ 0 h 9936"/>
                    <a:gd name="connsiteX21" fmla="*/ 5000 w 10000"/>
                    <a:gd name="connsiteY21" fmla="*/ 0 h 9936"/>
                    <a:gd name="connsiteX22" fmla="*/ 5000 w 10000"/>
                    <a:gd name="connsiteY22" fmla="*/ 0 h 9936"/>
                    <a:gd name="connsiteX23" fmla="*/ 4561 w 10000"/>
                    <a:gd name="connsiteY23" fmla="*/ 0 h 9936"/>
                    <a:gd name="connsiteX24" fmla="*/ 4123 w 10000"/>
                    <a:gd name="connsiteY24" fmla="*/ 191 h 9936"/>
                    <a:gd name="connsiteX25" fmla="*/ 3684 w 10000"/>
                    <a:gd name="connsiteY25" fmla="*/ 319 h 9936"/>
                    <a:gd name="connsiteX26" fmla="*/ 3246 w 10000"/>
                    <a:gd name="connsiteY26" fmla="*/ 574 h 9936"/>
                    <a:gd name="connsiteX27" fmla="*/ 2982 w 10000"/>
                    <a:gd name="connsiteY27" fmla="*/ 892 h 9936"/>
                    <a:gd name="connsiteX28" fmla="*/ 2719 w 10000"/>
                    <a:gd name="connsiteY28" fmla="*/ 1274 h 9936"/>
                    <a:gd name="connsiteX29" fmla="*/ 2544 w 10000"/>
                    <a:gd name="connsiteY29" fmla="*/ 1720 h 9936"/>
                    <a:gd name="connsiteX30" fmla="*/ 2544 w 10000"/>
                    <a:gd name="connsiteY30" fmla="*/ 2166 h 9936"/>
                    <a:gd name="connsiteX31" fmla="*/ 2544 w 10000"/>
                    <a:gd name="connsiteY31" fmla="*/ 2166 h 9936"/>
                    <a:gd name="connsiteX32" fmla="*/ 2632 w 10000"/>
                    <a:gd name="connsiteY32" fmla="*/ 2739 h 9936"/>
                    <a:gd name="connsiteX33" fmla="*/ 2982 w 10000"/>
                    <a:gd name="connsiteY33" fmla="*/ 3312 h 9936"/>
                    <a:gd name="connsiteX34" fmla="*/ 3421 w 10000"/>
                    <a:gd name="connsiteY34" fmla="*/ 3822 h 9936"/>
                    <a:gd name="connsiteX35" fmla="*/ 3860 w 10000"/>
                    <a:gd name="connsiteY35" fmla="*/ 4203 h 9936"/>
                    <a:gd name="connsiteX36" fmla="*/ 3860 w 10000"/>
                    <a:gd name="connsiteY36" fmla="*/ 4203 h 9936"/>
                    <a:gd name="connsiteX37" fmla="*/ 2895 w 10000"/>
                    <a:gd name="connsiteY37" fmla="*/ 4522 h 9936"/>
                    <a:gd name="connsiteX38" fmla="*/ 2105 w 10000"/>
                    <a:gd name="connsiteY38" fmla="*/ 4905 h 9936"/>
                    <a:gd name="connsiteX39" fmla="*/ 1404 w 10000"/>
                    <a:gd name="connsiteY39" fmla="*/ 5478 h 9936"/>
                    <a:gd name="connsiteX40" fmla="*/ 877 w 10000"/>
                    <a:gd name="connsiteY40" fmla="*/ 6241 h 9936"/>
                    <a:gd name="connsiteX41" fmla="*/ 439 w 10000"/>
                    <a:gd name="connsiteY41" fmla="*/ 7005 h 9936"/>
                    <a:gd name="connsiteX42" fmla="*/ 175 w 10000"/>
                    <a:gd name="connsiteY42" fmla="*/ 7898 h 9936"/>
                    <a:gd name="connsiteX43" fmla="*/ 0 w 10000"/>
                    <a:gd name="connsiteY43" fmla="*/ 8854 h 9936"/>
                    <a:gd name="connsiteX44" fmla="*/ 0 w 10000"/>
                    <a:gd name="connsiteY44" fmla="*/ 9936 h 9936"/>
                    <a:gd name="connsiteX0" fmla="*/ 9912 w 9912"/>
                    <a:gd name="connsiteY0" fmla="*/ 7949 h 10000"/>
                    <a:gd name="connsiteX1" fmla="*/ 9561 w 9912"/>
                    <a:gd name="connsiteY1" fmla="*/ 7050 h 10000"/>
                    <a:gd name="connsiteX2" fmla="*/ 9211 w 9912"/>
                    <a:gd name="connsiteY2" fmla="*/ 6281 h 10000"/>
                    <a:gd name="connsiteX3" fmla="*/ 8684 w 9912"/>
                    <a:gd name="connsiteY3" fmla="*/ 5513 h 10000"/>
                    <a:gd name="connsiteX4" fmla="*/ 7982 w 9912"/>
                    <a:gd name="connsiteY4" fmla="*/ 4937 h 10000"/>
                    <a:gd name="connsiteX5" fmla="*/ 7105 w 9912"/>
                    <a:gd name="connsiteY5" fmla="*/ 4551 h 10000"/>
                    <a:gd name="connsiteX6" fmla="*/ 6140 w 9912"/>
                    <a:gd name="connsiteY6" fmla="*/ 4230 h 10000"/>
                    <a:gd name="connsiteX7" fmla="*/ 6140 w 9912"/>
                    <a:gd name="connsiteY7" fmla="*/ 4230 h 10000"/>
                    <a:gd name="connsiteX8" fmla="*/ 6667 w 9912"/>
                    <a:gd name="connsiteY8" fmla="*/ 3847 h 10000"/>
                    <a:gd name="connsiteX9" fmla="*/ 7018 w 9912"/>
                    <a:gd name="connsiteY9" fmla="*/ 3333 h 10000"/>
                    <a:gd name="connsiteX10" fmla="*/ 7281 w 9912"/>
                    <a:gd name="connsiteY10" fmla="*/ 2757 h 10000"/>
                    <a:gd name="connsiteX11" fmla="*/ 7544 w 9912"/>
                    <a:gd name="connsiteY11" fmla="*/ 2180 h 10000"/>
                    <a:gd name="connsiteX12" fmla="*/ 7544 w 9912"/>
                    <a:gd name="connsiteY12" fmla="*/ 2180 h 10000"/>
                    <a:gd name="connsiteX13" fmla="*/ 7456 w 9912"/>
                    <a:gd name="connsiteY13" fmla="*/ 1731 h 10000"/>
                    <a:gd name="connsiteX14" fmla="*/ 7281 w 9912"/>
                    <a:gd name="connsiteY14" fmla="*/ 1282 h 10000"/>
                    <a:gd name="connsiteX15" fmla="*/ 7105 w 9912"/>
                    <a:gd name="connsiteY15" fmla="*/ 898 h 10000"/>
                    <a:gd name="connsiteX16" fmla="*/ 6754 w 9912"/>
                    <a:gd name="connsiteY16" fmla="*/ 578 h 10000"/>
                    <a:gd name="connsiteX17" fmla="*/ 6404 w 9912"/>
                    <a:gd name="connsiteY17" fmla="*/ 321 h 10000"/>
                    <a:gd name="connsiteX18" fmla="*/ 5965 w 9912"/>
                    <a:gd name="connsiteY18" fmla="*/ 192 h 10000"/>
                    <a:gd name="connsiteX19" fmla="*/ 5526 w 9912"/>
                    <a:gd name="connsiteY19" fmla="*/ 0 h 10000"/>
                    <a:gd name="connsiteX20" fmla="*/ 5000 w 9912"/>
                    <a:gd name="connsiteY20" fmla="*/ 0 h 10000"/>
                    <a:gd name="connsiteX21" fmla="*/ 5000 w 9912"/>
                    <a:gd name="connsiteY21" fmla="*/ 0 h 10000"/>
                    <a:gd name="connsiteX22" fmla="*/ 4561 w 9912"/>
                    <a:gd name="connsiteY22" fmla="*/ 0 h 10000"/>
                    <a:gd name="connsiteX23" fmla="*/ 4123 w 9912"/>
                    <a:gd name="connsiteY23" fmla="*/ 192 h 10000"/>
                    <a:gd name="connsiteX24" fmla="*/ 3684 w 9912"/>
                    <a:gd name="connsiteY24" fmla="*/ 321 h 10000"/>
                    <a:gd name="connsiteX25" fmla="*/ 3246 w 9912"/>
                    <a:gd name="connsiteY25" fmla="*/ 578 h 10000"/>
                    <a:gd name="connsiteX26" fmla="*/ 2982 w 9912"/>
                    <a:gd name="connsiteY26" fmla="*/ 898 h 10000"/>
                    <a:gd name="connsiteX27" fmla="*/ 2719 w 9912"/>
                    <a:gd name="connsiteY27" fmla="*/ 1282 h 10000"/>
                    <a:gd name="connsiteX28" fmla="*/ 2544 w 9912"/>
                    <a:gd name="connsiteY28" fmla="*/ 1731 h 10000"/>
                    <a:gd name="connsiteX29" fmla="*/ 2544 w 9912"/>
                    <a:gd name="connsiteY29" fmla="*/ 2180 h 10000"/>
                    <a:gd name="connsiteX30" fmla="*/ 2544 w 9912"/>
                    <a:gd name="connsiteY30" fmla="*/ 2180 h 10000"/>
                    <a:gd name="connsiteX31" fmla="*/ 2632 w 9912"/>
                    <a:gd name="connsiteY31" fmla="*/ 2757 h 10000"/>
                    <a:gd name="connsiteX32" fmla="*/ 2982 w 9912"/>
                    <a:gd name="connsiteY32" fmla="*/ 3333 h 10000"/>
                    <a:gd name="connsiteX33" fmla="*/ 3421 w 9912"/>
                    <a:gd name="connsiteY33" fmla="*/ 3847 h 10000"/>
                    <a:gd name="connsiteX34" fmla="*/ 3860 w 9912"/>
                    <a:gd name="connsiteY34" fmla="*/ 4230 h 10000"/>
                    <a:gd name="connsiteX35" fmla="*/ 3860 w 9912"/>
                    <a:gd name="connsiteY35" fmla="*/ 4230 h 10000"/>
                    <a:gd name="connsiteX36" fmla="*/ 2895 w 9912"/>
                    <a:gd name="connsiteY36" fmla="*/ 4551 h 10000"/>
                    <a:gd name="connsiteX37" fmla="*/ 2105 w 9912"/>
                    <a:gd name="connsiteY37" fmla="*/ 4937 h 10000"/>
                    <a:gd name="connsiteX38" fmla="*/ 1404 w 9912"/>
                    <a:gd name="connsiteY38" fmla="*/ 5513 h 10000"/>
                    <a:gd name="connsiteX39" fmla="*/ 877 w 9912"/>
                    <a:gd name="connsiteY39" fmla="*/ 6281 h 10000"/>
                    <a:gd name="connsiteX40" fmla="*/ 439 w 9912"/>
                    <a:gd name="connsiteY40" fmla="*/ 7050 h 10000"/>
                    <a:gd name="connsiteX41" fmla="*/ 175 w 9912"/>
                    <a:gd name="connsiteY41" fmla="*/ 7949 h 10000"/>
                    <a:gd name="connsiteX42" fmla="*/ 0 w 9912"/>
                    <a:gd name="connsiteY42" fmla="*/ 8911 h 10000"/>
                    <a:gd name="connsiteX43" fmla="*/ 0 w 9912"/>
                    <a:gd name="connsiteY43" fmla="*/ 10000 h 10000"/>
                    <a:gd name="connsiteX0" fmla="*/ 9646 w 9646"/>
                    <a:gd name="connsiteY0" fmla="*/ 7050 h 10000"/>
                    <a:gd name="connsiteX1" fmla="*/ 9293 w 9646"/>
                    <a:gd name="connsiteY1" fmla="*/ 6281 h 10000"/>
                    <a:gd name="connsiteX2" fmla="*/ 8761 w 9646"/>
                    <a:gd name="connsiteY2" fmla="*/ 5513 h 10000"/>
                    <a:gd name="connsiteX3" fmla="*/ 8053 w 9646"/>
                    <a:gd name="connsiteY3" fmla="*/ 4937 h 10000"/>
                    <a:gd name="connsiteX4" fmla="*/ 7168 w 9646"/>
                    <a:gd name="connsiteY4" fmla="*/ 4551 h 10000"/>
                    <a:gd name="connsiteX5" fmla="*/ 6195 w 9646"/>
                    <a:gd name="connsiteY5" fmla="*/ 4230 h 10000"/>
                    <a:gd name="connsiteX6" fmla="*/ 6195 w 9646"/>
                    <a:gd name="connsiteY6" fmla="*/ 4230 h 10000"/>
                    <a:gd name="connsiteX7" fmla="*/ 6726 w 9646"/>
                    <a:gd name="connsiteY7" fmla="*/ 3847 h 10000"/>
                    <a:gd name="connsiteX8" fmla="*/ 7080 w 9646"/>
                    <a:gd name="connsiteY8" fmla="*/ 3333 h 10000"/>
                    <a:gd name="connsiteX9" fmla="*/ 7346 w 9646"/>
                    <a:gd name="connsiteY9" fmla="*/ 2757 h 10000"/>
                    <a:gd name="connsiteX10" fmla="*/ 7611 w 9646"/>
                    <a:gd name="connsiteY10" fmla="*/ 2180 h 10000"/>
                    <a:gd name="connsiteX11" fmla="*/ 7611 w 9646"/>
                    <a:gd name="connsiteY11" fmla="*/ 2180 h 10000"/>
                    <a:gd name="connsiteX12" fmla="*/ 7522 w 9646"/>
                    <a:gd name="connsiteY12" fmla="*/ 1731 h 10000"/>
                    <a:gd name="connsiteX13" fmla="*/ 7346 w 9646"/>
                    <a:gd name="connsiteY13" fmla="*/ 1282 h 10000"/>
                    <a:gd name="connsiteX14" fmla="*/ 7168 w 9646"/>
                    <a:gd name="connsiteY14" fmla="*/ 898 h 10000"/>
                    <a:gd name="connsiteX15" fmla="*/ 6814 w 9646"/>
                    <a:gd name="connsiteY15" fmla="*/ 578 h 10000"/>
                    <a:gd name="connsiteX16" fmla="*/ 6461 w 9646"/>
                    <a:gd name="connsiteY16" fmla="*/ 321 h 10000"/>
                    <a:gd name="connsiteX17" fmla="*/ 6018 w 9646"/>
                    <a:gd name="connsiteY17" fmla="*/ 192 h 10000"/>
                    <a:gd name="connsiteX18" fmla="*/ 5575 w 9646"/>
                    <a:gd name="connsiteY18" fmla="*/ 0 h 10000"/>
                    <a:gd name="connsiteX19" fmla="*/ 5044 w 9646"/>
                    <a:gd name="connsiteY19" fmla="*/ 0 h 10000"/>
                    <a:gd name="connsiteX20" fmla="*/ 5044 w 9646"/>
                    <a:gd name="connsiteY20" fmla="*/ 0 h 10000"/>
                    <a:gd name="connsiteX21" fmla="*/ 4601 w 9646"/>
                    <a:gd name="connsiteY21" fmla="*/ 0 h 10000"/>
                    <a:gd name="connsiteX22" fmla="*/ 4160 w 9646"/>
                    <a:gd name="connsiteY22" fmla="*/ 192 h 10000"/>
                    <a:gd name="connsiteX23" fmla="*/ 3717 w 9646"/>
                    <a:gd name="connsiteY23" fmla="*/ 321 h 10000"/>
                    <a:gd name="connsiteX24" fmla="*/ 3275 w 9646"/>
                    <a:gd name="connsiteY24" fmla="*/ 578 h 10000"/>
                    <a:gd name="connsiteX25" fmla="*/ 3008 w 9646"/>
                    <a:gd name="connsiteY25" fmla="*/ 898 h 10000"/>
                    <a:gd name="connsiteX26" fmla="*/ 2743 w 9646"/>
                    <a:gd name="connsiteY26" fmla="*/ 1282 h 10000"/>
                    <a:gd name="connsiteX27" fmla="*/ 2567 w 9646"/>
                    <a:gd name="connsiteY27" fmla="*/ 1731 h 10000"/>
                    <a:gd name="connsiteX28" fmla="*/ 2567 w 9646"/>
                    <a:gd name="connsiteY28" fmla="*/ 2180 h 10000"/>
                    <a:gd name="connsiteX29" fmla="*/ 2567 w 9646"/>
                    <a:gd name="connsiteY29" fmla="*/ 2180 h 10000"/>
                    <a:gd name="connsiteX30" fmla="*/ 2655 w 9646"/>
                    <a:gd name="connsiteY30" fmla="*/ 2757 h 10000"/>
                    <a:gd name="connsiteX31" fmla="*/ 3008 w 9646"/>
                    <a:gd name="connsiteY31" fmla="*/ 3333 h 10000"/>
                    <a:gd name="connsiteX32" fmla="*/ 3451 w 9646"/>
                    <a:gd name="connsiteY32" fmla="*/ 3847 h 10000"/>
                    <a:gd name="connsiteX33" fmla="*/ 3894 w 9646"/>
                    <a:gd name="connsiteY33" fmla="*/ 4230 h 10000"/>
                    <a:gd name="connsiteX34" fmla="*/ 3894 w 9646"/>
                    <a:gd name="connsiteY34" fmla="*/ 4230 h 10000"/>
                    <a:gd name="connsiteX35" fmla="*/ 2921 w 9646"/>
                    <a:gd name="connsiteY35" fmla="*/ 4551 h 10000"/>
                    <a:gd name="connsiteX36" fmla="*/ 2124 w 9646"/>
                    <a:gd name="connsiteY36" fmla="*/ 4937 h 10000"/>
                    <a:gd name="connsiteX37" fmla="*/ 1416 w 9646"/>
                    <a:gd name="connsiteY37" fmla="*/ 5513 h 10000"/>
                    <a:gd name="connsiteX38" fmla="*/ 885 w 9646"/>
                    <a:gd name="connsiteY38" fmla="*/ 6281 h 10000"/>
                    <a:gd name="connsiteX39" fmla="*/ 443 w 9646"/>
                    <a:gd name="connsiteY39" fmla="*/ 7050 h 10000"/>
                    <a:gd name="connsiteX40" fmla="*/ 177 w 9646"/>
                    <a:gd name="connsiteY40" fmla="*/ 7949 h 10000"/>
                    <a:gd name="connsiteX41" fmla="*/ 0 w 9646"/>
                    <a:gd name="connsiteY41" fmla="*/ 8911 h 10000"/>
                    <a:gd name="connsiteX42" fmla="*/ 0 w 9646"/>
                    <a:gd name="connsiteY42" fmla="*/ 10000 h 10000"/>
                    <a:gd name="connsiteX0" fmla="*/ 9634 w 9634"/>
                    <a:gd name="connsiteY0" fmla="*/ 6281 h 10000"/>
                    <a:gd name="connsiteX1" fmla="*/ 9083 w 9634"/>
                    <a:gd name="connsiteY1" fmla="*/ 5513 h 10000"/>
                    <a:gd name="connsiteX2" fmla="*/ 8349 w 9634"/>
                    <a:gd name="connsiteY2" fmla="*/ 4937 h 10000"/>
                    <a:gd name="connsiteX3" fmla="*/ 7431 w 9634"/>
                    <a:gd name="connsiteY3" fmla="*/ 4551 h 10000"/>
                    <a:gd name="connsiteX4" fmla="*/ 6422 w 9634"/>
                    <a:gd name="connsiteY4" fmla="*/ 4230 h 10000"/>
                    <a:gd name="connsiteX5" fmla="*/ 6422 w 9634"/>
                    <a:gd name="connsiteY5" fmla="*/ 4230 h 10000"/>
                    <a:gd name="connsiteX6" fmla="*/ 6973 w 9634"/>
                    <a:gd name="connsiteY6" fmla="*/ 3847 h 10000"/>
                    <a:gd name="connsiteX7" fmla="*/ 7340 w 9634"/>
                    <a:gd name="connsiteY7" fmla="*/ 3333 h 10000"/>
                    <a:gd name="connsiteX8" fmla="*/ 7616 w 9634"/>
                    <a:gd name="connsiteY8" fmla="*/ 2757 h 10000"/>
                    <a:gd name="connsiteX9" fmla="*/ 7890 w 9634"/>
                    <a:gd name="connsiteY9" fmla="*/ 2180 h 10000"/>
                    <a:gd name="connsiteX10" fmla="*/ 7890 w 9634"/>
                    <a:gd name="connsiteY10" fmla="*/ 2180 h 10000"/>
                    <a:gd name="connsiteX11" fmla="*/ 7798 w 9634"/>
                    <a:gd name="connsiteY11" fmla="*/ 1731 h 10000"/>
                    <a:gd name="connsiteX12" fmla="*/ 7616 w 9634"/>
                    <a:gd name="connsiteY12" fmla="*/ 1282 h 10000"/>
                    <a:gd name="connsiteX13" fmla="*/ 7431 w 9634"/>
                    <a:gd name="connsiteY13" fmla="*/ 898 h 10000"/>
                    <a:gd name="connsiteX14" fmla="*/ 7064 w 9634"/>
                    <a:gd name="connsiteY14" fmla="*/ 578 h 10000"/>
                    <a:gd name="connsiteX15" fmla="*/ 6698 w 9634"/>
                    <a:gd name="connsiteY15" fmla="*/ 321 h 10000"/>
                    <a:gd name="connsiteX16" fmla="*/ 6239 w 9634"/>
                    <a:gd name="connsiteY16" fmla="*/ 192 h 10000"/>
                    <a:gd name="connsiteX17" fmla="*/ 5780 w 9634"/>
                    <a:gd name="connsiteY17" fmla="*/ 0 h 10000"/>
                    <a:gd name="connsiteX18" fmla="*/ 5229 w 9634"/>
                    <a:gd name="connsiteY18" fmla="*/ 0 h 10000"/>
                    <a:gd name="connsiteX19" fmla="*/ 5229 w 9634"/>
                    <a:gd name="connsiteY19" fmla="*/ 0 h 10000"/>
                    <a:gd name="connsiteX20" fmla="*/ 4770 w 9634"/>
                    <a:gd name="connsiteY20" fmla="*/ 0 h 10000"/>
                    <a:gd name="connsiteX21" fmla="*/ 4313 w 9634"/>
                    <a:gd name="connsiteY21" fmla="*/ 192 h 10000"/>
                    <a:gd name="connsiteX22" fmla="*/ 3853 w 9634"/>
                    <a:gd name="connsiteY22" fmla="*/ 321 h 10000"/>
                    <a:gd name="connsiteX23" fmla="*/ 3395 w 9634"/>
                    <a:gd name="connsiteY23" fmla="*/ 578 h 10000"/>
                    <a:gd name="connsiteX24" fmla="*/ 3118 w 9634"/>
                    <a:gd name="connsiteY24" fmla="*/ 898 h 10000"/>
                    <a:gd name="connsiteX25" fmla="*/ 2844 w 9634"/>
                    <a:gd name="connsiteY25" fmla="*/ 1282 h 10000"/>
                    <a:gd name="connsiteX26" fmla="*/ 2661 w 9634"/>
                    <a:gd name="connsiteY26" fmla="*/ 1731 h 10000"/>
                    <a:gd name="connsiteX27" fmla="*/ 2661 w 9634"/>
                    <a:gd name="connsiteY27" fmla="*/ 2180 h 10000"/>
                    <a:gd name="connsiteX28" fmla="*/ 2661 w 9634"/>
                    <a:gd name="connsiteY28" fmla="*/ 2180 h 10000"/>
                    <a:gd name="connsiteX29" fmla="*/ 2752 w 9634"/>
                    <a:gd name="connsiteY29" fmla="*/ 2757 h 10000"/>
                    <a:gd name="connsiteX30" fmla="*/ 3118 w 9634"/>
                    <a:gd name="connsiteY30" fmla="*/ 3333 h 10000"/>
                    <a:gd name="connsiteX31" fmla="*/ 3578 w 9634"/>
                    <a:gd name="connsiteY31" fmla="*/ 3847 h 10000"/>
                    <a:gd name="connsiteX32" fmla="*/ 4037 w 9634"/>
                    <a:gd name="connsiteY32" fmla="*/ 4230 h 10000"/>
                    <a:gd name="connsiteX33" fmla="*/ 4037 w 9634"/>
                    <a:gd name="connsiteY33" fmla="*/ 4230 h 10000"/>
                    <a:gd name="connsiteX34" fmla="*/ 3028 w 9634"/>
                    <a:gd name="connsiteY34" fmla="*/ 4551 h 10000"/>
                    <a:gd name="connsiteX35" fmla="*/ 2202 w 9634"/>
                    <a:gd name="connsiteY35" fmla="*/ 4937 h 10000"/>
                    <a:gd name="connsiteX36" fmla="*/ 1468 w 9634"/>
                    <a:gd name="connsiteY36" fmla="*/ 5513 h 10000"/>
                    <a:gd name="connsiteX37" fmla="*/ 917 w 9634"/>
                    <a:gd name="connsiteY37" fmla="*/ 6281 h 10000"/>
                    <a:gd name="connsiteX38" fmla="*/ 459 w 9634"/>
                    <a:gd name="connsiteY38" fmla="*/ 7050 h 10000"/>
                    <a:gd name="connsiteX39" fmla="*/ 183 w 9634"/>
                    <a:gd name="connsiteY39" fmla="*/ 7949 h 10000"/>
                    <a:gd name="connsiteX40" fmla="*/ 0 w 9634"/>
                    <a:gd name="connsiteY40" fmla="*/ 8911 h 10000"/>
                    <a:gd name="connsiteX41" fmla="*/ 0 w 9634"/>
                    <a:gd name="connsiteY41" fmla="*/ 1000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9634" h="10000">
                      <a:moveTo>
                        <a:pt x="9634" y="6281"/>
                      </a:moveTo>
                      <a:lnTo>
                        <a:pt x="9083" y="5513"/>
                      </a:lnTo>
                      <a:lnTo>
                        <a:pt x="8349" y="4937"/>
                      </a:lnTo>
                      <a:lnTo>
                        <a:pt x="7431" y="4551"/>
                      </a:lnTo>
                      <a:lnTo>
                        <a:pt x="6422" y="4230"/>
                      </a:lnTo>
                      <a:lnTo>
                        <a:pt x="6422" y="4230"/>
                      </a:lnTo>
                      <a:lnTo>
                        <a:pt x="6973" y="3847"/>
                      </a:lnTo>
                      <a:lnTo>
                        <a:pt x="7340" y="3333"/>
                      </a:lnTo>
                      <a:cubicBezTo>
                        <a:pt x="7432" y="3142"/>
                        <a:pt x="7523" y="2948"/>
                        <a:pt x="7616" y="2757"/>
                      </a:cubicBezTo>
                      <a:lnTo>
                        <a:pt x="7890" y="2180"/>
                      </a:lnTo>
                      <a:lnTo>
                        <a:pt x="7890" y="2180"/>
                      </a:lnTo>
                      <a:cubicBezTo>
                        <a:pt x="7860" y="2030"/>
                        <a:pt x="7828" y="1881"/>
                        <a:pt x="7798" y="1731"/>
                      </a:cubicBezTo>
                      <a:cubicBezTo>
                        <a:pt x="7738" y="1581"/>
                        <a:pt x="7676" y="1431"/>
                        <a:pt x="7616" y="1282"/>
                      </a:cubicBezTo>
                      <a:cubicBezTo>
                        <a:pt x="7553" y="1154"/>
                        <a:pt x="7493" y="1026"/>
                        <a:pt x="7431" y="898"/>
                      </a:cubicBezTo>
                      <a:lnTo>
                        <a:pt x="7064" y="578"/>
                      </a:lnTo>
                      <a:lnTo>
                        <a:pt x="6698" y="321"/>
                      </a:lnTo>
                      <a:lnTo>
                        <a:pt x="6239" y="192"/>
                      </a:lnTo>
                      <a:lnTo>
                        <a:pt x="5780" y="0"/>
                      </a:lnTo>
                      <a:lnTo>
                        <a:pt x="5229" y="0"/>
                      </a:lnTo>
                      <a:lnTo>
                        <a:pt x="5229" y="0"/>
                      </a:lnTo>
                      <a:lnTo>
                        <a:pt x="4770" y="0"/>
                      </a:lnTo>
                      <a:lnTo>
                        <a:pt x="4313" y="192"/>
                      </a:lnTo>
                      <a:lnTo>
                        <a:pt x="3853" y="321"/>
                      </a:lnTo>
                      <a:lnTo>
                        <a:pt x="3395" y="578"/>
                      </a:lnTo>
                      <a:lnTo>
                        <a:pt x="3118" y="898"/>
                      </a:lnTo>
                      <a:lnTo>
                        <a:pt x="2844" y="1282"/>
                      </a:lnTo>
                      <a:cubicBezTo>
                        <a:pt x="2784" y="1431"/>
                        <a:pt x="2721" y="1581"/>
                        <a:pt x="2661" y="1731"/>
                      </a:cubicBezTo>
                      <a:lnTo>
                        <a:pt x="2661" y="2180"/>
                      </a:lnTo>
                      <a:lnTo>
                        <a:pt x="2661" y="2180"/>
                      </a:lnTo>
                      <a:cubicBezTo>
                        <a:pt x="2691" y="2372"/>
                        <a:pt x="2722" y="2564"/>
                        <a:pt x="2752" y="2757"/>
                      </a:cubicBezTo>
                      <a:lnTo>
                        <a:pt x="3118" y="3333"/>
                      </a:lnTo>
                      <a:lnTo>
                        <a:pt x="3578" y="3847"/>
                      </a:lnTo>
                      <a:lnTo>
                        <a:pt x="4037" y="4230"/>
                      </a:lnTo>
                      <a:lnTo>
                        <a:pt x="4037" y="4230"/>
                      </a:lnTo>
                      <a:lnTo>
                        <a:pt x="3028" y="4551"/>
                      </a:lnTo>
                      <a:lnTo>
                        <a:pt x="2202" y="4937"/>
                      </a:lnTo>
                      <a:lnTo>
                        <a:pt x="1468" y="5513"/>
                      </a:lnTo>
                      <a:lnTo>
                        <a:pt x="917" y="6281"/>
                      </a:lnTo>
                      <a:lnTo>
                        <a:pt x="459" y="7050"/>
                      </a:lnTo>
                      <a:lnTo>
                        <a:pt x="183" y="7949"/>
                      </a:lnTo>
                      <a:lnTo>
                        <a:pt x="0" y="8911"/>
                      </a:lnTo>
                      <a:lnTo>
                        <a:pt x="0" y="10000"/>
                      </a:lnTo>
                    </a:path>
                  </a:pathLst>
                </a:custGeom>
                <a:noFill/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>
                    <a:defRPr/>
                  </a:pPr>
                  <a:endParaRPr lang="en-US" sz="1800">
                    <a:solidFill>
                      <a:srgbClr val="263147"/>
                    </a:solidFill>
                    <a:cs typeface="Arial" charset="0"/>
                  </a:endParaRPr>
                </a:p>
              </p:txBody>
            </p:sp>
            <p:cxnSp>
              <p:nvCxnSpPr>
                <p:cNvPr id="25" name="Connecteur droit 325"/>
                <p:cNvCxnSpPr/>
                <p:nvPr/>
              </p:nvCxnSpPr>
              <p:spPr>
                <a:xfrm flipV="1">
                  <a:off x="4476193" y="4957472"/>
                  <a:ext cx="87297" cy="4115"/>
                </a:xfrm>
                <a:prstGeom prst="line">
                  <a:avLst/>
                </a:prstGeom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9" name="Groupe 32"/>
            <p:cNvGrpSpPr>
              <a:grpSpLocks/>
            </p:cNvGrpSpPr>
            <p:nvPr userDrawn="1"/>
          </p:nvGrpSpPr>
          <p:grpSpPr bwMode="auto">
            <a:xfrm>
              <a:off x="8691235" y="2740981"/>
              <a:ext cx="389203" cy="362534"/>
              <a:chOff x="4999013" y="3508177"/>
              <a:chExt cx="228601" cy="217487"/>
            </a:xfrm>
          </p:grpSpPr>
          <p:sp>
            <p:nvSpPr>
              <p:cNvPr id="16" name="Freeform 213"/>
              <p:cNvSpPr>
                <a:spLocks/>
              </p:cNvSpPr>
              <p:nvPr/>
            </p:nvSpPr>
            <p:spPr bwMode="auto">
              <a:xfrm>
                <a:off x="4999361" y="3508591"/>
                <a:ext cx="85862" cy="83804"/>
              </a:xfrm>
              <a:custGeom>
                <a:avLst/>
                <a:gdLst/>
                <a:ahLst/>
                <a:cxnLst>
                  <a:cxn ang="0">
                    <a:pos x="54" y="42"/>
                  </a:cxn>
                  <a:cxn ang="0">
                    <a:pos x="54" y="42"/>
                  </a:cxn>
                  <a:cxn ang="0">
                    <a:pos x="54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2" y="53"/>
                  </a:cxn>
                  <a:cxn ang="0">
                    <a:pos x="12" y="53"/>
                  </a:cxn>
                  <a:cxn ang="0">
                    <a:pos x="7" y="53"/>
                  </a:cxn>
                  <a:cxn ang="0">
                    <a:pos x="3" y="51"/>
                  </a:cxn>
                  <a:cxn ang="0">
                    <a:pos x="0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7"/>
                  </a:cxn>
                  <a:cxn ang="0">
                    <a:pos x="3" y="3"/>
                  </a:cxn>
                  <a:cxn ang="0">
                    <a:pos x="7" y="0"/>
                  </a:cxn>
                  <a:cxn ang="0">
                    <a:pos x="12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4" y="7"/>
                  </a:cxn>
                  <a:cxn ang="0">
                    <a:pos x="54" y="12"/>
                  </a:cxn>
                  <a:cxn ang="0">
                    <a:pos x="54" y="42"/>
                  </a:cxn>
                </a:cxnLst>
                <a:rect l="0" t="0" r="r" b="b"/>
                <a:pathLst>
                  <a:path w="54" h="53">
                    <a:moveTo>
                      <a:pt x="54" y="42"/>
                    </a:moveTo>
                    <a:lnTo>
                      <a:pt x="54" y="42"/>
                    </a:lnTo>
                    <a:lnTo>
                      <a:pt x="54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2" y="53"/>
                    </a:lnTo>
                    <a:lnTo>
                      <a:pt x="12" y="53"/>
                    </a:lnTo>
                    <a:lnTo>
                      <a:pt x="7" y="53"/>
                    </a:lnTo>
                    <a:lnTo>
                      <a:pt x="3" y="51"/>
                    </a:lnTo>
                    <a:lnTo>
                      <a:pt x="0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7" y="0"/>
                    </a:lnTo>
                    <a:lnTo>
                      <a:pt x="1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4" y="7"/>
                    </a:lnTo>
                    <a:lnTo>
                      <a:pt x="54" y="12"/>
                    </a:lnTo>
                    <a:lnTo>
                      <a:pt x="54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7" name="Freeform 214"/>
              <p:cNvSpPr>
                <a:spLocks/>
              </p:cNvSpPr>
              <p:nvPr/>
            </p:nvSpPr>
            <p:spPr bwMode="auto">
              <a:xfrm>
                <a:off x="5139770" y="3508591"/>
                <a:ext cx="87881" cy="83804"/>
              </a:xfrm>
              <a:custGeom>
                <a:avLst/>
                <a:gdLst/>
                <a:ahLst/>
                <a:cxnLst>
                  <a:cxn ang="0">
                    <a:pos x="55" y="42"/>
                  </a:cxn>
                  <a:cxn ang="0">
                    <a:pos x="55" y="42"/>
                  </a:cxn>
                  <a:cxn ang="0">
                    <a:pos x="53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1" y="53"/>
                  </a:cxn>
                  <a:cxn ang="0">
                    <a:pos x="11" y="53"/>
                  </a:cxn>
                  <a:cxn ang="0">
                    <a:pos x="8" y="53"/>
                  </a:cxn>
                  <a:cxn ang="0">
                    <a:pos x="4" y="51"/>
                  </a:cxn>
                  <a:cxn ang="0">
                    <a:pos x="1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4" y="3"/>
                  </a:cxn>
                  <a:cxn ang="0">
                    <a:pos x="8" y="0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3" y="7"/>
                  </a:cxn>
                  <a:cxn ang="0">
                    <a:pos x="55" y="12"/>
                  </a:cxn>
                  <a:cxn ang="0">
                    <a:pos x="55" y="42"/>
                  </a:cxn>
                </a:cxnLst>
                <a:rect l="0" t="0" r="r" b="b"/>
                <a:pathLst>
                  <a:path w="55" h="53">
                    <a:moveTo>
                      <a:pt x="55" y="42"/>
                    </a:moveTo>
                    <a:lnTo>
                      <a:pt x="55" y="42"/>
                    </a:lnTo>
                    <a:lnTo>
                      <a:pt x="53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1" y="53"/>
                    </a:lnTo>
                    <a:lnTo>
                      <a:pt x="11" y="53"/>
                    </a:lnTo>
                    <a:lnTo>
                      <a:pt x="8" y="53"/>
                    </a:lnTo>
                    <a:lnTo>
                      <a:pt x="4" y="51"/>
                    </a:lnTo>
                    <a:lnTo>
                      <a:pt x="1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4" y="3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3" y="7"/>
                    </a:lnTo>
                    <a:lnTo>
                      <a:pt x="55" y="12"/>
                    </a:lnTo>
                    <a:lnTo>
                      <a:pt x="55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8" name="Freeform 215"/>
              <p:cNvSpPr>
                <a:spLocks/>
              </p:cNvSpPr>
              <p:nvPr/>
            </p:nvSpPr>
            <p:spPr bwMode="auto">
              <a:xfrm>
                <a:off x="5071081" y="3640011"/>
                <a:ext cx="84851" cy="85709"/>
              </a:xfrm>
              <a:custGeom>
                <a:avLst/>
                <a:gdLst/>
                <a:ahLst/>
                <a:cxnLst>
                  <a:cxn ang="0">
                    <a:pos x="36" y="54"/>
                  </a:cxn>
                  <a:cxn ang="0">
                    <a:pos x="29" y="54"/>
                  </a:cxn>
                  <a:cxn ang="0">
                    <a:pos x="11" y="54"/>
                  </a:cxn>
                  <a:cxn ang="0">
                    <a:pos x="11" y="54"/>
                  </a:cxn>
                  <a:cxn ang="0">
                    <a:pos x="7" y="53"/>
                  </a:cxn>
                  <a:cxn ang="0">
                    <a:pos x="3" y="50"/>
                  </a:cxn>
                  <a:cxn ang="0">
                    <a:pos x="1" y="46"/>
                  </a:cxn>
                  <a:cxn ang="0">
                    <a:pos x="0" y="43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3" y="3"/>
                  </a:cxn>
                  <a:cxn ang="0">
                    <a:pos x="7" y="1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1"/>
                  </a:cxn>
                  <a:cxn ang="0">
                    <a:pos x="50" y="3"/>
                  </a:cxn>
                  <a:cxn ang="0">
                    <a:pos x="53" y="7"/>
                  </a:cxn>
                  <a:cxn ang="0">
                    <a:pos x="54" y="12"/>
                  </a:cxn>
                  <a:cxn ang="0">
                    <a:pos x="54" y="43"/>
                  </a:cxn>
                </a:cxnLst>
                <a:rect l="0" t="0" r="r" b="b"/>
                <a:pathLst>
                  <a:path w="54" h="54">
                    <a:moveTo>
                      <a:pt x="36" y="54"/>
                    </a:moveTo>
                    <a:lnTo>
                      <a:pt x="29" y="54"/>
                    </a:lnTo>
                    <a:lnTo>
                      <a:pt x="11" y="54"/>
                    </a:lnTo>
                    <a:lnTo>
                      <a:pt x="11" y="54"/>
                    </a:lnTo>
                    <a:lnTo>
                      <a:pt x="7" y="53"/>
                    </a:lnTo>
                    <a:lnTo>
                      <a:pt x="3" y="50"/>
                    </a:lnTo>
                    <a:lnTo>
                      <a:pt x="1" y="46"/>
                    </a:lnTo>
                    <a:lnTo>
                      <a:pt x="0" y="43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3" y="3"/>
                    </a:lnTo>
                    <a:lnTo>
                      <a:pt x="7" y="1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1"/>
                    </a:lnTo>
                    <a:lnTo>
                      <a:pt x="50" y="3"/>
                    </a:lnTo>
                    <a:lnTo>
                      <a:pt x="53" y="7"/>
                    </a:lnTo>
                    <a:lnTo>
                      <a:pt x="54" y="12"/>
                    </a:lnTo>
                    <a:lnTo>
                      <a:pt x="54" y="43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9" name="Freeform 216"/>
              <p:cNvSpPr>
                <a:spLocks/>
              </p:cNvSpPr>
              <p:nvPr/>
            </p:nvSpPr>
            <p:spPr bwMode="auto">
              <a:xfrm>
                <a:off x="5037746" y="3596204"/>
                <a:ext cx="148490" cy="17142"/>
              </a:xfrm>
              <a:custGeom>
                <a:avLst/>
                <a:gdLst/>
                <a:ahLst/>
                <a:cxnLst>
                  <a:cxn ang="0">
                    <a:pos x="94" y="0"/>
                  </a:cxn>
                  <a:cxn ang="0">
                    <a:pos x="94" y="0"/>
                  </a:cxn>
                  <a:cxn ang="0">
                    <a:pos x="94" y="5"/>
                  </a:cxn>
                  <a:cxn ang="0">
                    <a:pos x="92" y="9"/>
                  </a:cxn>
                  <a:cxn ang="0">
                    <a:pos x="88" y="10"/>
                  </a:cxn>
                  <a:cxn ang="0">
                    <a:pos x="83" y="11"/>
                  </a:cxn>
                  <a:cxn ang="0">
                    <a:pos x="47" y="11"/>
                  </a:cxn>
                  <a:cxn ang="0">
                    <a:pos x="12" y="11"/>
                  </a:cxn>
                  <a:cxn ang="0">
                    <a:pos x="12" y="11"/>
                  </a:cxn>
                  <a:cxn ang="0">
                    <a:pos x="8" y="10"/>
                  </a:cxn>
                  <a:cxn ang="0">
                    <a:pos x="4" y="9"/>
                  </a:cxn>
                  <a:cxn ang="0">
                    <a:pos x="2" y="5"/>
                  </a:cxn>
                  <a:cxn ang="0">
                    <a:pos x="0" y="0"/>
                  </a:cxn>
                </a:cxnLst>
                <a:rect l="0" t="0" r="r" b="b"/>
                <a:pathLst>
                  <a:path w="94" h="11">
                    <a:moveTo>
                      <a:pt x="94" y="0"/>
                    </a:moveTo>
                    <a:lnTo>
                      <a:pt x="94" y="0"/>
                    </a:lnTo>
                    <a:lnTo>
                      <a:pt x="94" y="5"/>
                    </a:lnTo>
                    <a:lnTo>
                      <a:pt x="92" y="9"/>
                    </a:lnTo>
                    <a:lnTo>
                      <a:pt x="88" y="10"/>
                    </a:lnTo>
                    <a:lnTo>
                      <a:pt x="83" y="11"/>
                    </a:lnTo>
                    <a:lnTo>
                      <a:pt x="47" y="11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8" y="10"/>
                    </a:lnTo>
                    <a:lnTo>
                      <a:pt x="4" y="9"/>
                    </a:lnTo>
                    <a:lnTo>
                      <a:pt x="2" y="5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0" name="Line 217"/>
              <p:cNvSpPr>
                <a:spLocks noChangeShapeType="1"/>
              </p:cNvSpPr>
              <p:nvPr/>
            </p:nvSpPr>
            <p:spPr bwMode="auto">
              <a:xfrm flipV="1">
                <a:off x="5112496" y="3613346"/>
                <a:ext cx="2020" cy="26665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10" name="Groupe 281"/>
            <p:cNvGrpSpPr>
              <a:grpSpLocks/>
            </p:cNvGrpSpPr>
            <p:nvPr userDrawn="1"/>
          </p:nvGrpSpPr>
          <p:grpSpPr bwMode="auto">
            <a:xfrm>
              <a:off x="5543115" y="3570780"/>
              <a:ext cx="562532" cy="335672"/>
              <a:chOff x="3909988" y="7116564"/>
              <a:chExt cx="268288" cy="163512"/>
            </a:xfrm>
          </p:grpSpPr>
          <p:sp>
            <p:nvSpPr>
              <p:cNvPr id="12" name="Line 326"/>
              <p:cNvSpPr>
                <a:spLocks noChangeShapeType="1"/>
              </p:cNvSpPr>
              <p:nvPr/>
            </p:nvSpPr>
            <p:spPr bwMode="auto">
              <a:xfrm>
                <a:off x="3909880" y="7120976"/>
                <a:ext cx="1640" cy="1577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3" name="Line 327"/>
              <p:cNvSpPr>
                <a:spLocks noChangeShapeType="1"/>
              </p:cNvSpPr>
              <p:nvPr/>
            </p:nvSpPr>
            <p:spPr bwMode="auto">
              <a:xfrm>
                <a:off x="3911520" y="7278723"/>
                <a:ext cx="266571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4" name="Freeform 328"/>
              <p:cNvSpPr>
                <a:spLocks/>
              </p:cNvSpPr>
              <p:nvPr/>
            </p:nvSpPr>
            <p:spPr bwMode="auto">
              <a:xfrm>
                <a:off x="3936127" y="7143401"/>
                <a:ext cx="179628" cy="115991"/>
              </a:xfrm>
              <a:custGeom>
                <a:avLst/>
                <a:gdLst/>
                <a:ahLst/>
                <a:cxnLst>
                  <a:cxn ang="0">
                    <a:pos x="0" y="73"/>
                  </a:cxn>
                  <a:cxn ang="0">
                    <a:pos x="34" y="39"/>
                  </a:cxn>
                  <a:cxn ang="0">
                    <a:pos x="55" y="59"/>
                  </a:cxn>
                  <a:cxn ang="0">
                    <a:pos x="114" y="0"/>
                  </a:cxn>
                </a:cxnLst>
                <a:rect l="0" t="0" r="r" b="b"/>
                <a:pathLst>
                  <a:path w="114" h="73">
                    <a:moveTo>
                      <a:pt x="0" y="73"/>
                    </a:moveTo>
                    <a:lnTo>
                      <a:pt x="34" y="39"/>
                    </a:lnTo>
                    <a:lnTo>
                      <a:pt x="55" y="59"/>
                    </a:lnTo>
                    <a:lnTo>
                      <a:pt x="114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5" name="Freeform 329"/>
              <p:cNvSpPr>
                <a:spLocks/>
              </p:cNvSpPr>
              <p:nvPr/>
            </p:nvSpPr>
            <p:spPr bwMode="auto">
              <a:xfrm>
                <a:off x="4087867" y="7116337"/>
                <a:ext cx="50854" cy="556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2" y="0"/>
                  </a:cxn>
                  <a:cxn ang="0">
                    <a:pos x="32" y="35"/>
                  </a:cxn>
                </a:cxnLst>
                <a:rect l="0" t="0" r="r" b="b"/>
                <a:pathLst>
                  <a:path w="32" h="35">
                    <a:moveTo>
                      <a:pt x="0" y="0"/>
                    </a:moveTo>
                    <a:lnTo>
                      <a:pt x="32" y="0"/>
                    </a:lnTo>
                    <a:lnTo>
                      <a:pt x="32" y="3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sp>
          <p:nvSpPr>
            <p:cNvPr id="11" name="Freeform 72"/>
            <p:cNvSpPr>
              <a:spLocks/>
            </p:cNvSpPr>
            <p:nvPr userDrawn="1"/>
          </p:nvSpPr>
          <p:spPr bwMode="auto">
            <a:xfrm>
              <a:off x="2579688" y="3656035"/>
              <a:ext cx="581290" cy="349236"/>
            </a:xfrm>
            <a:custGeom>
              <a:avLst/>
              <a:gdLst/>
              <a:ahLst/>
              <a:cxnLst>
                <a:cxn ang="0">
                  <a:pos x="180" y="132"/>
                </a:cxn>
                <a:cxn ang="0">
                  <a:pos x="193" y="129"/>
                </a:cxn>
                <a:cxn ang="0">
                  <a:pos x="204" y="121"/>
                </a:cxn>
                <a:cxn ang="0">
                  <a:pos x="212" y="110"/>
                </a:cxn>
                <a:cxn ang="0">
                  <a:pos x="215" y="97"/>
                </a:cxn>
                <a:cxn ang="0">
                  <a:pos x="215" y="90"/>
                </a:cxn>
                <a:cxn ang="0">
                  <a:pos x="208" y="77"/>
                </a:cxn>
                <a:cxn ang="0">
                  <a:pos x="199" y="68"/>
                </a:cxn>
                <a:cxn ang="0">
                  <a:pos x="187" y="63"/>
                </a:cxn>
                <a:cxn ang="0">
                  <a:pos x="180" y="62"/>
                </a:cxn>
                <a:cxn ang="0">
                  <a:pos x="179" y="62"/>
                </a:cxn>
                <a:cxn ang="0">
                  <a:pos x="179" y="61"/>
                </a:cxn>
                <a:cxn ang="0">
                  <a:pos x="174" y="36"/>
                </a:cxn>
                <a:cxn ang="0">
                  <a:pos x="161" y="17"/>
                </a:cxn>
                <a:cxn ang="0">
                  <a:pos x="142" y="5"/>
                </a:cxn>
                <a:cxn ang="0">
                  <a:pos x="120" y="0"/>
                </a:cxn>
                <a:cxn ang="0">
                  <a:pos x="109" y="1"/>
                </a:cxn>
                <a:cxn ang="0">
                  <a:pos x="92" y="6"/>
                </a:cxn>
                <a:cxn ang="0">
                  <a:pos x="78" y="17"/>
                </a:cxn>
                <a:cxn ang="0">
                  <a:pos x="66" y="31"/>
                </a:cxn>
                <a:cxn ang="0">
                  <a:pos x="62" y="39"/>
                </a:cxn>
                <a:cxn ang="0">
                  <a:pos x="47" y="36"/>
                </a:cxn>
                <a:cxn ang="0">
                  <a:pos x="38" y="38"/>
                </a:cxn>
                <a:cxn ang="0">
                  <a:pos x="21" y="45"/>
                </a:cxn>
                <a:cxn ang="0">
                  <a:pos x="8" y="58"/>
                </a:cxn>
                <a:cxn ang="0">
                  <a:pos x="2" y="75"/>
                </a:cxn>
                <a:cxn ang="0">
                  <a:pos x="0" y="85"/>
                </a:cxn>
                <a:cxn ang="0">
                  <a:pos x="4" y="102"/>
                </a:cxn>
                <a:cxn ang="0">
                  <a:pos x="14" y="118"/>
                </a:cxn>
                <a:cxn ang="0">
                  <a:pos x="30" y="128"/>
                </a:cxn>
                <a:cxn ang="0">
                  <a:pos x="47" y="132"/>
                </a:cxn>
                <a:cxn ang="0">
                  <a:pos x="147" y="132"/>
                </a:cxn>
              </a:cxnLst>
              <a:rect l="0" t="0" r="r" b="b"/>
              <a:pathLst>
                <a:path w="215" h="132">
                  <a:moveTo>
                    <a:pt x="180" y="132"/>
                  </a:moveTo>
                  <a:lnTo>
                    <a:pt x="180" y="132"/>
                  </a:lnTo>
                  <a:lnTo>
                    <a:pt x="187" y="132"/>
                  </a:lnTo>
                  <a:lnTo>
                    <a:pt x="193" y="129"/>
                  </a:lnTo>
                  <a:lnTo>
                    <a:pt x="199" y="125"/>
                  </a:lnTo>
                  <a:lnTo>
                    <a:pt x="204" y="121"/>
                  </a:lnTo>
                  <a:lnTo>
                    <a:pt x="208" y="116"/>
                  </a:lnTo>
                  <a:lnTo>
                    <a:pt x="212" y="110"/>
                  </a:lnTo>
                  <a:lnTo>
                    <a:pt x="215" y="104"/>
                  </a:lnTo>
                  <a:lnTo>
                    <a:pt x="215" y="97"/>
                  </a:lnTo>
                  <a:lnTo>
                    <a:pt x="215" y="97"/>
                  </a:lnTo>
                  <a:lnTo>
                    <a:pt x="215" y="90"/>
                  </a:lnTo>
                  <a:lnTo>
                    <a:pt x="212" y="83"/>
                  </a:lnTo>
                  <a:lnTo>
                    <a:pt x="208" y="77"/>
                  </a:lnTo>
                  <a:lnTo>
                    <a:pt x="204" y="72"/>
                  </a:lnTo>
                  <a:lnTo>
                    <a:pt x="199" y="68"/>
                  </a:lnTo>
                  <a:lnTo>
                    <a:pt x="193" y="64"/>
                  </a:lnTo>
                  <a:lnTo>
                    <a:pt x="187" y="63"/>
                  </a:lnTo>
                  <a:lnTo>
                    <a:pt x="180" y="62"/>
                  </a:lnTo>
                  <a:lnTo>
                    <a:pt x="180" y="62"/>
                  </a:lnTo>
                  <a:lnTo>
                    <a:pt x="179" y="62"/>
                  </a:lnTo>
                  <a:lnTo>
                    <a:pt x="179" y="62"/>
                  </a:lnTo>
                  <a:lnTo>
                    <a:pt x="179" y="61"/>
                  </a:lnTo>
                  <a:lnTo>
                    <a:pt x="179" y="61"/>
                  </a:lnTo>
                  <a:lnTo>
                    <a:pt x="178" y="48"/>
                  </a:lnTo>
                  <a:lnTo>
                    <a:pt x="174" y="36"/>
                  </a:lnTo>
                  <a:lnTo>
                    <a:pt x="169" y="26"/>
                  </a:lnTo>
                  <a:lnTo>
                    <a:pt x="161" y="17"/>
                  </a:lnTo>
                  <a:lnTo>
                    <a:pt x="152" y="10"/>
                  </a:lnTo>
                  <a:lnTo>
                    <a:pt x="142" y="5"/>
                  </a:lnTo>
                  <a:lnTo>
                    <a:pt x="131" y="1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09" y="1"/>
                  </a:lnTo>
                  <a:lnTo>
                    <a:pt x="101" y="2"/>
                  </a:lnTo>
                  <a:lnTo>
                    <a:pt x="92" y="6"/>
                  </a:lnTo>
                  <a:lnTo>
                    <a:pt x="84" y="11"/>
                  </a:lnTo>
                  <a:lnTo>
                    <a:pt x="78" y="17"/>
                  </a:lnTo>
                  <a:lnTo>
                    <a:pt x="71" y="24"/>
                  </a:lnTo>
                  <a:lnTo>
                    <a:pt x="66" y="31"/>
                  </a:lnTo>
                  <a:lnTo>
                    <a:pt x="62" y="39"/>
                  </a:lnTo>
                  <a:lnTo>
                    <a:pt x="62" y="39"/>
                  </a:lnTo>
                  <a:lnTo>
                    <a:pt x="55" y="38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38" y="38"/>
                  </a:lnTo>
                  <a:lnTo>
                    <a:pt x="30" y="40"/>
                  </a:lnTo>
                  <a:lnTo>
                    <a:pt x="21" y="45"/>
                  </a:lnTo>
                  <a:lnTo>
                    <a:pt x="14" y="50"/>
                  </a:lnTo>
                  <a:lnTo>
                    <a:pt x="8" y="58"/>
                  </a:lnTo>
                  <a:lnTo>
                    <a:pt x="4" y="66"/>
                  </a:lnTo>
                  <a:lnTo>
                    <a:pt x="2" y="7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2" y="94"/>
                  </a:lnTo>
                  <a:lnTo>
                    <a:pt x="4" y="102"/>
                  </a:lnTo>
                  <a:lnTo>
                    <a:pt x="8" y="111"/>
                  </a:lnTo>
                  <a:lnTo>
                    <a:pt x="14" y="118"/>
                  </a:lnTo>
                  <a:lnTo>
                    <a:pt x="21" y="124"/>
                  </a:lnTo>
                  <a:lnTo>
                    <a:pt x="30" y="128"/>
                  </a:lnTo>
                  <a:lnTo>
                    <a:pt x="38" y="130"/>
                  </a:lnTo>
                  <a:lnTo>
                    <a:pt x="47" y="132"/>
                  </a:lnTo>
                  <a:lnTo>
                    <a:pt x="47" y="132"/>
                  </a:lnTo>
                  <a:lnTo>
                    <a:pt x="147" y="132"/>
                  </a:lnTo>
                </a:path>
              </a:pathLst>
            </a:custGeom>
            <a:noFill/>
            <a:ln w="1905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lIns="83969" tIns="41985" rIns="83969" bIns="41985"/>
            <a:lstStyle/>
            <a:p>
              <a:pPr defTabSz="914400">
                <a:defRPr/>
              </a:pPr>
              <a:endParaRPr lang="en-US" sz="1800">
                <a:solidFill>
                  <a:srgbClr val="263147"/>
                </a:solidFill>
                <a:cs typeface="Arial" charset="0"/>
              </a:endParaRPr>
            </a:p>
          </p:txBody>
        </p:sp>
      </p:grpSp>
      <p:graphicFrame>
        <p:nvGraphicFramePr>
          <p:cNvPr id="42" name="Object 2" hidden="1"/>
          <p:cNvGraphicFramePr>
            <a:graphicFrameLocks noChangeAspect="1"/>
          </p:cNvGraphicFramePr>
          <p:nvPr/>
        </p:nvGraphicFramePr>
        <p:xfrm>
          <a:off x="0" y="0"/>
          <a:ext cx="158222" cy="158750"/>
        </p:xfrm>
        <a:graphic>
          <a:graphicData uri="http://schemas.openxmlformats.org/presentationml/2006/ole">
            <p:oleObj spid="_x0000_s649219" name="think-cell Slide" r:id="rId6" imgW="360" imgH="360" progId="">
              <p:embed/>
            </p:oleObj>
          </a:graphicData>
        </a:graphic>
      </p:graphicFrame>
      <p:sp>
        <p:nvSpPr>
          <p:cNvPr id="43" name="Rectangle 7"/>
          <p:cNvSpPr/>
          <p:nvPr>
            <p:custDataLst>
              <p:tags r:id="rId2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xmlns="" val="4143894643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6679" name="Picture 7" descr="Isis-Mobile-Wallet"/>
          <p:cNvPicPr>
            <a:picLocks noChangeAspect="1" noChangeArrowheads="1"/>
          </p:cNvPicPr>
          <p:nvPr userDrawn="1"/>
        </p:nvPicPr>
        <p:blipFill>
          <a:blip r:embed="rId4" cstate="print"/>
          <a:srcRect r="27500"/>
          <a:stretch>
            <a:fillRect/>
          </a:stretch>
        </p:blipFill>
        <p:spPr bwMode="auto">
          <a:xfrm>
            <a:off x="0" y="0"/>
            <a:ext cx="9906000" cy="49530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222" cy="158750"/>
        </p:xfrm>
        <a:graphic>
          <a:graphicData uri="http://schemas.openxmlformats.org/presentationml/2006/ole">
            <p:oleObj spid="_x0000_s650242" name="think-cell Slide" r:id="rId5" imgW="360" imgH="360" progId="">
              <p:embed/>
            </p:oleObj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/>
        </p:nvGraphicFramePr>
        <p:xfrm>
          <a:off x="0" y="0"/>
          <a:ext cx="158222" cy="158750"/>
        </p:xfrm>
        <a:graphic>
          <a:graphicData uri="http://schemas.openxmlformats.org/presentationml/2006/ole">
            <p:oleObj spid="_x0000_s650243" name="think-cell Slide" r:id="rId6" imgW="360" imgH="360" progId="">
              <p:embed/>
            </p:oleObj>
          </a:graphicData>
        </a:graphic>
      </p:graphicFrame>
      <p:sp>
        <p:nvSpPr>
          <p:cNvPr id="43" name="Rectangle 7"/>
          <p:cNvSpPr/>
          <p:nvPr>
            <p:custDataLst>
              <p:tags r:id="rId2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xmlns="" val="4143894643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54338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55362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56386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ity (5).jpg"/>
          <p:cNvPicPr>
            <a:picLocks noChangeAspect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pic>
        <p:nvPicPr>
          <p:cNvPr id="7" name="Picture 6" descr="Body_Content Slide_PPT Template_White.png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495673" y="283"/>
            <a:ext cx="8914663" cy="6857434"/>
          </a:xfrm>
          <a:prstGeom prst="rect">
            <a:avLst/>
          </a:prstGeom>
        </p:spPr>
      </p:pic>
      <p:pic>
        <p:nvPicPr>
          <p:cNvPr id="35" name="Picture 34" descr="capgemini logo.png"/>
          <p:cNvPicPr>
            <a:picLocks noChangeAspect="1"/>
          </p:cNvPicPr>
          <p:nvPr userDrawn="1"/>
        </p:nvPicPr>
        <p:blipFill>
          <a:blip r:embed="rId4" cstate="screen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pic>
        <p:nvPicPr>
          <p:cNvPr id="17" name="Picture 16" descr="logo_G148B195.png"/>
          <p:cNvPicPr>
            <a:picLocks noChangeAspect="1"/>
          </p:cNvPicPr>
          <p:nvPr userDrawn="1"/>
        </p:nvPicPr>
        <p:blipFill>
          <a:blip r:embed="rId5" cstate="screen">
            <a:lum bright="100000"/>
          </a:blip>
          <a:stretch>
            <a:fillRect/>
          </a:stretch>
        </p:blipFill>
        <p:spPr>
          <a:xfrm>
            <a:off x="8547931" y="6237384"/>
            <a:ext cx="929572" cy="648000"/>
          </a:xfrm>
          <a:prstGeom prst="rect">
            <a:avLst/>
          </a:prstGeom>
        </p:spPr>
      </p:pic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1520618" y="1600201"/>
            <a:ext cx="7800867" cy="4565104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2543573" y="6545272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6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657410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658434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59458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60482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661506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65602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66626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67650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9" name="Picture 358" descr="Body Whole_Content Slide_PPT Template.png"/>
          <p:cNvPicPr preferRelativeResize="0">
            <a:picLocks/>
          </p:cNvPicPr>
          <p:nvPr userDrawn="1"/>
        </p:nvPicPr>
        <p:blipFill>
          <a:blip r:embed="rId4" cstate="screen"/>
          <a:stretch>
            <a:fillRect/>
          </a:stretch>
        </p:blipFill>
        <p:spPr>
          <a:xfrm>
            <a:off x="410" y="281"/>
            <a:ext cx="9905182" cy="6861600"/>
          </a:xfrm>
          <a:prstGeom prst="rect">
            <a:avLst/>
          </a:prstGeom>
        </p:spPr>
      </p:pic>
      <p:sp>
        <p:nvSpPr>
          <p:cNvPr id="358" name="TextBox 357"/>
          <p:cNvSpPr txBox="1"/>
          <p:nvPr userDrawn="1"/>
        </p:nvSpPr>
        <p:spPr>
          <a:xfrm>
            <a:off x="740532" y="1124745"/>
            <a:ext cx="3744416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041400"/>
            <a:r>
              <a:rPr lang="en-US" sz="3600" dirty="0" smtClean="0">
                <a:solidFill>
                  <a:prstClr val="white"/>
                </a:solidFill>
              </a:rPr>
              <a:t>About </a:t>
            </a:r>
            <a:r>
              <a:rPr lang="en-US" sz="3600" dirty="0" err="1" smtClean="0">
                <a:solidFill>
                  <a:prstClr val="white"/>
                </a:solidFill>
              </a:rPr>
              <a:t>Capgemini</a:t>
            </a:r>
            <a:endParaRPr lang="en-US" sz="3600" dirty="0" smtClean="0">
              <a:solidFill>
                <a:prstClr val="white"/>
              </a:solidFill>
            </a:endParaRPr>
          </a:p>
          <a:p>
            <a:pPr algn="just" defTabSz="1041400"/>
            <a:endParaRPr lang="en-US" sz="1800" dirty="0" smtClean="0">
              <a:solidFill>
                <a:prstClr val="white"/>
              </a:solidFill>
            </a:endParaRPr>
          </a:p>
          <a:p>
            <a:pPr defTabSz="1041400"/>
            <a:r>
              <a:rPr lang="en-US" sz="1200" dirty="0" smtClean="0">
                <a:solidFill>
                  <a:prstClr val="white"/>
                </a:solidFill>
              </a:rPr>
              <a:t>With more than 120,000 people in 40 countries, </a:t>
            </a:r>
            <a:r>
              <a:rPr lang="en-US" sz="1200" dirty="0" err="1" smtClean="0">
                <a:solidFill>
                  <a:prstClr val="white"/>
                </a:solidFill>
              </a:rPr>
              <a:t>Capgemini</a:t>
            </a:r>
            <a:r>
              <a:rPr lang="en-US" sz="1200" dirty="0" smtClean="0">
                <a:solidFill>
                  <a:prstClr val="white"/>
                </a:solidFill>
              </a:rPr>
              <a:t> is one of the world's foremost providers of consulting, technology and outsourcing services. The group reported 2011 global revenues of EUR 9.7 billion.</a:t>
            </a:r>
          </a:p>
          <a:p>
            <a:pPr defTabSz="1041400"/>
            <a:r>
              <a:rPr lang="en-US" sz="1200" dirty="0" smtClean="0">
                <a:solidFill>
                  <a:prstClr val="white"/>
                </a:solidFill>
              </a:rPr>
              <a:t>Together with its clients, </a:t>
            </a:r>
            <a:r>
              <a:rPr lang="en-US" sz="1200" dirty="0" err="1" smtClean="0">
                <a:solidFill>
                  <a:prstClr val="white"/>
                </a:solidFill>
              </a:rPr>
              <a:t>Capgemini</a:t>
            </a:r>
            <a:r>
              <a:rPr lang="en-US" sz="1200" dirty="0" smtClean="0">
                <a:solidFill>
                  <a:prstClr val="white"/>
                </a:solidFill>
              </a:rPr>
              <a:t> creates and delivers business and technology solutions that fit their needs and drive the results they want. A deeply multicultural organization, </a:t>
            </a:r>
            <a:r>
              <a:rPr lang="en-US" sz="1200" dirty="0" err="1" smtClean="0">
                <a:solidFill>
                  <a:prstClr val="white"/>
                </a:solidFill>
              </a:rPr>
              <a:t>Capgemini</a:t>
            </a:r>
            <a:r>
              <a:rPr lang="en-US" sz="1200" dirty="0" smtClean="0">
                <a:solidFill>
                  <a:prstClr val="white"/>
                </a:solidFill>
              </a:rPr>
              <a:t> has developed its own way of working, the Collaborative Business </a:t>
            </a:r>
            <a:r>
              <a:rPr lang="en-US" sz="1200" dirty="0" err="1" smtClean="0">
                <a:solidFill>
                  <a:prstClr val="white"/>
                </a:solidFill>
              </a:rPr>
              <a:t>Experience</a:t>
            </a:r>
            <a:r>
              <a:rPr lang="en-US" sz="1200" baseline="30000" dirty="0" err="1" smtClean="0">
                <a:solidFill>
                  <a:prstClr val="white"/>
                </a:solidFill>
              </a:rPr>
              <a:t>tm</a:t>
            </a:r>
            <a:r>
              <a:rPr lang="en-US" sz="1200" dirty="0" smtClean="0">
                <a:solidFill>
                  <a:prstClr val="white"/>
                </a:solidFill>
              </a:rPr>
              <a:t>, and draws on </a:t>
            </a:r>
            <a:r>
              <a:rPr lang="en-US" sz="1200" dirty="0" err="1" smtClean="0">
                <a:solidFill>
                  <a:prstClr val="white"/>
                </a:solidFill>
              </a:rPr>
              <a:t>Rightshore</a:t>
            </a:r>
            <a:r>
              <a:rPr lang="en-US" sz="1200" b="1" baseline="30000" dirty="0" smtClean="0">
                <a:solidFill>
                  <a:prstClr val="white"/>
                </a:solidFill>
              </a:rPr>
              <a:t> ®</a:t>
            </a:r>
            <a:r>
              <a:rPr lang="en-US" sz="1200" dirty="0" smtClean="0">
                <a:solidFill>
                  <a:prstClr val="white"/>
                </a:solidFill>
              </a:rPr>
              <a:t>, its worldwide delivery model.</a:t>
            </a:r>
          </a:p>
          <a:p>
            <a:pPr defTabSz="1041400"/>
            <a:endParaRPr lang="en-US" sz="1200" dirty="0" smtClean="0">
              <a:solidFill>
                <a:prstClr val="white"/>
              </a:solidFill>
            </a:endParaRPr>
          </a:p>
          <a:p>
            <a:pPr defTabSz="1041400"/>
            <a:r>
              <a:rPr lang="en-US" sz="1200" i="1" dirty="0" err="1" smtClean="0">
                <a:solidFill>
                  <a:prstClr val="white"/>
                </a:solidFill>
              </a:rPr>
              <a:t>Rightshore</a:t>
            </a:r>
            <a:r>
              <a:rPr lang="en-US" sz="1200" i="1" baseline="30000" dirty="0" smtClean="0">
                <a:solidFill>
                  <a:prstClr val="white"/>
                </a:solidFill>
              </a:rPr>
              <a:t>®</a:t>
            </a:r>
            <a:r>
              <a:rPr lang="en-US" sz="1200" i="1" dirty="0" smtClean="0">
                <a:solidFill>
                  <a:prstClr val="white"/>
                </a:solidFill>
              </a:rPr>
              <a:t> is a trademark belonging to </a:t>
            </a:r>
            <a:r>
              <a:rPr lang="en-US" sz="1200" i="1" dirty="0" err="1" smtClean="0">
                <a:solidFill>
                  <a:prstClr val="white"/>
                </a:solidFill>
              </a:rPr>
              <a:t>Capgemini</a:t>
            </a:r>
            <a:endParaRPr lang="en-US" sz="1200" b="1" noProof="1" smtClean="0">
              <a:solidFill>
                <a:prstClr val="white"/>
              </a:solidFill>
            </a:endParaRPr>
          </a:p>
        </p:txBody>
      </p:sp>
      <p:pic>
        <p:nvPicPr>
          <p:cNvPr id="361" name="Picture 360" descr="capgemini logo.png"/>
          <p:cNvPicPr>
            <a:picLocks noChangeAspect="1"/>
          </p:cNvPicPr>
          <p:nvPr userDrawn="1"/>
        </p:nvPicPr>
        <p:blipFill>
          <a:blip r:embed="rId5" cstate="screen">
            <a:lum bright="100000"/>
          </a:blip>
          <a:stretch>
            <a:fillRect/>
          </a:stretch>
        </p:blipFill>
        <p:spPr>
          <a:xfrm>
            <a:off x="350493" y="6083066"/>
            <a:ext cx="2393651" cy="514286"/>
          </a:xfrm>
          <a:prstGeom prst="rect">
            <a:avLst/>
          </a:prstGeom>
        </p:spPr>
      </p:pic>
      <p:pic>
        <p:nvPicPr>
          <p:cNvPr id="362" name="Image 7" descr="Capgemini_Slogan_RGB.png"/>
          <p:cNvPicPr>
            <a:picLocks noChangeAspect="1"/>
          </p:cNvPicPr>
          <p:nvPr userDrawn="1"/>
        </p:nvPicPr>
        <p:blipFill>
          <a:blip r:embed="rId6" cstate="screen">
            <a:lum bright="100000"/>
          </a:blip>
          <a:stretch>
            <a:fillRect/>
          </a:stretch>
        </p:blipFill>
        <p:spPr>
          <a:xfrm>
            <a:off x="6744477" y="6314262"/>
            <a:ext cx="2967052" cy="283099"/>
          </a:xfrm>
          <a:prstGeom prst="rect">
            <a:avLst/>
          </a:prstGeom>
        </p:spPr>
      </p:pic>
      <p:sp>
        <p:nvSpPr>
          <p:cNvPr id="364" name="TextBox 363"/>
          <p:cNvSpPr txBox="1"/>
          <p:nvPr userDrawn="1"/>
        </p:nvSpPr>
        <p:spPr>
          <a:xfrm>
            <a:off x="5600021" y="3513207"/>
            <a:ext cx="29643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1800" dirty="0" smtClean="0">
                <a:solidFill>
                  <a:prstClr val="white"/>
                </a:solidFill>
              </a:rPr>
              <a:t>www.capgemini.com</a:t>
            </a:r>
            <a:endParaRPr lang="en-US" sz="1800" dirty="0">
              <a:solidFill>
                <a:prstClr val="white"/>
              </a:solidFill>
            </a:endParaRPr>
          </a:p>
        </p:txBody>
      </p:sp>
      <p:grpSp>
        <p:nvGrpSpPr>
          <p:cNvPr id="2" name="Group 359"/>
          <p:cNvGrpSpPr/>
          <p:nvPr userDrawn="1"/>
        </p:nvGrpSpPr>
        <p:grpSpPr>
          <a:xfrm>
            <a:off x="5076905" y="1239269"/>
            <a:ext cx="4010554" cy="2117725"/>
            <a:chOff x="4686374" y="1412776"/>
            <a:chExt cx="3702050" cy="2117725"/>
          </a:xfrm>
        </p:grpSpPr>
        <p:grpSp>
          <p:nvGrpSpPr>
            <p:cNvPr id="3" name="Group 54"/>
            <p:cNvGrpSpPr>
              <a:grpSpLocks/>
            </p:cNvGrpSpPr>
            <p:nvPr userDrawn="1">
              <p:custDataLst>
                <p:tags r:id="rId1"/>
              </p:custDataLst>
            </p:nvPr>
          </p:nvGrpSpPr>
          <p:grpSpPr bwMode="auto">
            <a:xfrm>
              <a:off x="4686374" y="1412776"/>
              <a:ext cx="3702050" cy="2117725"/>
              <a:chOff x="-6346822" y="2366960"/>
              <a:chExt cx="5613397" cy="3281360"/>
            </a:xfrm>
            <a:solidFill>
              <a:schemeClr val="bg1"/>
            </a:solidFill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  <a:grpFill/>
            </p:grpSpPr>
            <p:sp>
              <p:nvSpPr>
                <p:cNvPr id="157" name="Freeform 5"/>
                <p:cNvSpPr>
                  <a:spLocks noEditPoints="1"/>
                </p:cNvSpPr>
                <p:nvPr/>
              </p:nvSpPr>
              <p:spPr bwMode="auto">
                <a:xfrm>
                  <a:off x="-2016" y="3070"/>
                  <a:ext cx="136" cy="2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8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9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0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2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1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2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2" name="Freeform 10"/>
                <p:cNvSpPr>
                  <a:spLocks noEditPoints="1"/>
                </p:cNvSpPr>
                <p:nvPr/>
              </p:nvSpPr>
              <p:spPr bwMode="auto">
                <a:xfrm>
                  <a:off x="-2263" y="1682"/>
                  <a:ext cx="1069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3" name="Freeform 11"/>
                <p:cNvSpPr>
                  <a:spLocks noEditPoints="1"/>
                </p:cNvSpPr>
                <p:nvPr/>
              </p:nvSpPr>
              <p:spPr bwMode="auto">
                <a:xfrm>
                  <a:off x="-3519" y="1682"/>
                  <a:ext cx="531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4" name="Freeform 12"/>
                <p:cNvSpPr>
                  <a:spLocks/>
                </p:cNvSpPr>
                <p:nvPr/>
              </p:nvSpPr>
              <p:spPr bwMode="auto">
                <a:xfrm>
                  <a:off x="-1232" y="1987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5" name="Freeform 13"/>
                <p:cNvSpPr>
                  <a:spLocks/>
                </p:cNvSpPr>
                <p:nvPr/>
              </p:nvSpPr>
              <p:spPr bwMode="auto">
                <a:xfrm>
                  <a:off x="-1116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6" name="Freeform 14"/>
                <p:cNvSpPr>
                  <a:spLocks noEditPoints="1"/>
                </p:cNvSpPr>
                <p:nvPr/>
              </p:nvSpPr>
              <p:spPr bwMode="auto">
                <a:xfrm>
                  <a:off x="-1103" y="2260"/>
                  <a:ext cx="171" cy="1016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7" name="Freeform 15"/>
                <p:cNvSpPr>
                  <a:spLocks/>
                </p:cNvSpPr>
                <p:nvPr/>
              </p:nvSpPr>
              <p:spPr bwMode="auto">
                <a:xfrm>
                  <a:off x="-981" y="3070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8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9" name="Freeform 17"/>
                <p:cNvSpPr>
                  <a:spLocks noEditPoints="1"/>
                </p:cNvSpPr>
                <p:nvPr/>
              </p:nvSpPr>
              <p:spPr bwMode="auto">
                <a:xfrm>
                  <a:off x="-1749" y="1524"/>
                  <a:ext cx="843" cy="1831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0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1" name="Freeform 19"/>
                <p:cNvSpPr>
                  <a:spLocks/>
                </p:cNvSpPr>
                <p:nvPr/>
              </p:nvSpPr>
              <p:spPr bwMode="auto">
                <a:xfrm>
                  <a:off x="-1499" y="1682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2" name="Freeform 20"/>
                <p:cNvSpPr>
                  <a:spLocks noEditPoints="1"/>
                </p:cNvSpPr>
                <p:nvPr/>
              </p:nvSpPr>
              <p:spPr bwMode="auto">
                <a:xfrm>
                  <a:off x="-2620" y="2810"/>
                  <a:ext cx="179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3" name="Freeform 21"/>
                <p:cNvSpPr>
                  <a:spLocks noEditPoints="1"/>
                </p:cNvSpPr>
                <p:nvPr/>
              </p:nvSpPr>
              <p:spPr bwMode="auto">
                <a:xfrm>
                  <a:off x="-2620" y="2810"/>
                  <a:ext cx="179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4" name="Freeform 22"/>
                <p:cNvSpPr>
                  <a:spLocks/>
                </p:cNvSpPr>
                <p:nvPr/>
              </p:nvSpPr>
              <p:spPr bwMode="auto">
                <a:xfrm>
                  <a:off x="-1032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5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6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2"/>
                  <a:ext cx="396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7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5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8" name="Freeform 26"/>
                <p:cNvSpPr>
                  <a:spLocks noEditPoints="1"/>
                </p:cNvSpPr>
                <p:nvPr/>
              </p:nvSpPr>
              <p:spPr bwMode="auto">
                <a:xfrm>
                  <a:off x="-2019" y="3355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9" name="Freeform 27"/>
                <p:cNvSpPr>
                  <a:spLocks/>
                </p:cNvSpPr>
                <p:nvPr/>
              </p:nvSpPr>
              <p:spPr bwMode="auto">
                <a:xfrm>
                  <a:off x="-912" y="3355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0" name="Freeform 28"/>
                <p:cNvSpPr>
                  <a:spLocks/>
                </p:cNvSpPr>
                <p:nvPr/>
              </p:nvSpPr>
              <p:spPr bwMode="auto">
                <a:xfrm>
                  <a:off x="-808" y="3357"/>
                  <a:ext cx="2" cy="0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1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2" name="Freeform 30"/>
                <p:cNvSpPr>
                  <a:spLocks/>
                </p:cNvSpPr>
                <p:nvPr/>
              </p:nvSpPr>
              <p:spPr bwMode="auto">
                <a:xfrm>
                  <a:off x="-1103" y="2256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3" name="Freeform 31"/>
                <p:cNvSpPr>
                  <a:spLocks/>
                </p:cNvSpPr>
                <p:nvPr/>
              </p:nvSpPr>
              <p:spPr bwMode="auto">
                <a:xfrm>
                  <a:off x="-2382" y="1987"/>
                  <a:ext cx="91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4" name="Freeform 32"/>
                <p:cNvSpPr>
                  <a:spLocks/>
                </p:cNvSpPr>
                <p:nvPr/>
              </p:nvSpPr>
              <p:spPr bwMode="auto">
                <a:xfrm>
                  <a:off x="-2369" y="2222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5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5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6" name="Freeform 34"/>
                <p:cNvSpPr>
                  <a:spLocks/>
                </p:cNvSpPr>
                <p:nvPr/>
              </p:nvSpPr>
              <p:spPr bwMode="auto">
                <a:xfrm>
                  <a:off x="-2210" y="1754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7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8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9" name="Freeform 37"/>
                <p:cNvSpPr>
                  <a:spLocks noEditPoints="1"/>
                </p:cNvSpPr>
                <p:nvPr/>
              </p:nvSpPr>
              <p:spPr bwMode="auto">
                <a:xfrm>
                  <a:off x="-2201" y="1987"/>
                  <a:ext cx="53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0" name="Freeform 38"/>
                <p:cNvSpPr>
                  <a:spLocks/>
                </p:cNvSpPr>
                <p:nvPr/>
              </p:nvSpPr>
              <p:spPr bwMode="auto">
                <a:xfrm>
                  <a:off x="-2197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1" name="Freeform 39"/>
                <p:cNvSpPr>
                  <a:spLocks noEditPoints="1"/>
                </p:cNvSpPr>
                <p:nvPr/>
              </p:nvSpPr>
              <p:spPr bwMode="auto">
                <a:xfrm>
                  <a:off x="-2222" y="2260"/>
                  <a:ext cx="85" cy="1016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2" name="Freeform 40"/>
                <p:cNvSpPr>
                  <a:spLocks/>
                </p:cNvSpPr>
                <p:nvPr/>
              </p:nvSpPr>
              <p:spPr bwMode="auto">
                <a:xfrm>
                  <a:off x="-2171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3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4" name="Freeform 42"/>
                <p:cNvSpPr>
                  <a:spLocks noEditPoints="1"/>
                </p:cNvSpPr>
                <p:nvPr/>
              </p:nvSpPr>
              <p:spPr bwMode="auto">
                <a:xfrm>
                  <a:off x="-2151" y="1522"/>
                  <a:ext cx="182" cy="1833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5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6" name="Freeform 44"/>
                <p:cNvSpPr>
                  <a:spLocks/>
                </p:cNvSpPr>
                <p:nvPr/>
              </p:nvSpPr>
              <p:spPr bwMode="auto">
                <a:xfrm>
                  <a:off x="-2210" y="2810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7" name="Freeform 45"/>
                <p:cNvSpPr>
                  <a:spLocks/>
                </p:cNvSpPr>
                <p:nvPr/>
              </p:nvSpPr>
              <p:spPr bwMode="auto">
                <a:xfrm>
                  <a:off x="-2144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8" name="Freeform 46"/>
                <p:cNvSpPr>
                  <a:spLocks/>
                </p:cNvSpPr>
                <p:nvPr/>
              </p:nvSpPr>
              <p:spPr bwMode="auto">
                <a:xfrm>
                  <a:off x="-2128" y="3357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9" name="Freeform 47"/>
                <p:cNvSpPr>
                  <a:spLocks/>
                </p:cNvSpPr>
                <p:nvPr/>
              </p:nvSpPr>
              <p:spPr bwMode="auto">
                <a:xfrm>
                  <a:off x="-2128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0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1" name="Freeform 49"/>
                <p:cNvSpPr>
                  <a:spLocks/>
                </p:cNvSpPr>
                <p:nvPr/>
              </p:nvSpPr>
              <p:spPr bwMode="auto">
                <a:xfrm>
                  <a:off x="-2201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2" name="Freeform 50"/>
                <p:cNvSpPr>
                  <a:spLocks/>
                </p:cNvSpPr>
                <p:nvPr/>
              </p:nvSpPr>
              <p:spPr bwMode="auto">
                <a:xfrm>
                  <a:off x="-2019" y="1987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3" name="Freeform 51"/>
                <p:cNvSpPr>
                  <a:spLocks/>
                </p:cNvSpPr>
                <p:nvPr/>
              </p:nvSpPr>
              <p:spPr bwMode="auto">
                <a:xfrm>
                  <a:off x="-2016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4" name="Freeform 52"/>
                <p:cNvSpPr>
                  <a:spLocks noEditPoints="1"/>
                </p:cNvSpPr>
                <p:nvPr/>
              </p:nvSpPr>
              <p:spPr bwMode="auto">
                <a:xfrm>
                  <a:off x="-2028" y="2260"/>
                  <a:ext cx="14" cy="1016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5" name="Freeform 53"/>
                <p:cNvSpPr>
                  <a:spLocks/>
                </p:cNvSpPr>
                <p:nvPr/>
              </p:nvSpPr>
              <p:spPr bwMode="auto">
                <a:xfrm>
                  <a:off x="-2022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6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7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3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8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9" name="Freeform 57"/>
                <p:cNvSpPr>
                  <a:spLocks/>
                </p:cNvSpPr>
                <p:nvPr/>
              </p:nvSpPr>
              <p:spPr bwMode="auto">
                <a:xfrm>
                  <a:off x="-2027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0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1" name="Freeform 59"/>
                <p:cNvSpPr>
                  <a:spLocks/>
                </p:cNvSpPr>
                <p:nvPr/>
              </p:nvSpPr>
              <p:spPr bwMode="auto">
                <a:xfrm>
                  <a:off x="-2027" y="3357"/>
                  <a:ext cx="8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2" name="Freeform 60"/>
                <p:cNvSpPr>
                  <a:spLocks/>
                </p:cNvSpPr>
                <p:nvPr/>
              </p:nvSpPr>
              <p:spPr bwMode="auto">
                <a:xfrm>
                  <a:off x="-2024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3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4" name="Freeform 62"/>
                <p:cNvSpPr>
                  <a:spLocks/>
                </p:cNvSpPr>
                <p:nvPr/>
              </p:nvSpPr>
              <p:spPr bwMode="auto">
                <a:xfrm>
                  <a:off x="-2019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5" name="Freeform 63"/>
                <p:cNvSpPr>
                  <a:spLocks/>
                </p:cNvSpPr>
                <p:nvPr/>
              </p:nvSpPr>
              <p:spPr bwMode="auto">
                <a:xfrm>
                  <a:off x="-1840" y="1987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6" name="Freeform 64"/>
                <p:cNvSpPr>
                  <a:spLocks/>
                </p:cNvSpPr>
                <p:nvPr/>
              </p:nvSpPr>
              <p:spPr bwMode="auto">
                <a:xfrm>
                  <a:off x="-1830" y="2222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7" name="Freeform 65"/>
                <p:cNvSpPr>
                  <a:spLocks noEditPoints="1"/>
                </p:cNvSpPr>
                <p:nvPr/>
              </p:nvSpPr>
              <p:spPr bwMode="auto">
                <a:xfrm>
                  <a:off x="-1912" y="2260"/>
                  <a:ext cx="83" cy="1016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8" name="Freeform 66"/>
                <p:cNvSpPr>
                  <a:spLocks/>
                </p:cNvSpPr>
                <p:nvPr/>
              </p:nvSpPr>
              <p:spPr bwMode="auto">
                <a:xfrm>
                  <a:off x="-1880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9" name="Freeform 67"/>
                <p:cNvSpPr>
                  <a:spLocks noEditPoints="1"/>
                </p:cNvSpPr>
                <p:nvPr/>
              </p:nvSpPr>
              <p:spPr bwMode="auto">
                <a:xfrm>
                  <a:off x="-1934" y="1522"/>
                  <a:ext cx="100" cy="1833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0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1" name="Freeform 69"/>
                <p:cNvSpPr>
                  <a:spLocks/>
                </p:cNvSpPr>
                <p:nvPr/>
              </p:nvSpPr>
              <p:spPr bwMode="auto">
                <a:xfrm>
                  <a:off x="-1868" y="1682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2" name="Freeform 70"/>
                <p:cNvSpPr>
                  <a:spLocks/>
                </p:cNvSpPr>
                <p:nvPr/>
              </p:nvSpPr>
              <p:spPr bwMode="auto">
                <a:xfrm>
                  <a:off x="-1842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3" name="Freeform 71"/>
                <p:cNvSpPr>
                  <a:spLocks/>
                </p:cNvSpPr>
                <p:nvPr/>
              </p:nvSpPr>
              <p:spPr bwMode="auto">
                <a:xfrm>
                  <a:off x="-1912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4" name="Freeform 72"/>
                <p:cNvSpPr>
                  <a:spLocks/>
                </p:cNvSpPr>
                <p:nvPr/>
              </p:nvSpPr>
              <p:spPr bwMode="auto">
                <a:xfrm>
                  <a:off x="-1946" y="3355"/>
                  <a:ext cx="17" cy="37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5" name="Freeform 73"/>
                <p:cNvSpPr>
                  <a:spLocks/>
                </p:cNvSpPr>
                <p:nvPr/>
              </p:nvSpPr>
              <p:spPr bwMode="auto">
                <a:xfrm>
                  <a:off x="-1934" y="3355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6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7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8" name="Freeform 76"/>
                <p:cNvSpPr>
                  <a:spLocks noEditPoints="1"/>
                </p:cNvSpPr>
                <p:nvPr/>
              </p:nvSpPr>
              <p:spPr bwMode="auto">
                <a:xfrm>
                  <a:off x="-1664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9" name="Freeform 77"/>
                <p:cNvSpPr>
                  <a:spLocks/>
                </p:cNvSpPr>
                <p:nvPr/>
              </p:nvSpPr>
              <p:spPr bwMode="auto">
                <a:xfrm>
                  <a:off x="-161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0" name="Freeform 78"/>
                <p:cNvSpPr>
                  <a:spLocks/>
                </p:cNvSpPr>
                <p:nvPr/>
              </p:nvSpPr>
              <p:spPr bwMode="auto">
                <a:xfrm>
                  <a:off x="-1667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1" name="Freeform 79"/>
                <p:cNvSpPr>
                  <a:spLocks/>
                </p:cNvSpPr>
                <p:nvPr/>
              </p:nvSpPr>
              <p:spPr bwMode="auto">
                <a:xfrm>
                  <a:off x="-1429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2" name="Freeform 80"/>
                <p:cNvSpPr>
                  <a:spLocks/>
                </p:cNvSpPr>
                <p:nvPr/>
              </p:nvSpPr>
              <p:spPr bwMode="auto">
                <a:xfrm>
                  <a:off x="-1458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3" name="Freeform 81"/>
                <p:cNvSpPr>
                  <a:spLocks/>
                </p:cNvSpPr>
                <p:nvPr/>
              </p:nvSpPr>
              <p:spPr bwMode="auto">
                <a:xfrm>
                  <a:off x="-1376" y="1987"/>
                  <a:ext cx="100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4" name="Freeform 82"/>
                <p:cNvSpPr>
                  <a:spLocks/>
                </p:cNvSpPr>
                <p:nvPr/>
              </p:nvSpPr>
              <p:spPr bwMode="auto">
                <a:xfrm>
                  <a:off x="-1288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5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60"/>
                  <a:ext cx="232" cy="1016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6" name="Freeform 84"/>
                <p:cNvSpPr>
                  <a:spLocks/>
                </p:cNvSpPr>
                <p:nvPr/>
              </p:nvSpPr>
              <p:spPr bwMode="auto">
                <a:xfrm>
                  <a:off x="-1120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7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8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8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6" cy="1831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9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0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2" cy="2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800" baseline="-25000">
                    <a:solidFill>
                      <a:prstClr val="black"/>
                    </a:solidFill>
                    <a:latin typeface="Calibri" pitchFamily="34" charset="0"/>
                  </a:endParaRPr>
                </a:p>
              </p:txBody>
            </p:sp>
            <p:sp>
              <p:nvSpPr>
                <p:cNvPr id="241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2" name="Freeform 90"/>
                <p:cNvSpPr>
                  <a:spLocks/>
                </p:cNvSpPr>
                <p:nvPr/>
              </p:nvSpPr>
              <p:spPr bwMode="auto">
                <a:xfrm>
                  <a:off x="-1210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3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4" name="Freeform 92"/>
                <p:cNvSpPr>
                  <a:spLocks/>
                </p:cNvSpPr>
                <p:nvPr/>
              </p:nvSpPr>
              <p:spPr bwMode="auto">
                <a:xfrm>
                  <a:off x="-1014" y="3357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5" name="Freeform 93"/>
                <p:cNvSpPr>
                  <a:spLocks/>
                </p:cNvSpPr>
                <p:nvPr/>
              </p:nvSpPr>
              <p:spPr bwMode="auto">
                <a:xfrm>
                  <a:off x="-1014" y="3355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6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7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8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9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9" name="Freeform 97"/>
                <p:cNvSpPr>
                  <a:spLocks/>
                </p:cNvSpPr>
                <p:nvPr/>
              </p:nvSpPr>
              <p:spPr bwMode="auto">
                <a:xfrm>
                  <a:off x="-107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0" name="Freeform 98"/>
                <p:cNvSpPr>
                  <a:spLocks/>
                </p:cNvSpPr>
                <p:nvPr/>
              </p:nvSpPr>
              <p:spPr bwMode="auto">
                <a:xfrm>
                  <a:off x="-1205" y="1682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1" name="Freeform 99"/>
                <p:cNvSpPr>
                  <a:spLocks/>
                </p:cNvSpPr>
                <p:nvPr/>
              </p:nvSpPr>
              <p:spPr bwMode="auto">
                <a:xfrm>
                  <a:off x="-955" y="1987"/>
                  <a:ext cx="217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2" name="Freeform 100"/>
                <p:cNvSpPr>
                  <a:spLocks/>
                </p:cNvSpPr>
                <p:nvPr/>
              </p:nvSpPr>
              <p:spPr bwMode="auto">
                <a:xfrm>
                  <a:off x="-761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3" name="Freeform 101"/>
                <p:cNvSpPr>
                  <a:spLocks noEditPoints="1"/>
                </p:cNvSpPr>
                <p:nvPr/>
              </p:nvSpPr>
              <p:spPr bwMode="auto">
                <a:xfrm>
                  <a:off x="-741" y="2260"/>
                  <a:ext cx="89" cy="1016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4" name="Freeform 102"/>
                <p:cNvSpPr>
                  <a:spLocks/>
                </p:cNvSpPr>
                <p:nvPr/>
              </p:nvSpPr>
              <p:spPr bwMode="auto">
                <a:xfrm>
                  <a:off x="-685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5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6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90" cy="1876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7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8" name="Freeform 106"/>
                <p:cNvSpPr>
                  <a:spLocks/>
                </p:cNvSpPr>
                <p:nvPr/>
              </p:nvSpPr>
              <p:spPr bwMode="auto">
                <a:xfrm>
                  <a:off x="-1297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9" name="Freeform 107"/>
                <p:cNvSpPr>
                  <a:spLocks/>
                </p:cNvSpPr>
                <p:nvPr/>
              </p:nvSpPr>
              <p:spPr bwMode="auto">
                <a:xfrm>
                  <a:off x="-656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0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1" name="Freeform 109"/>
                <p:cNvSpPr>
                  <a:spLocks/>
                </p:cNvSpPr>
                <p:nvPr/>
              </p:nvSpPr>
              <p:spPr bwMode="auto">
                <a:xfrm>
                  <a:off x="-711" y="3355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2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3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8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4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7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5" name="Freeform 113"/>
                <p:cNvSpPr>
                  <a:spLocks/>
                </p:cNvSpPr>
                <p:nvPr/>
              </p:nvSpPr>
              <p:spPr bwMode="auto">
                <a:xfrm>
                  <a:off x="-943" y="2222"/>
                  <a:ext cx="8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6" name="Freeform 114"/>
                <p:cNvSpPr>
                  <a:spLocks noEditPoints="1"/>
                </p:cNvSpPr>
                <p:nvPr/>
              </p:nvSpPr>
              <p:spPr bwMode="auto">
                <a:xfrm>
                  <a:off x="-923" y="2260"/>
                  <a:ext cx="108" cy="1016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7" name="Freeform 115"/>
                <p:cNvSpPr>
                  <a:spLocks/>
                </p:cNvSpPr>
                <p:nvPr/>
              </p:nvSpPr>
              <p:spPr bwMode="auto">
                <a:xfrm>
                  <a:off x="-835" y="3070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8" name="Freeform 116"/>
                <p:cNvSpPr>
                  <a:spLocks noEditPoints="1"/>
                </p:cNvSpPr>
                <p:nvPr/>
              </p:nvSpPr>
              <p:spPr bwMode="auto">
                <a:xfrm>
                  <a:off x="-1711" y="1524"/>
                  <a:ext cx="905" cy="1833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9" name="Freeform 117"/>
                <p:cNvSpPr>
                  <a:spLocks/>
                </p:cNvSpPr>
                <p:nvPr/>
              </p:nvSpPr>
              <p:spPr bwMode="auto">
                <a:xfrm>
                  <a:off x="-1297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0" name="Freeform 118"/>
                <p:cNvSpPr>
                  <a:spLocks/>
                </p:cNvSpPr>
                <p:nvPr/>
              </p:nvSpPr>
              <p:spPr bwMode="auto">
                <a:xfrm>
                  <a:off x="-843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1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2" name="Freeform 120"/>
                <p:cNvSpPr>
                  <a:spLocks/>
                </p:cNvSpPr>
                <p:nvPr/>
              </p:nvSpPr>
              <p:spPr bwMode="auto">
                <a:xfrm>
                  <a:off x="-809" y="3357"/>
                  <a:ext cx="2" cy="0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3" name="Freeform 121"/>
                <p:cNvSpPr>
                  <a:spLocks/>
                </p:cNvSpPr>
                <p:nvPr/>
              </p:nvSpPr>
              <p:spPr bwMode="auto">
                <a:xfrm>
                  <a:off x="-809" y="3355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4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5" name="Freeform 123"/>
                <p:cNvSpPr>
                  <a:spLocks/>
                </p:cNvSpPr>
                <p:nvPr/>
              </p:nvSpPr>
              <p:spPr bwMode="auto">
                <a:xfrm>
                  <a:off x="-923" y="2256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6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2"/>
                  <a:ext cx="106" cy="824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7" name="Freeform 125"/>
                <p:cNvSpPr>
                  <a:spLocks/>
                </p:cNvSpPr>
                <p:nvPr/>
              </p:nvSpPr>
              <p:spPr bwMode="auto">
                <a:xfrm>
                  <a:off x="-2667" y="3070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8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9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9" name="Freeform 127"/>
                <p:cNvSpPr>
                  <a:spLocks/>
                </p:cNvSpPr>
                <p:nvPr/>
              </p:nvSpPr>
              <p:spPr bwMode="auto">
                <a:xfrm>
                  <a:off x="-2623" y="2810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0" name="Freeform 128"/>
                <p:cNvSpPr>
                  <a:spLocks/>
                </p:cNvSpPr>
                <p:nvPr/>
              </p:nvSpPr>
              <p:spPr bwMode="auto">
                <a:xfrm>
                  <a:off x="-2702" y="3276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1" name="Freeform 129"/>
                <p:cNvSpPr>
                  <a:spLocks/>
                </p:cNvSpPr>
                <p:nvPr/>
              </p:nvSpPr>
              <p:spPr bwMode="auto">
                <a:xfrm>
                  <a:off x="-2718" y="3355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2" name="Freeform 130"/>
                <p:cNvSpPr>
                  <a:spLocks/>
                </p:cNvSpPr>
                <p:nvPr/>
              </p:nvSpPr>
              <p:spPr bwMode="auto">
                <a:xfrm>
                  <a:off x="-260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3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7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4" name="Freeform 132"/>
                <p:cNvSpPr>
                  <a:spLocks/>
                </p:cNvSpPr>
                <p:nvPr/>
              </p:nvSpPr>
              <p:spPr bwMode="auto">
                <a:xfrm>
                  <a:off x="-3760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5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6" name="Freeform 134"/>
                <p:cNvSpPr>
                  <a:spLocks/>
                </p:cNvSpPr>
                <p:nvPr/>
              </p:nvSpPr>
              <p:spPr bwMode="auto">
                <a:xfrm>
                  <a:off x="-3566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7" name="Freeform 135"/>
                <p:cNvSpPr>
                  <a:spLocks/>
                </p:cNvSpPr>
                <p:nvPr/>
              </p:nvSpPr>
              <p:spPr bwMode="auto">
                <a:xfrm>
                  <a:off x="-3513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8" name="Freeform 136"/>
                <p:cNvSpPr>
                  <a:spLocks noEditPoints="1"/>
                </p:cNvSpPr>
                <p:nvPr/>
              </p:nvSpPr>
              <p:spPr bwMode="auto">
                <a:xfrm>
                  <a:off x="-3801" y="2260"/>
                  <a:ext cx="36" cy="1016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9" name="Freeform 137"/>
                <p:cNvSpPr>
                  <a:spLocks/>
                </p:cNvSpPr>
                <p:nvPr/>
              </p:nvSpPr>
              <p:spPr bwMode="auto">
                <a:xfrm>
                  <a:off x="-3795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0" name="Freeform 138"/>
                <p:cNvSpPr>
                  <a:spLocks/>
                </p:cNvSpPr>
                <p:nvPr/>
              </p:nvSpPr>
              <p:spPr bwMode="auto">
                <a:xfrm>
                  <a:off x="-3798" y="2861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1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5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2" name="Freeform 140"/>
                <p:cNvSpPr>
                  <a:spLocks/>
                </p:cNvSpPr>
                <p:nvPr/>
              </p:nvSpPr>
              <p:spPr bwMode="auto">
                <a:xfrm>
                  <a:off x="-3798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3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4" name="Freeform 142"/>
                <p:cNvSpPr>
                  <a:spLocks/>
                </p:cNvSpPr>
                <p:nvPr/>
              </p:nvSpPr>
              <p:spPr bwMode="auto">
                <a:xfrm>
                  <a:off x="-3790" y="3352"/>
                  <a:ext cx="5" cy="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5" name="Freeform 143"/>
                <p:cNvSpPr>
                  <a:spLocks/>
                </p:cNvSpPr>
                <p:nvPr/>
              </p:nvSpPr>
              <p:spPr bwMode="auto">
                <a:xfrm>
                  <a:off x="-3801" y="2498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6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7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7"/>
                  <a:ext cx="168" cy="1289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8" name="Freeform 146"/>
                <p:cNvSpPr>
                  <a:spLocks/>
                </p:cNvSpPr>
                <p:nvPr/>
              </p:nvSpPr>
              <p:spPr bwMode="auto">
                <a:xfrm>
                  <a:off x="-3642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9" name="Freeform 147"/>
                <p:cNvSpPr>
                  <a:spLocks/>
                </p:cNvSpPr>
                <p:nvPr/>
              </p:nvSpPr>
              <p:spPr bwMode="auto">
                <a:xfrm>
                  <a:off x="-3607" y="2861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0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1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2" name="Freeform 150"/>
                <p:cNvSpPr>
                  <a:spLocks/>
                </p:cNvSpPr>
                <p:nvPr/>
              </p:nvSpPr>
              <p:spPr bwMode="auto">
                <a:xfrm>
                  <a:off x="-3608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3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4" name="Freeform 152"/>
                <p:cNvSpPr>
                  <a:spLocks/>
                </p:cNvSpPr>
                <p:nvPr/>
              </p:nvSpPr>
              <p:spPr bwMode="auto">
                <a:xfrm>
                  <a:off x="-3689" y="3352"/>
                  <a:ext cx="5" cy="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5" name="Freeform 153"/>
                <p:cNvSpPr>
                  <a:spLocks/>
                </p:cNvSpPr>
                <p:nvPr/>
              </p:nvSpPr>
              <p:spPr bwMode="auto">
                <a:xfrm>
                  <a:off x="-3607" y="2498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6" name="Freeform 154"/>
                <p:cNvSpPr>
                  <a:spLocks/>
                </p:cNvSpPr>
                <p:nvPr/>
              </p:nvSpPr>
              <p:spPr bwMode="auto">
                <a:xfrm>
                  <a:off x="-358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7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7"/>
                  <a:ext cx="44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8" name="Freeform 156"/>
                <p:cNvSpPr>
                  <a:spLocks/>
                </p:cNvSpPr>
                <p:nvPr/>
              </p:nvSpPr>
              <p:spPr bwMode="auto">
                <a:xfrm>
                  <a:off x="-3393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9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8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0" name="Freeform 158"/>
                <p:cNvSpPr>
                  <a:spLocks/>
                </p:cNvSpPr>
                <p:nvPr/>
              </p:nvSpPr>
              <p:spPr bwMode="auto">
                <a:xfrm>
                  <a:off x="-3334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1" name="Freeform 159"/>
                <p:cNvSpPr>
                  <a:spLocks/>
                </p:cNvSpPr>
                <p:nvPr/>
              </p:nvSpPr>
              <p:spPr bwMode="auto">
                <a:xfrm>
                  <a:off x="-3314" y="1682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2" name="Freeform 160"/>
                <p:cNvSpPr>
                  <a:spLocks noEditPoints="1"/>
                </p:cNvSpPr>
                <p:nvPr/>
              </p:nvSpPr>
              <p:spPr bwMode="auto">
                <a:xfrm>
                  <a:off x="-3557" y="2260"/>
                  <a:ext cx="167" cy="1016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3" name="Freeform 161"/>
                <p:cNvSpPr>
                  <a:spLocks/>
                </p:cNvSpPr>
                <p:nvPr/>
              </p:nvSpPr>
              <p:spPr bwMode="auto">
                <a:xfrm>
                  <a:off x="-3495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4" name="Freeform 162"/>
                <p:cNvSpPr>
                  <a:spLocks/>
                </p:cNvSpPr>
                <p:nvPr/>
              </p:nvSpPr>
              <p:spPr bwMode="auto">
                <a:xfrm>
                  <a:off x="-3434" y="2861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5" name="Freeform 163"/>
                <p:cNvSpPr>
                  <a:spLocks noEditPoints="1"/>
                </p:cNvSpPr>
                <p:nvPr/>
              </p:nvSpPr>
              <p:spPr bwMode="auto">
                <a:xfrm>
                  <a:off x="-3630" y="3278"/>
                  <a:ext cx="76" cy="155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6" name="Freeform 164"/>
                <p:cNvSpPr>
                  <a:spLocks/>
                </p:cNvSpPr>
                <p:nvPr/>
              </p:nvSpPr>
              <p:spPr bwMode="auto">
                <a:xfrm>
                  <a:off x="-3422" y="281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7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8" name="Freeform 166"/>
                <p:cNvSpPr>
                  <a:spLocks/>
                </p:cNvSpPr>
                <p:nvPr/>
              </p:nvSpPr>
              <p:spPr bwMode="auto">
                <a:xfrm>
                  <a:off x="-3589" y="3352"/>
                  <a:ext cx="5" cy="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9" name="Freeform 167"/>
                <p:cNvSpPr>
                  <a:spLocks/>
                </p:cNvSpPr>
                <p:nvPr/>
              </p:nvSpPr>
              <p:spPr bwMode="auto">
                <a:xfrm>
                  <a:off x="-3401" y="2498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0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1" name="Freeform 169"/>
                <p:cNvSpPr>
                  <a:spLocks/>
                </p:cNvSpPr>
                <p:nvPr/>
              </p:nvSpPr>
              <p:spPr bwMode="auto">
                <a:xfrm>
                  <a:off x="-3200" y="1987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2" name="Freeform 170"/>
                <p:cNvSpPr>
                  <a:spLocks/>
                </p:cNvSpPr>
                <p:nvPr/>
              </p:nvSpPr>
              <p:spPr bwMode="auto">
                <a:xfrm>
                  <a:off x="-3200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3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8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4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5" name="Freeform 173"/>
                <p:cNvSpPr>
                  <a:spLocks/>
                </p:cNvSpPr>
                <p:nvPr/>
              </p:nvSpPr>
              <p:spPr bwMode="auto">
                <a:xfrm>
                  <a:off x="-3197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6" name="Freeform 174"/>
                <p:cNvSpPr>
                  <a:spLocks/>
                </p:cNvSpPr>
                <p:nvPr/>
              </p:nvSpPr>
              <p:spPr bwMode="auto">
                <a:xfrm>
                  <a:off x="-3200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7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3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8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9" name="Freeform 177"/>
                <p:cNvSpPr>
                  <a:spLocks/>
                </p:cNvSpPr>
                <p:nvPr/>
              </p:nvSpPr>
              <p:spPr bwMode="auto">
                <a:xfrm>
                  <a:off x="-3116" y="1682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0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2"/>
                  <a:ext cx="2" cy="0"/>
                </a:xfrm>
                <a:prstGeom prst="lin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1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2"/>
                  <a:ext cx="2" cy="0"/>
                </a:xfrm>
                <a:prstGeom prst="lin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2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60"/>
                  <a:ext cx="92" cy="1016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3" name="Freeform 181"/>
                <p:cNvSpPr>
                  <a:spLocks/>
                </p:cNvSpPr>
                <p:nvPr/>
              </p:nvSpPr>
              <p:spPr bwMode="auto">
                <a:xfrm>
                  <a:off x="-2958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4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5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6" name="Freeform 184"/>
                <p:cNvSpPr>
                  <a:spLocks/>
                </p:cNvSpPr>
                <p:nvPr/>
              </p:nvSpPr>
              <p:spPr bwMode="auto">
                <a:xfrm>
                  <a:off x="-2996" y="281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7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8" name="Freeform 186"/>
                <p:cNvSpPr>
                  <a:spLocks/>
                </p:cNvSpPr>
                <p:nvPr/>
              </p:nvSpPr>
              <p:spPr bwMode="auto">
                <a:xfrm>
                  <a:off x="-2908" y="3357"/>
                  <a:ext cx="20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9" name="Freeform 187"/>
                <p:cNvSpPr>
                  <a:spLocks/>
                </p:cNvSpPr>
                <p:nvPr/>
              </p:nvSpPr>
              <p:spPr bwMode="auto">
                <a:xfrm>
                  <a:off x="-2908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0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1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2" name="Freeform 190"/>
                <p:cNvSpPr>
                  <a:spLocks/>
                </p:cNvSpPr>
                <p:nvPr/>
              </p:nvSpPr>
              <p:spPr bwMode="auto">
                <a:xfrm>
                  <a:off x="-2903" y="1987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3" name="Freeform 191"/>
                <p:cNvSpPr>
                  <a:spLocks/>
                </p:cNvSpPr>
                <p:nvPr/>
              </p:nvSpPr>
              <p:spPr bwMode="auto">
                <a:xfrm>
                  <a:off x="-2832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4" name="Freeform 192"/>
                <p:cNvSpPr>
                  <a:spLocks noEditPoints="1"/>
                </p:cNvSpPr>
                <p:nvPr/>
              </p:nvSpPr>
              <p:spPr bwMode="auto">
                <a:xfrm>
                  <a:off x="-3112" y="1522"/>
                  <a:ext cx="214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5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6" name="Freeform 194"/>
                <p:cNvSpPr>
                  <a:spLocks/>
                </p:cNvSpPr>
                <p:nvPr/>
              </p:nvSpPr>
              <p:spPr bwMode="auto">
                <a:xfrm>
                  <a:off x="-2990" y="1682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7" name="Freeform 195"/>
                <p:cNvSpPr>
                  <a:spLocks/>
                </p:cNvSpPr>
                <p:nvPr/>
              </p:nvSpPr>
              <p:spPr bwMode="auto">
                <a:xfrm>
                  <a:off x="-2996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8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60"/>
                  <a:ext cx="26" cy="1016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9" name="Freeform 197"/>
                <p:cNvSpPr>
                  <a:spLocks/>
                </p:cNvSpPr>
                <p:nvPr/>
              </p:nvSpPr>
              <p:spPr bwMode="auto">
                <a:xfrm>
                  <a:off x="-2811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0" name="Freeform 198"/>
                <p:cNvSpPr>
                  <a:spLocks/>
                </p:cNvSpPr>
                <p:nvPr/>
              </p:nvSpPr>
              <p:spPr bwMode="auto">
                <a:xfrm>
                  <a:off x="-2811" y="3278"/>
                  <a:ext cx="5" cy="77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1" name="Freeform 199"/>
                <p:cNvSpPr>
                  <a:spLocks/>
                </p:cNvSpPr>
                <p:nvPr/>
              </p:nvSpPr>
              <p:spPr bwMode="auto">
                <a:xfrm>
                  <a:off x="-2803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2" name="Freeform 200"/>
                <p:cNvSpPr>
                  <a:spLocks/>
                </p:cNvSpPr>
                <p:nvPr/>
              </p:nvSpPr>
              <p:spPr bwMode="auto">
                <a:xfrm>
                  <a:off x="-28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3" name="Freeform 201"/>
                <p:cNvSpPr>
                  <a:spLocks/>
                </p:cNvSpPr>
                <p:nvPr/>
              </p:nvSpPr>
              <p:spPr bwMode="auto">
                <a:xfrm>
                  <a:off x="-2811" y="3357"/>
                  <a:ext cx="5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4" name="Freeform 202"/>
                <p:cNvSpPr>
                  <a:spLocks/>
                </p:cNvSpPr>
                <p:nvPr/>
              </p:nvSpPr>
              <p:spPr bwMode="auto">
                <a:xfrm>
                  <a:off x="-2811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5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6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63" name="Freeform 206"/>
              <p:cNvSpPr>
                <a:spLocks/>
              </p:cNvSpPr>
              <p:nvPr/>
            </p:nvSpPr>
            <p:spPr bwMode="auto">
              <a:xfrm>
                <a:off x="-4871258" y="2416156"/>
                <a:ext cx="349031" cy="36896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4" name="Freeform 207"/>
              <p:cNvSpPr>
                <a:spLocks/>
              </p:cNvSpPr>
              <p:nvPr/>
            </p:nvSpPr>
            <p:spPr bwMode="auto">
              <a:xfrm>
                <a:off x="-4608883" y="2671974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5" name="Freeform 208"/>
              <p:cNvSpPr>
                <a:spLocks/>
              </p:cNvSpPr>
              <p:nvPr/>
            </p:nvSpPr>
            <p:spPr bwMode="auto">
              <a:xfrm>
                <a:off x="-4818302" y="2418615"/>
                <a:ext cx="481423" cy="36651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6" name="Freeform 209"/>
              <p:cNvSpPr>
                <a:spLocks/>
              </p:cNvSpPr>
              <p:nvPr/>
            </p:nvSpPr>
            <p:spPr bwMode="auto">
              <a:xfrm>
                <a:off x="-4435571" y="2669513"/>
                <a:ext cx="4814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7" name="Freeform 210"/>
              <p:cNvSpPr>
                <a:spLocks noEditPoints="1"/>
              </p:cNvSpPr>
              <p:nvPr/>
            </p:nvSpPr>
            <p:spPr bwMode="auto">
              <a:xfrm>
                <a:off x="-2680782" y="3151632"/>
                <a:ext cx="72214" cy="430464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8" name="Freeform 211"/>
              <p:cNvSpPr>
                <a:spLocks/>
              </p:cNvSpPr>
              <p:nvPr/>
            </p:nvSpPr>
            <p:spPr bwMode="auto">
              <a:xfrm>
                <a:off x="-2623011" y="3527981"/>
                <a:ext cx="7221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9" name="Freeform 212"/>
              <p:cNvSpPr>
                <a:spLocks noEditPoints="1"/>
              </p:cNvSpPr>
              <p:nvPr/>
            </p:nvSpPr>
            <p:spPr bwMode="auto">
              <a:xfrm>
                <a:off x="-2810766" y="3587016"/>
                <a:ext cx="233490" cy="1613622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0" name="Freeform 213"/>
              <p:cNvSpPr>
                <a:spLocks/>
              </p:cNvSpPr>
              <p:nvPr/>
            </p:nvSpPr>
            <p:spPr bwMode="auto">
              <a:xfrm>
                <a:off x="-2702447" y="4871026"/>
                <a:ext cx="7222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1" name="Freeform 214"/>
              <p:cNvSpPr>
                <a:spLocks noEditPoints="1"/>
              </p:cNvSpPr>
              <p:nvPr/>
            </p:nvSpPr>
            <p:spPr bwMode="auto">
              <a:xfrm>
                <a:off x="-2955193" y="2418615"/>
                <a:ext cx="281632" cy="2954209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2" name="Freeform 215"/>
              <p:cNvSpPr>
                <a:spLocks/>
              </p:cNvSpPr>
              <p:nvPr/>
            </p:nvSpPr>
            <p:spPr bwMode="auto">
              <a:xfrm>
                <a:off x="-2777067" y="2785124"/>
                <a:ext cx="722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3" name="Freeform 216"/>
              <p:cNvSpPr>
                <a:spLocks/>
              </p:cNvSpPr>
              <p:nvPr/>
            </p:nvSpPr>
            <p:spPr bwMode="auto">
              <a:xfrm>
                <a:off x="-2613383" y="4460241"/>
                <a:ext cx="12035" cy="2461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4" name="Freeform 217"/>
              <p:cNvSpPr>
                <a:spLocks/>
              </p:cNvSpPr>
              <p:nvPr/>
            </p:nvSpPr>
            <p:spPr bwMode="auto">
              <a:xfrm>
                <a:off x="-2815581" y="5200638"/>
                <a:ext cx="12035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5" name="Freeform 218"/>
              <p:cNvSpPr>
                <a:spLocks/>
              </p:cNvSpPr>
              <p:nvPr/>
            </p:nvSpPr>
            <p:spPr bwMode="auto">
              <a:xfrm>
                <a:off x="-2875759" y="5323628"/>
                <a:ext cx="4814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6" name="Freeform 219"/>
              <p:cNvSpPr>
                <a:spLocks/>
              </p:cNvSpPr>
              <p:nvPr/>
            </p:nvSpPr>
            <p:spPr bwMode="auto">
              <a:xfrm>
                <a:off x="-2591719" y="3965824"/>
                <a:ext cx="9628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7" name="Freeform 220"/>
              <p:cNvSpPr>
                <a:spLocks/>
              </p:cNvSpPr>
              <p:nvPr/>
            </p:nvSpPr>
            <p:spPr bwMode="auto">
              <a:xfrm>
                <a:off x="-2615791" y="3582096"/>
                <a:ext cx="7222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8" name="Freeform 221"/>
              <p:cNvSpPr>
                <a:spLocks/>
              </p:cNvSpPr>
              <p:nvPr/>
            </p:nvSpPr>
            <p:spPr bwMode="auto">
              <a:xfrm>
                <a:off x="-5802814" y="3149173"/>
                <a:ext cx="12036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9" name="Freeform 222"/>
              <p:cNvSpPr>
                <a:spLocks/>
              </p:cNvSpPr>
              <p:nvPr/>
            </p:nvSpPr>
            <p:spPr bwMode="auto">
              <a:xfrm>
                <a:off x="-5566916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0" name="Freeform 223"/>
              <p:cNvSpPr>
                <a:spLocks/>
              </p:cNvSpPr>
              <p:nvPr/>
            </p:nvSpPr>
            <p:spPr bwMode="auto">
              <a:xfrm>
                <a:off x="-5326204" y="3149173"/>
                <a:ext cx="7222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1" name="Freeform 224"/>
              <p:cNvSpPr>
                <a:spLocks/>
              </p:cNvSpPr>
              <p:nvPr/>
            </p:nvSpPr>
            <p:spPr bwMode="auto">
              <a:xfrm>
                <a:off x="-5080678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2" name="Freeform 225"/>
              <p:cNvSpPr>
                <a:spLocks/>
              </p:cNvSpPr>
              <p:nvPr/>
            </p:nvSpPr>
            <p:spPr bwMode="auto">
              <a:xfrm>
                <a:off x="-4837559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3" name="Freeform 226"/>
              <p:cNvSpPr>
                <a:spLocks/>
              </p:cNvSpPr>
              <p:nvPr/>
            </p:nvSpPr>
            <p:spPr bwMode="auto">
              <a:xfrm>
                <a:off x="-4608883" y="3149173"/>
                <a:ext cx="7222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4" name="Freeform 227"/>
              <p:cNvSpPr>
                <a:spLocks/>
              </p:cNvSpPr>
              <p:nvPr/>
            </p:nvSpPr>
            <p:spPr bwMode="auto">
              <a:xfrm>
                <a:off x="-1956240" y="3149173"/>
                <a:ext cx="7222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5" name="Freeform 228"/>
              <p:cNvSpPr>
                <a:spLocks/>
              </p:cNvSpPr>
              <p:nvPr/>
            </p:nvSpPr>
            <p:spPr bwMode="auto">
              <a:xfrm>
                <a:off x="-3641222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6" name="Freeform 229"/>
              <p:cNvSpPr>
                <a:spLocks/>
              </p:cNvSpPr>
              <p:nvPr/>
            </p:nvSpPr>
            <p:spPr bwMode="auto">
              <a:xfrm>
                <a:off x="-3422174" y="3149173"/>
                <a:ext cx="12035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7" name="Freeform 230"/>
              <p:cNvSpPr>
                <a:spLocks/>
              </p:cNvSpPr>
              <p:nvPr/>
            </p:nvSpPr>
            <p:spPr bwMode="auto">
              <a:xfrm>
                <a:off x="-3171834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8" name="Freeform 231"/>
              <p:cNvSpPr>
                <a:spLocks/>
              </p:cNvSpPr>
              <p:nvPr/>
            </p:nvSpPr>
            <p:spPr bwMode="auto">
              <a:xfrm>
                <a:off x="-2921494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9" name="Freeform 232"/>
              <p:cNvSpPr>
                <a:spLocks/>
              </p:cNvSpPr>
              <p:nvPr/>
            </p:nvSpPr>
            <p:spPr bwMode="auto">
              <a:xfrm>
                <a:off x="-2399150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0" name="Freeform 233"/>
              <p:cNvSpPr>
                <a:spLocks/>
              </p:cNvSpPr>
              <p:nvPr/>
            </p:nvSpPr>
            <p:spPr bwMode="auto">
              <a:xfrm>
                <a:off x="-2187324" y="3149173"/>
                <a:ext cx="12036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1" name="Freeform 234"/>
              <p:cNvSpPr>
                <a:spLocks/>
              </p:cNvSpPr>
              <p:nvPr/>
            </p:nvSpPr>
            <p:spPr bwMode="auto">
              <a:xfrm>
                <a:off x="-1515737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2" name="Freeform 235"/>
              <p:cNvSpPr>
                <a:spLocks/>
              </p:cNvSpPr>
              <p:nvPr/>
            </p:nvSpPr>
            <p:spPr bwMode="auto">
              <a:xfrm>
                <a:off x="-1746821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3" name="Freeform 236"/>
              <p:cNvSpPr>
                <a:spLocks/>
              </p:cNvSpPr>
              <p:nvPr/>
            </p:nvSpPr>
            <p:spPr bwMode="auto">
              <a:xfrm>
                <a:off x="-2680782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4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5" name="Freeform 238"/>
              <p:cNvSpPr>
                <a:spLocks noEditPoints="1"/>
              </p:cNvSpPr>
              <p:nvPr/>
            </p:nvSpPr>
            <p:spPr bwMode="auto">
              <a:xfrm>
                <a:off x="-4912180" y="4871026"/>
                <a:ext cx="917112" cy="49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6" name="Freeform 239"/>
              <p:cNvSpPr>
                <a:spLocks noEditPoints="1"/>
              </p:cNvSpPr>
              <p:nvPr/>
            </p:nvSpPr>
            <p:spPr bwMode="auto">
              <a:xfrm>
                <a:off x="-3672514" y="4871026"/>
                <a:ext cx="1172265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7" name="Freeform 240"/>
              <p:cNvSpPr>
                <a:spLocks noEditPoints="1"/>
              </p:cNvSpPr>
              <p:nvPr/>
            </p:nvSpPr>
            <p:spPr bwMode="auto">
              <a:xfrm>
                <a:off x="-2071782" y="4871026"/>
                <a:ext cx="1239666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8" name="Freeform 241"/>
              <p:cNvSpPr>
                <a:spLocks noEditPoints="1"/>
              </p:cNvSpPr>
              <p:nvPr/>
            </p:nvSpPr>
            <p:spPr bwMode="auto">
              <a:xfrm>
                <a:off x="-6245723" y="4871026"/>
                <a:ext cx="919519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9" name="Freeform 242"/>
              <p:cNvSpPr>
                <a:spLocks/>
              </p:cNvSpPr>
              <p:nvPr/>
            </p:nvSpPr>
            <p:spPr bwMode="auto">
              <a:xfrm>
                <a:off x="-5020500" y="4541414"/>
                <a:ext cx="722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0" name="Freeform 243"/>
              <p:cNvSpPr>
                <a:spLocks noEditPoints="1"/>
              </p:cNvSpPr>
              <p:nvPr/>
            </p:nvSpPr>
            <p:spPr bwMode="auto">
              <a:xfrm>
                <a:off x="-3780835" y="4541414"/>
                <a:ext cx="140816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1" name="Freeform 244"/>
              <p:cNvSpPr>
                <a:spLocks/>
              </p:cNvSpPr>
              <p:nvPr/>
            </p:nvSpPr>
            <p:spPr bwMode="auto">
              <a:xfrm>
                <a:off x="-2175287" y="4541414"/>
                <a:ext cx="0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2" name="Freeform 245"/>
              <p:cNvSpPr>
                <a:spLocks/>
              </p:cNvSpPr>
              <p:nvPr/>
            </p:nvSpPr>
            <p:spPr bwMode="auto">
              <a:xfrm>
                <a:off x="-6310714" y="4541414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3" name="Freeform 246"/>
              <p:cNvSpPr>
                <a:spLocks noEditPoints="1"/>
              </p:cNvSpPr>
              <p:nvPr/>
            </p:nvSpPr>
            <p:spPr bwMode="auto">
              <a:xfrm>
                <a:off x="-4062467" y="3527981"/>
                <a:ext cx="3134066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4" name="Freeform 247"/>
              <p:cNvSpPr>
                <a:spLocks noEditPoints="1"/>
              </p:cNvSpPr>
              <p:nvPr/>
            </p:nvSpPr>
            <p:spPr bwMode="auto">
              <a:xfrm>
                <a:off x="-6245723" y="3527981"/>
                <a:ext cx="2043643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5" name="Freeform 248"/>
              <p:cNvSpPr>
                <a:spLocks/>
              </p:cNvSpPr>
              <p:nvPr/>
            </p:nvSpPr>
            <p:spPr bwMode="auto">
              <a:xfrm>
                <a:off x="-3691771" y="2785124"/>
                <a:ext cx="9628" cy="2459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6" name="Freeform 249"/>
              <p:cNvSpPr>
                <a:spLocks noEditPoints="1"/>
              </p:cNvSpPr>
              <p:nvPr/>
            </p:nvSpPr>
            <p:spPr bwMode="auto">
              <a:xfrm>
                <a:off x="-5836513" y="2785124"/>
                <a:ext cx="1314286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7" name="Freeform 250"/>
              <p:cNvSpPr>
                <a:spLocks/>
              </p:cNvSpPr>
              <p:nvPr/>
            </p:nvSpPr>
            <p:spPr bwMode="auto">
              <a:xfrm>
                <a:off x="-3672514" y="2669513"/>
                <a:ext cx="4814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8" name="Freeform 251"/>
              <p:cNvSpPr>
                <a:spLocks/>
              </p:cNvSpPr>
              <p:nvPr/>
            </p:nvSpPr>
            <p:spPr bwMode="auto">
              <a:xfrm>
                <a:off x="-1308725" y="3146713"/>
                <a:ext cx="7221" cy="246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9" name="Freeform 252"/>
              <p:cNvSpPr>
                <a:spLocks/>
              </p:cNvSpPr>
              <p:nvPr/>
            </p:nvSpPr>
            <p:spPr bwMode="auto">
              <a:xfrm>
                <a:off x="-5737821" y="2669513"/>
                <a:ext cx="2406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0" name="Freeform 253"/>
              <p:cNvSpPr>
                <a:spLocks noEditPoints="1"/>
              </p:cNvSpPr>
              <p:nvPr/>
            </p:nvSpPr>
            <p:spPr bwMode="auto">
              <a:xfrm>
                <a:off x="-5034942" y="4460241"/>
                <a:ext cx="1162637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1" name="Freeform 254"/>
              <p:cNvSpPr>
                <a:spLocks noEditPoints="1"/>
              </p:cNvSpPr>
              <p:nvPr/>
            </p:nvSpPr>
            <p:spPr bwMode="auto">
              <a:xfrm>
                <a:off x="-3795278" y="4460241"/>
                <a:ext cx="1449084" cy="2461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2" name="Freeform 255"/>
              <p:cNvSpPr>
                <a:spLocks noEditPoints="1"/>
              </p:cNvSpPr>
              <p:nvPr/>
            </p:nvSpPr>
            <p:spPr bwMode="auto">
              <a:xfrm>
                <a:off x="-2199359" y="4460241"/>
                <a:ext cx="1434642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3" name="Freeform 256"/>
              <p:cNvSpPr>
                <a:spLocks noEditPoints="1"/>
              </p:cNvSpPr>
              <p:nvPr/>
            </p:nvSpPr>
            <p:spPr bwMode="auto">
              <a:xfrm>
                <a:off x="-6315529" y="4460241"/>
                <a:ext cx="1167451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4" name="Freeform 257"/>
              <p:cNvSpPr>
                <a:spLocks noEditPoints="1"/>
              </p:cNvSpPr>
              <p:nvPr/>
            </p:nvSpPr>
            <p:spPr bwMode="auto">
              <a:xfrm>
                <a:off x="-6212023" y="5200638"/>
                <a:ext cx="7486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5" name="Freeform 258"/>
              <p:cNvSpPr>
                <a:spLocks noEditPoints="1"/>
              </p:cNvSpPr>
              <p:nvPr/>
            </p:nvSpPr>
            <p:spPr bwMode="auto">
              <a:xfrm>
                <a:off x="-4837559" y="5200638"/>
                <a:ext cx="741392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6" name="Freeform 259"/>
              <p:cNvSpPr>
                <a:spLocks noEditPoints="1"/>
              </p:cNvSpPr>
              <p:nvPr/>
            </p:nvSpPr>
            <p:spPr bwMode="auto">
              <a:xfrm>
                <a:off x="-3593080" y="5200638"/>
                <a:ext cx="92674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7" name="Freeform 260"/>
              <p:cNvSpPr>
                <a:spLocks noEditPoints="1"/>
              </p:cNvSpPr>
              <p:nvPr/>
            </p:nvSpPr>
            <p:spPr bwMode="auto">
              <a:xfrm>
                <a:off x="-1879213" y="5200638"/>
                <a:ext cx="96766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8" name="Freeform 261"/>
              <p:cNvSpPr>
                <a:spLocks noEditPoints="1"/>
              </p:cNvSpPr>
              <p:nvPr/>
            </p:nvSpPr>
            <p:spPr bwMode="auto">
              <a:xfrm>
                <a:off x="-6175916" y="5318708"/>
                <a:ext cx="63307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9" name="Freeform 262"/>
              <p:cNvSpPr>
                <a:spLocks noEditPoints="1"/>
              </p:cNvSpPr>
              <p:nvPr/>
            </p:nvSpPr>
            <p:spPr bwMode="auto">
              <a:xfrm>
                <a:off x="-4779788" y="5323628"/>
                <a:ext cx="625850" cy="49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0" name="Freeform 263"/>
              <p:cNvSpPr>
                <a:spLocks noEditPoints="1"/>
              </p:cNvSpPr>
              <p:nvPr/>
            </p:nvSpPr>
            <p:spPr bwMode="auto">
              <a:xfrm>
                <a:off x="-3537716" y="5323628"/>
                <a:ext cx="791941" cy="49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1" name="Freeform 264"/>
              <p:cNvSpPr>
                <a:spLocks/>
              </p:cNvSpPr>
              <p:nvPr/>
            </p:nvSpPr>
            <p:spPr bwMode="auto">
              <a:xfrm>
                <a:off x="-1766077" y="5323628"/>
                <a:ext cx="7221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2" name="Freeform 265"/>
              <p:cNvSpPr>
                <a:spLocks noEditPoints="1"/>
              </p:cNvSpPr>
              <p:nvPr/>
            </p:nvSpPr>
            <p:spPr bwMode="auto">
              <a:xfrm>
                <a:off x="-6344414" y="3965824"/>
                <a:ext cx="5591732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3" name="Freeform 266"/>
              <p:cNvSpPr>
                <a:spLocks noEditPoints="1"/>
              </p:cNvSpPr>
              <p:nvPr/>
            </p:nvSpPr>
            <p:spPr bwMode="auto">
              <a:xfrm>
                <a:off x="-6264980" y="3582096"/>
                <a:ext cx="2074935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4" name="Freeform 267"/>
              <p:cNvSpPr>
                <a:spLocks noEditPoints="1"/>
              </p:cNvSpPr>
              <p:nvPr/>
            </p:nvSpPr>
            <p:spPr bwMode="auto">
              <a:xfrm>
                <a:off x="-4079318" y="3582096"/>
                <a:ext cx="3184617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5" name="Freeform 268"/>
              <p:cNvSpPr>
                <a:spLocks/>
              </p:cNvSpPr>
              <p:nvPr/>
            </p:nvSpPr>
            <p:spPr bwMode="auto">
              <a:xfrm>
                <a:off x="-3833792" y="4088813"/>
                <a:ext cx="2408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6" name="Freeform 269"/>
              <p:cNvSpPr>
                <a:spLocks/>
              </p:cNvSpPr>
              <p:nvPr/>
            </p:nvSpPr>
            <p:spPr bwMode="auto">
              <a:xfrm>
                <a:off x="-2269166" y="4044537"/>
                <a:ext cx="240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7" name="Freeform 270"/>
              <p:cNvSpPr>
                <a:spLocks/>
              </p:cNvSpPr>
              <p:nvPr/>
            </p:nvSpPr>
            <p:spPr bwMode="auto">
              <a:xfrm>
                <a:off x="-1301505" y="3146713"/>
                <a:ext cx="7222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8" name="Freeform 271"/>
              <p:cNvSpPr>
                <a:spLocks/>
              </p:cNvSpPr>
              <p:nvPr/>
            </p:nvSpPr>
            <p:spPr bwMode="auto">
              <a:xfrm>
                <a:off x="-4139495" y="3892030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9" name="Freeform 272"/>
              <p:cNvSpPr>
                <a:spLocks/>
              </p:cNvSpPr>
              <p:nvPr/>
            </p:nvSpPr>
            <p:spPr bwMode="auto">
              <a:xfrm>
                <a:off x="-5075864" y="4002720"/>
                <a:ext cx="2408" cy="246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0" name="Freeform 273"/>
              <p:cNvSpPr>
                <a:spLocks/>
              </p:cNvSpPr>
              <p:nvPr/>
            </p:nvSpPr>
            <p:spPr bwMode="auto">
              <a:xfrm>
                <a:off x="-4529448" y="2785124"/>
                <a:ext cx="7221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1" name="Freeform 274"/>
              <p:cNvSpPr>
                <a:spLocks/>
              </p:cNvSpPr>
              <p:nvPr/>
            </p:nvSpPr>
            <p:spPr bwMode="auto">
              <a:xfrm>
                <a:off x="-4524634" y="2785124"/>
                <a:ext cx="2406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2" name="Freeform 275"/>
              <p:cNvSpPr>
                <a:spLocks/>
              </p:cNvSpPr>
              <p:nvPr/>
            </p:nvSpPr>
            <p:spPr bwMode="auto">
              <a:xfrm>
                <a:off x="-4341693" y="2785124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3" name="Freeform 276"/>
              <p:cNvSpPr>
                <a:spLocks noEditPoints="1"/>
              </p:cNvSpPr>
              <p:nvPr/>
            </p:nvSpPr>
            <p:spPr bwMode="auto">
              <a:xfrm>
                <a:off x="-6036303" y="3149173"/>
                <a:ext cx="166091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4" name="Freeform 277"/>
              <p:cNvSpPr>
                <a:spLocks/>
              </p:cNvSpPr>
              <p:nvPr/>
            </p:nvSpPr>
            <p:spPr bwMode="auto">
              <a:xfrm>
                <a:off x="-1303911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5" name="Freeform 278"/>
              <p:cNvSpPr>
                <a:spLocks/>
              </p:cNvSpPr>
              <p:nvPr/>
            </p:nvSpPr>
            <p:spPr bwMode="auto">
              <a:xfrm>
                <a:off x="-1301505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6" name="Freeform 279"/>
              <p:cNvSpPr>
                <a:spLocks/>
              </p:cNvSpPr>
              <p:nvPr/>
            </p:nvSpPr>
            <p:spPr bwMode="auto">
              <a:xfrm>
                <a:off x="-3872306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7" name="Freeform 280"/>
              <p:cNvSpPr>
                <a:spLocks/>
              </p:cNvSpPr>
              <p:nvPr/>
            </p:nvSpPr>
            <p:spPr bwMode="auto">
              <a:xfrm>
                <a:off x="-5675236" y="2593261"/>
                <a:ext cx="1612768" cy="2508986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8" name="Freeform 281"/>
              <p:cNvSpPr>
                <a:spLocks/>
              </p:cNvSpPr>
              <p:nvPr/>
            </p:nvSpPr>
            <p:spPr bwMode="auto">
              <a:xfrm>
                <a:off x="-5010871" y="2548984"/>
                <a:ext cx="231083" cy="18694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9" name="Freeform 282"/>
              <p:cNvSpPr>
                <a:spLocks/>
              </p:cNvSpPr>
              <p:nvPr/>
            </p:nvSpPr>
            <p:spPr bwMode="auto">
              <a:xfrm>
                <a:off x="-4938658" y="2428454"/>
                <a:ext cx="385139" cy="341912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0" name="Freeform 283"/>
              <p:cNvSpPr>
                <a:spLocks/>
              </p:cNvSpPr>
              <p:nvPr/>
            </p:nvSpPr>
            <p:spPr bwMode="auto">
              <a:xfrm>
                <a:off x="-3747136" y="2502248"/>
                <a:ext cx="2043643" cy="2208892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1" name="Freeform 284"/>
              <p:cNvSpPr>
                <a:spLocks/>
              </p:cNvSpPr>
              <p:nvPr/>
            </p:nvSpPr>
            <p:spPr bwMode="auto">
              <a:xfrm>
                <a:off x="-3751950" y="2445673"/>
                <a:ext cx="507902" cy="324692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2" name="Freeform 285"/>
              <p:cNvSpPr>
                <a:spLocks/>
              </p:cNvSpPr>
              <p:nvPr/>
            </p:nvSpPr>
            <p:spPr bwMode="auto">
              <a:xfrm>
                <a:off x="-1826256" y="3864971"/>
                <a:ext cx="149241" cy="223842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3" name="Freeform 286"/>
              <p:cNvSpPr>
                <a:spLocks/>
              </p:cNvSpPr>
              <p:nvPr/>
            </p:nvSpPr>
            <p:spPr bwMode="auto">
              <a:xfrm>
                <a:off x="-2038082" y="3899408"/>
                <a:ext cx="180535" cy="250899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4" name="Freeform 287"/>
              <p:cNvSpPr>
                <a:spLocks/>
              </p:cNvSpPr>
              <p:nvPr/>
            </p:nvSpPr>
            <p:spPr bwMode="auto">
              <a:xfrm>
                <a:off x="-1486852" y="4024859"/>
                <a:ext cx="305703" cy="201703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5" name="Freeform 288"/>
              <p:cNvSpPr>
                <a:spLocks/>
              </p:cNvSpPr>
              <p:nvPr/>
            </p:nvSpPr>
            <p:spPr bwMode="auto">
              <a:xfrm>
                <a:off x="-1710715" y="4251159"/>
                <a:ext cx="572894" cy="568211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6" name="Freeform 289"/>
              <p:cNvSpPr>
                <a:spLocks/>
              </p:cNvSpPr>
              <p:nvPr/>
            </p:nvSpPr>
            <p:spPr bwMode="auto">
              <a:xfrm>
                <a:off x="-5229920" y="2526846"/>
                <a:ext cx="50550" cy="46737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7" name="Freeform 290"/>
              <p:cNvSpPr>
                <a:spLocks/>
              </p:cNvSpPr>
              <p:nvPr/>
            </p:nvSpPr>
            <p:spPr bwMode="auto">
              <a:xfrm>
                <a:off x="-5172149" y="2558824"/>
                <a:ext cx="86656" cy="56574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8" name="Freeform 291"/>
              <p:cNvSpPr>
                <a:spLocks/>
              </p:cNvSpPr>
              <p:nvPr/>
            </p:nvSpPr>
            <p:spPr bwMode="auto">
              <a:xfrm>
                <a:off x="-5030128" y="2418615"/>
                <a:ext cx="79434" cy="91013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9" name="Freeform 292"/>
              <p:cNvSpPr>
                <a:spLocks/>
              </p:cNvSpPr>
              <p:nvPr/>
            </p:nvSpPr>
            <p:spPr bwMode="auto">
              <a:xfrm>
                <a:off x="-5054199" y="2553904"/>
                <a:ext cx="113134" cy="127909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0" name="Freeform 293"/>
              <p:cNvSpPr>
                <a:spLocks/>
              </p:cNvSpPr>
              <p:nvPr/>
            </p:nvSpPr>
            <p:spPr bwMode="auto">
              <a:xfrm>
                <a:off x="-5126413" y="2482569"/>
                <a:ext cx="52957" cy="61496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1" name="Freeform 294"/>
              <p:cNvSpPr>
                <a:spLocks/>
              </p:cNvSpPr>
              <p:nvPr/>
            </p:nvSpPr>
            <p:spPr bwMode="auto">
              <a:xfrm>
                <a:off x="-4844781" y="3505842"/>
                <a:ext cx="117949" cy="98392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2" name="Freeform 295"/>
              <p:cNvSpPr>
                <a:spLocks/>
              </p:cNvSpPr>
              <p:nvPr/>
            </p:nvSpPr>
            <p:spPr bwMode="auto">
              <a:xfrm>
                <a:off x="-4454828" y="2664594"/>
                <a:ext cx="96285" cy="56576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3" name="Freeform 296"/>
              <p:cNvSpPr>
                <a:spLocks/>
              </p:cNvSpPr>
              <p:nvPr/>
            </p:nvSpPr>
            <p:spPr bwMode="auto">
              <a:xfrm>
                <a:off x="-3431802" y="2822020"/>
                <a:ext cx="86656" cy="164807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4" name="Freeform 297"/>
              <p:cNvSpPr>
                <a:spLocks/>
              </p:cNvSpPr>
              <p:nvPr/>
            </p:nvSpPr>
            <p:spPr bwMode="auto">
              <a:xfrm>
                <a:off x="-3487167" y="2888436"/>
                <a:ext cx="64993" cy="66414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5" name="Freeform 298"/>
              <p:cNvSpPr>
                <a:spLocks/>
              </p:cNvSpPr>
              <p:nvPr/>
            </p:nvSpPr>
            <p:spPr bwMode="auto">
              <a:xfrm>
                <a:off x="-5085493" y="2418615"/>
                <a:ext cx="9628" cy="158410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6" name="Freeform 299"/>
              <p:cNvSpPr>
                <a:spLocks/>
              </p:cNvSpPr>
              <p:nvPr/>
            </p:nvSpPr>
            <p:spPr bwMode="auto">
              <a:xfrm>
                <a:off x="-2902237" y="2418615"/>
                <a:ext cx="647514" cy="16480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5" name="Group 21"/>
            <p:cNvGrpSpPr>
              <a:grpSpLocks/>
            </p:cNvGrpSpPr>
            <p:nvPr userDrawn="1">
              <p:custDataLst>
                <p:tags r:id="rId2"/>
              </p:custDataLst>
            </p:nvPr>
          </p:nvGrpSpPr>
          <p:grpSpPr bwMode="auto">
            <a:xfrm>
              <a:off x="5407262" y="1670190"/>
              <a:ext cx="2631666" cy="1243192"/>
              <a:chOff x="6450011" y="3926681"/>
              <a:chExt cx="3425034" cy="1653383"/>
            </a:xfrm>
          </p:grpSpPr>
          <p:sp>
            <p:nvSpPr>
              <p:cNvPr id="30" name="Oval 22"/>
              <p:cNvSpPr/>
              <p:nvPr/>
            </p:nvSpPr>
            <p:spPr>
              <a:xfrm>
                <a:off x="6821694" y="4042484"/>
                <a:ext cx="55785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1" name="Oval 23"/>
              <p:cNvSpPr/>
              <p:nvPr/>
            </p:nvSpPr>
            <p:spPr>
              <a:xfrm>
                <a:off x="6449799" y="4283171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2" name="Oval 24"/>
              <p:cNvSpPr/>
              <p:nvPr/>
            </p:nvSpPr>
            <p:spPr>
              <a:xfrm>
                <a:off x="6528310" y="4500635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3" name="Oval 25"/>
              <p:cNvSpPr/>
              <p:nvPr/>
            </p:nvSpPr>
            <p:spPr>
              <a:xfrm>
                <a:off x="6685332" y="4680095"/>
                <a:ext cx="55785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4" name="Oval 26"/>
              <p:cNvSpPr/>
              <p:nvPr/>
            </p:nvSpPr>
            <p:spPr>
              <a:xfrm>
                <a:off x="7234911" y="5150914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5" name="Oval 27"/>
              <p:cNvSpPr/>
              <p:nvPr/>
            </p:nvSpPr>
            <p:spPr>
              <a:xfrm>
                <a:off x="6968386" y="5484499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6" name="Oval 28"/>
              <p:cNvSpPr/>
              <p:nvPr/>
            </p:nvSpPr>
            <p:spPr>
              <a:xfrm>
                <a:off x="7121277" y="5524613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7" name="Oval 29"/>
              <p:cNvSpPr/>
              <p:nvPr/>
            </p:nvSpPr>
            <p:spPr>
              <a:xfrm>
                <a:off x="9819582" y="5476054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8" name="Oval 30"/>
              <p:cNvSpPr/>
              <p:nvPr/>
            </p:nvSpPr>
            <p:spPr>
              <a:xfrm>
                <a:off x="9272069" y="4965120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9" name="Oval 31"/>
              <p:cNvSpPr/>
              <p:nvPr/>
            </p:nvSpPr>
            <p:spPr>
              <a:xfrm>
                <a:off x="9323722" y="4696985"/>
                <a:ext cx="55784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0" name="Oval 32"/>
              <p:cNvSpPr/>
              <p:nvPr/>
            </p:nvSpPr>
            <p:spPr>
              <a:xfrm>
                <a:off x="9410497" y="4726543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Oval 33"/>
              <p:cNvSpPr/>
              <p:nvPr/>
            </p:nvSpPr>
            <p:spPr>
              <a:xfrm>
                <a:off x="9418761" y="4589310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Oval 34"/>
              <p:cNvSpPr/>
              <p:nvPr/>
            </p:nvSpPr>
            <p:spPr>
              <a:xfrm>
                <a:off x="9096452" y="4399293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Oval 35"/>
              <p:cNvSpPr/>
              <p:nvPr/>
            </p:nvSpPr>
            <p:spPr>
              <a:xfrm>
                <a:off x="8933231" y="4684318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Oval 36"/>
              <p:cNvSpPr/>
              <p:nvPr/>
            </p:nvSpPr>
            <p:spPr>
              <a:xfrm>
                <a:off x="8600592" y="4547084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Oval 37"/>
              <p:cNvSpPr/>
              <p:nvPr/>
            </p:nvSpPr>
            <p:spPr>
              <a:xfrm>
                <a:off x="8612989" y="4673762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6" name="Oval 38"/>
              <p:cNvSpPr/>
              <p:nvPr/>
            </p:nvSpPr>
            <p:spPr>
              <a:xfrm>
                <a:off x="8369191" y="4378180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Oval 39"/>
              <p:cNvSpPr/>
              <p:nvPr/>
            </p:nvSpPr>
            <p:spPr>
              <a:xfrm>
                <a:off x="7844406" y="4437297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Oval 40"/>
              <p:cNvSpPr/>
              <p:nvPr/>
            </p:nvSpPr>
            <p:spPr>
              <a:xfrm>
                <a:off x="7914653" y="4259948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Oval 41"/>
              <p:cNvSpPr/>
              <p:nvPr/>
            </p:nvSpPr>
            <p:spPr>
              <a:xfrm>
                <a:off x="7982833" y="4259948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Oval 42"/>
              <p:cNvSpPr/>
              <p:nvPr/>
            </p:nvSpPr>
            <p:spPr>
              <a:xfrm>
                <a:off x="8053080" y="4173384"/>
                <a:ext cx="55785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Oval 43"/>
              <p:cNvSpPr/>
              <p:nvPr/>
            </p:nvSpPr>
            <p:spPr>
              <a:xfrm>
                <a:off x="8030353" y="4048818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2" name="Oval 44"/>
              <p:cNvSpPr/>
              <p:nvPr/>
            </p:nvSpPr>
            <p:spPr>
              <a:xfrm>
                <a:off x="8137790" y="3926363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3" name="Oval 45"/>
              <p:cNvSpPr/>
              <p:nvPr/>
            </p:nvSpPr>
            <p:spPr>
              <a:xfrm>
                <a:off x="8212169" y="3966477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Oval 46"/>
              <p:cNvSpPr/>
              <p:nvPr/>
            </p:nvSpPr>
            <p:spPr>
              <a:xfrm>
                <a:off x="8146054" y="4034039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Oval 47"/>
              <p:cNvSpPr/>
              <p:nvPr/>
            </p:nvSpPr>
            <p:spPr>
              <a:xfrm>
                <a:off x="8086137" y="4124825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6" name="Oval 48"/>
              <p:cNvSpPr/>
              <p:nvPr/>
            </p:nvSpPr>
            <p:spPr>
              <a:xfrm>
                <a:off x="8150186" y="4116380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7" name="Oval 49"/>
              <p:cNvSpPr/>
              <p:nvPr/>
            </p:nvSpPr>
            <p:spPr>
              <a:xfrm>
                <a:off x="8205970" y="4148048"/>
                <a:ext cx="53718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Oval 50"/>
              <p:cNvSpPr/>
              <p:nvPr/>
            </p:nvSpPr>
            <p:spPr>
              <a:xfrm>
                <a:off x="8241094" y="4198720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Oval 51"/>
              <p:cNvSpPr/>
              <p:nvPr/>
            </p:nvSpPr>
            <p:spPr>
              <a:xfrm>
                <a:off x="8243159" y="4259948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Oval 52"/>
              <p:cNvSpPr/>
              <p:nvPr/>
            </p:nvSpPr>
            <p:spPr>
              <a:xfrm>
                <a:off x="8170847" y="4276838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Oval 53"/>
              <p:cNvSpPr/>
              <p:nvPr/>
            </p:nvSpPr>
            <p:spPr>
              <a:xfrm>
                <a:off x="8129525" y="4202942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6" name="Group 362"/>
          <p:cNvGrpSpPr/>
          <p:nvPr userDrawn="1"/>
        </p:nvGrpSpPr>
        <p:grpSpPr>
          <a:xfrm>
            <a:off x="5405034" y="4005064"/>
            <a:ext cx="3354303" cy="576000"/>
            <a:chOff x="4932104" y="4725144"/>
            <a:chExt cx="3096280" cy="576000"/>
          </a:xfrm>
        </p:grpSpPr>
        <p:pic>
          <p:nvPicPr>
            <p:cNvPr id="365" name="Picture 364" descr="1394032025_46-facebook.png"/>
            <p:cNvPicPr>
              <a:picLocks noChangeAspect="1"/>
            </p:cNvPicPr>
            <p:nvPr userDrawn="1"/>
          </p:nvPicPr>
          <p:blipFill>
            <a:blip r:embed="rId7" cstate="screen">
              <a:lum bright="100000"/>
            </a:blip>
            <a:stretch>
              <a:fillRect/>
            </a:stretch>
          </p:blipFill>
          <p:spPr>
            <a:xfrm>
              <a:off x="4932104" y="4725144"/>
              <a:ext cx="576000" cy="576000"/>
            </a:xfrm>
            <a:prstGeom prst="rect">
              <a:avLst/>
            </a:prstGeom>
          </p:spPr>
        </p:pic>
        <p:pic>
          <p:nvPicPr>
            <p:cNvPr id="366" name="Picture 365" descr="1394032040_11-linkedin.png"/>
            <p:cNvPicPr>
              <a:picLocks noChangeAspect="1"/>
            </p:cNvPicPr>
            <p:nvPr userDrawn="1"/>
          </p:nvPicPr>
          <p:blipFill>
            <a:blip r:embed="rId8" cstate="screen">
              <a:lum bright="100000"/>
            </a:blip>
            <a:stretch>
              <a:fillRect/>
            </a:stretch>
          </p:blipFill>
          <p:spPr>
            <a:xfrm>
              <a:off x="5784197" y="4743144"/>
              <a:ext cx="540000" cy="540000"/>
            </a:xfrm>
            <a:prstGeom prst="rect">
              <a:avLst/>
            </a:prstGeom>
          </p:spPr>
        </p:pic>
        <p:pic>
          <p:nvPicPr>
            <p:cNvPr id="367" name="Picture 366" descr="1394031971_45-twitter.png"/>
            <p:cNvPicPr>
              <a:picLocks noChangeAspect="1"/>
            </p:cNvPicPr>
            <p:nvPr userDrawn="1"/>
          </p:nvPicPr>
          <p:blipFill>
            <a:blip r:embed="rId9" cstate="screen">
              <a:lum bright="100000"/>
            </a:blip>
            <a:stretch>
              <a:fillRect/>
            </a:stretch>
          </p:blipFill>
          <p:spPr>
            <a:xfrm>
              <a:off x="6600290" y="4725144"/>
              <a:ext cx="576000" cy="576000"/>
            </a:xfrm>
            <a:prstGeom prst="rect">
              <a:avLst/>
            </a:prstGeom>
          </p:spPr>
        </p:pic>
        <p:pic>
          <p:nvPicPr>
            <p:cNvPr id="368" name="Picture 367" descr="1394031976_18-youtube.png"/>
            <p:cNvPicPr>
              <a:picLocks noChangeAspect="1"/>
            </p:cNvPicPr>
            <p:nvPr userDrawn="1"/>
          </p:nvPicPr>
          <p:blipFill>
            <a:blip r:embed="rId10" cstate="screen">
              <a:lum bright="100000"/>
            </a:blip>
            <a:stretch>
              <a:fillRect/>
            </a:stretch>
          </p:blipFill>
          <p:spPr>
            <a:xfrm>
              <a:off x="7452384" y="4725144"/>
              <a:ext cx="576000" cy="576000"/>
            </a:xfrm>
            <a:prstGeom prst="rect">
              <a:avLst/>
            </a:prstGeom>
          </p:spPr>
        </p:pic>
      </p:grpSp>
    </p:spTree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668674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669698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70722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71746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672770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76866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77890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78914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9" name="Picture 358" descr="Body Whole_Content Slide_PPT Template.png"/>
          <p:cNvPicPr preferRelativeResize="0">
            <a:picLocks/>
          </p:cNvPicPr>
          <p:nvPr userDrawn="1"/>
        </p:nvPicPr>
        <p:blipFill>
          <a:blip r:embed="rId4" cstate="screen"/>
          <a:stretch>
            <a:fillRect/>
          </a:stretch>
        </p:blipFill>
        <p:spPr>
          <a:xfrm>
            <a:off x="410" y="281"/>
            <a:ext cx="9905182" cy="5832000"/>
          </a:xfrm>
          <a:prstGeom prst="rect">
            <a:avLst/>
          </a:prstGeom>
        </p:spPr>
      </p:pic>
      <p:sp>
        <p:nvSpPr>
          <p:cNvPr id="358" name="TextBox 357"/>
          <p:cNvSpPr txBox="1"/>
          <p:nvPr userDrawn="1"/>
        </p:nvSpPr>
        <p:spPr>
          <a:xfrm>
            <a:off x="740532" y="1124745"/>
            <a:ext cx="3744416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041400"/>
            <a:r>
              <a:rPr lang="en-US" sz="3600" dirty="0" smtClean="0">
                <a:solidFill>
                  <a:prstClr val="white"/>
                </a:solidFill>
              </a:rPr>
              <a:t>About </a:t>
            </a:r>
            <a:r>
              <a:rPr lang="en-US" sz="3600" dirty="0" err="1" smtClean="0">
                <a:solidFill>
                  <a:prstClr val="white"/>
                </a:solidFill>
              </a:rPr>
              <a:t>Capgemini</a:t>
            </a:r>
            <a:endParaRPr lang="en-US" sz="3600" dirty="0" smtClean="0">
              <a:solidFill>
                <a:prstClr val="white"/>
              </a:solidFill>
            </a:endParaRPr>
          </a:p>
          <a:p>
            <a:pPr algn="just" defTabSz="1041400"/>
            <a:endParaRPr lang="en-US" sz="1800" dirty="0" smtClean="0">
              <a:solidFill>
                <a:prstClr val="white"/>
              </a:solidFill>
            </a:endParaRPr>
          </a:p>
          <a:p>
            <a:pPr defTabSz="1041400"/>
            <a:r>
              <a:rPr lang="en-US" sz="1200" dirty="0" smtClean="0">
                <a:solidFill>
                  <a:prstClr val="white"/>
                </a:solidFill>
              </a:rPr>
              <a:t>With more than 120,000 people in 40 countries, </a:t>
            </a:r>
            <a:r>
              <a:rPr lang="en-US" sz="1200" dirty="0" err="1" smtClean="0">
                <a:solidFill>
                  <a:prstClr val="white"/>
                </a:solidFill>
              </a:rPr>
              <a:t>Capgemini</a:t>
            </a:r>
            <a:r>
              <a:rPr lang="en-US" sz="1200" dirty="0" smtClean="0">
                <a:solidFill>
                  <a:prstClr val="white"/>
                </a:solidFill>
              </a:rPr>
              <a:t> is one of the world's foremost providers of consulting, technology and outsourcing services. The group reported 2011 global revenues of EUR 9.7 billion.</a:t>
            </a:r>
          </a:p>
          <a:p>
            <a:pPr defTabSz="1041400"/>
            <a:r>
              <a:rPr lang="en-US" sz="1200" dirty="0" smtClean="0">
                <a:solidFill>
                  <a:prstClr val="white"/>
                </a:solidFill>
              </a:rPr>
              <a:t>Together with its clients, </a:t>
            </a:r>
            <a:r>
              <a:rPr lang="en-US" sz="1200" dirty="0" err="1" smtClean="0">
                <a:solidFill>
                  <a:prstClr val="white"/>
                </a:solidFill>
              </a:rPr>
              <a:t>Capgemini</a:t>
            </a:r>
            <a:r>
              <a:rPr lang="en-US" sz="1200" dirty="0" smtClean="0">
                <a:solidFill>
                  <a:prstClr val="white"/>
                </a:solidFill>
              </a:rPr>
              <a:t> creates and delivers business and technology solutions that fit their needs and drive the results they want. A deeply multicultural organization, </a:t>
            </a:r>
            <a:r>
              <a:rPr lang="en-US" sz="1200" dirty="0" err="1" smtClean="0">
                <a:solidFill>
                  <a:prstClr val="white"/>
                </a:solidFill>
              </a:rPr>
              <a:t>Capgemini</a:t>
            </a:r>
            <a:r>
              <a:rPr lang="en-US" sz="1200" dirty="0" smtClean="0">
                <a:solidFill>
                  <a:prstClr val="white"/>
                </a:solidFill>
              </a:rPr>
              <a:t> has developed its own way of working, the Collaborative Business </a:t>
            </a:r>
            <a:r>
              <a:rPr lang="en-US" sz="1200" dirty="0" err="1" smtClean="0">
                <a:solidFill>
                  <a:prstClr val="white"/>
                </a:solidFill>
              </a:rPr>
              <a:t>Experience</a:t>
            </a:r>
            <a:r>
              <a:rPr lang="en-US" sz="1200" baseline="30000" dirty="0" err="1" smtClean="0">
                <a:solidFill>
                  <a:prstClr val="white"/>
                </a:solidFill>
              </a:rPr>
              <a:t>tm</a:t>
            </a:r>
            <a:r>
              <a:rPr lang="en-US" sz="1200" dirty="0" smtClean="0">
                <a:solidFill>
                  <a:prstClr val="white"/>
                </a:solidFill>
              </a:rPr>
              <a:t>, and draws on </a:t>
            </a:r>
            <a:r>
              <a:rPr lang="en-US" sz="1200" dirty="0" err="1" smtClean="0">
                <a:solidFill>
                  <a:prstClr val="white"/>
                </a:solidFill>
              </a:rPr>
              <a:t>Rightshore</a:t>
            </a:r>
            <a:r>
              <a:rPr lang="en-US" sz="1200" b="1" baseline="30000" dirty="0" smtClean="0">
                <a:solidFill>
                  <a:prstClr val="white"/>
                </a:solidFill>
              </a:rPr>
              <a:t> ®</a:t>
            </a:r>
            <a:r>
              <a:rPr lang="en-US" sz="1200" dirty="0" smtClean="0">
                <a:solidFill>
                  <a:prstClr val="white"/>
                </a:solidFill>
              </a:rPr>
              <a:t>, its worldwide delivery model.</a:t>
            </a:r>
          </a:p>
          <a:p>
            <a:pPr defTabSz="1041400"/>
            <a:endParaRPr lang="en-US" sz="1200" dirty="0" smtClean="0">
              <a:solidFill>
                <a:prstClr val="white"/>
              </a:solidFill>
            </a:endParaRPr>
          </a:p>
          <a:p>
            <a:pPr defTabSz="1041400"/>
            <a:r>
              <a:rPr lang="en-US" sz="1200" i="1" dirty="0" err="1" smtClean="0">
                <a:solidFill>
                  <a:prstClr val="white"/>
                </a:solidFill>
              </a:rPr>
              <a:t>Rightshore</a:t>
            </a:r>
            <a:r>
              <a:rPr lang="en-US" sz="1200" i="1" baseline="30000" dirty="0" smtClean="0">
                <a:solidFill>
                  <a:prstClr val="white"/>
                </a:solidFill>
              </a:rPr>
              <a:t>®</a:t>
            </a:r>
            <a:r>
              <a:rPr lang="en-US" sz="1200" i="1" dirty="0" smtClean="0">
                <a:solidFill>
                  <a:prstClr val="white"/>
                </a:solidFill>
              </a:rPr>
              <a:t> is a trademark belonging to </a:t>
            </a:r>
            <a:r>
              <a:rPr lang="en-US" sz="1200" i="1" dirty="0" err="1" smtClean="0">
                <a:solidFill>
                  <a:prstClr val="white"/>
                </a:solidFill>
              </a:rPr>
              <a:t>Capgemini</a:t>
            </a:r>
            <a:endParaRPr lang="en-US" sz="1200" b="1" noProof="1" smtClean="0">
              <a:solidFill>
                <a:prstClr val="white"/>
              </a:solidFill>
            </a:endParaRPr>
          </a:p>
        </p:txBody>
      </p:sp>
      <p:pic>
        <p:nvPicPr>
          <p:cNvPr id="361" name="Picture 360" descr="capgemini logo.png"/>
          <p:cNvPicPr>
            <a:picLocks noChangeAspect="1"/>
          </p:cNvPicPr>
          <p:nvPr userDrawn="1"/>
        </p:nvPicPr>
        <p:blipFill>
          <a:blip r:embed="rId5" cstate="screen">
            <a:lum/>
          </a:blip>
          <a:stretch>
            <a:fillRect/>
          </a:stretch>
        </p:blipFill>
        <p:spPr>
          <a:xfrm>
            <a:off x="350493" y="6083066"/>
            <a:ext cx="2393651" cy="514286"/>
          </a:xfrm>
          <a:prstGeom prst="rect">
            <a:avLst/>
          </a:prstGeom>
        </p:spPr>
      </p:pic>
      <p:pic>
        <p:nvPicPr>
          <p:cNvPr id="362" name="Image 7" descr="Capgemini_Slogan_RGB.png"/>
          <p:cNvPicPr>
            <a:picLocks noChangeAspect="1"/>
          </p:cNvPicPr>
          <p:nvPr userDrawn="1"/>
        </p:nvPicPr>
        <p:blipFill>
          <a:blip r:embed="rId6" cstate="screen">
            <a:lum/>
          </a:blip>
          <a:stretch>
            <a:fillRect/>
          </a:stretch>
        </p:blipFill>
        <p:spPr>
          <a:xfrm>
            <a:off x="6744477" y="6314262"/>
            <a:ext cx="2967052" cy="283099"/>
          </a:xfrm>
          <a:prstGeom prst="rect">
            <a:avLst/>
          </a:prstGeom>
        </p:spPr>
      </p:pic>
      <p:sp>
        <p:nvSpPr>
          <p:cNvPr id="364" name="TextBox 363"/>
          <p:cNvSpPr txBox="1"/>
          <p:nvPr userDrawn="1"/>
        </p:nvSpPr>
        <p:spPr>
          <a:xfrm>
            <a:off x="5600021" y="3513207"/>
            <a:ext cx="29643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1800" dirty="0" smtClean="0">
                <a:solidFill>
                  <a:prstClr val="white"/>
                </a:solidFill>
              </a:rPr>
              <a:t>www.capgemini.com</a:t>
            </a:r>
            <a:endParaRPr lang="en-US" sz="1800" dirty="0">
              <a:solidFill>
                <a:prstClr val="white"/>
              </a:solidFill>
            </a:endParaRPr>
          </a:p>
        </p:txBody>
      </p:sp>
      <p:grpSp>
        <p:nvGrpSpPr>
          <p:cNvPr id="2" name="Group 359"/>
          <p:cNvGrpSpPr/>
          <p:nvPr userDrawn="1"/>
        </p:nvGrpSpPr>
        <p:grpSpPr>
          <a:xfrm>
            <a:off x="5076905" y="1239269"/>
            <a:ext cx="4010554" cy="2117725"/>
            <a:chOff x="4686374" y="1412776"/>
            <a:chExt cx="3702050" cy="2117725"/>
          </a:xfrm>
        </p:grpSpPr>
        <p:grpSp>
          <p:nvGrpSpPr>
            <p:cNvPr id="3" name="Group 54"/>
            <p:cNvGrpSpPr>
              <a:grpSpLocks/>
            </p:cNvGrpSpPr>
            <p:nvPr userDrawn="1">
              <p:custDataLst>
                <p:tags r:id="rId1"/>
              </p:custDataLst>
            </p:nvPr>
          </p:nvGrpSpPr>
          <p:grpSpPr bwMode="auto">
            <a:xfrm>
              <a:off x="4686374" y="1412776"/>
              <a:ext cx="3702050" cy="2117725"/>
              <a:chOff x="-6346822" y="2366960"/>
              <a:chExt cx="5613397" cy="3281360"/>
            </a:xfrm>
            <a:solidFill>
              <a:schemeClr val="bg1"/>
            </a:solidFill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  <a:grpFill/>
            </p:grpSpPr>
            <p:sp>
              <p:nvSpPr>
                <p:cNvPr id="157" name="Freeform 5"/>
                <p:cNvSpPr>
                  <a:spLocks noEditPoints="1"/>
                </p:cNvSpPr>
                <p:nvPr/>
              </p:nvSpPr>
              <p:spPr bwMode="auto">
                <a:xfrm>
                  <a:off x="-2016" y="3070"/>
                  <a:ext cx="136" cy="2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8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9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0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2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1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2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2" name="Freeform 10"/>
                <p:cNvSpPr>
                  <a:spLocks noEditPoints="1"/>
                </p:cNvSpPr>
                <p:nvPr/>
              </p:nvSpPr>
              <p:spPr bwMode="auto">
                <a:xfrm>
                  <a:off x="-2263" y="1682"/>
                  <a:ext cx="1069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3" name="Freeform 11"/>
                <p:cNvSpPr>
                  <a:spLocks noEditPoints="1"/>
                </p:cNvSpPr>
                <p:nvPr/>
              </p:nvSpPr>
              <p:spPr bwMode="auto">
                <a:xfrm>
                  <a:off x="-3519" y="1682"/>
                  <a:ext cx="531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4" name="Freeform 12"/>
                <p:cNvSpPr>
                  <a:spLocks/>
                </p:cNvSpPr>
                <p:nvPr/>
              </p:nvSpPr>
              <p:spPr bwMode="auto">
                <a:xfrm>
                  <a:off x="-1232" y="1987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5" name="Freeform 13"/>
                <p:cNvSpPr>
                  <a:spLocks/>
                </p:cNvSpPr>
                <p:nvPr/>
              </p:nvSpPr>
              <p:spPr bwMode="auto">
                <a:xfrm>
                  <a:off x="-1116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6" name="Freeform 14"/>
                <p:cNvSpPr>
                  <a:spLocks noEditPoints="1"/>
                </p:cNvSpPr>
                <p:nvPr/>
              </p:nvSpPr>
              <p:spPr bwMode="auto">
                <a:xfrm>
                  <a:off x="-1103" y="2260"/>
                  <a:ext cx="171" cy="1016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7" name="Freeform 15"/>
                <p:cNvSpPr>
                  <a:spLocks/>
                </p:cNvSpPr>
                <p:nvPr/>
              </p:nvSpPr>
              <p:spPr bwMode="auto">
                <a:xfrm>
                  <a:off x="-981" y="3070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8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9" name="Freeform 17"/>
                <p:cNvSpPr>
                  <a:spLocks noEditPoints="1"/>
                </p:cNvSpPr>
                <p:nvPr/>
              </p:nvSpPr>
              <p:spPr bwMode="auto">
                <a:xfrm>
                  <a:off x="-1749" y="1524"/>
                  <a:ext cx="843" cy="1831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0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1" name="Freeform 19"/>
                <p:cNvSpPr>
                  <a:spLocks/>
                </p:cNvSpPr>
                <p:nvPr/>
              </p:nvSpPr>
              <p:spPr bwMode="auto">
                <a:xfrm>
                  <a:off x="-1499" y="1682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2" name="Freeform 20"/>
                <p:cNvSpPr>
                  <a:spLocks noEditPoints="1"/>
                </p:cNvSpPr>
                <p:nvPr/>
              </p:nvSpPr>
              <p:spPr bwMode="auto">
                <a:xfrm>
                  <a:off x="-2620" y="2810"/>
                  <a:ext cx="179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3" name="Freeform 21"/>
                <p:cNvSpPr>
                  <a:spLocks noEditPoints="1"/>
                </p:cNvSpPr>
                <p:nvPr/>
              </p:nvSpPr>
              <p:spPr bwMode="auto">
                <a:xfrm>
                  <a:off x="-2620" y="2810"/>
                  <a:ext cx="179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4" name="Freeform 22"/>
                <p:cNvSpPr>
                  <a:spLocks/>
                </p:cNvSpPr>
                <p:nvPr/>
              </p:nvSpPr>
              <p:spPr bwMode="auto">
                <a:xfrm>
                  <a:off x="-1032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5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6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2"/>
                  <a:ext cx="396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7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5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8" name="Freeform 26"/>
                <p:cNvSpPr>
                  <a:spLocks noEditPoints="1"/>
                </p:cNvSpPr>
                <p:nvPr/>
              </p:nvSpPr>
              <p:spPr bwMode="auto">
                <a:xfrm>
                  <a:off x="-2019" y="3355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9" name="Freeform 27"/>
                <p:cNvSpPr>
                  <a:spLocks/>
                </p:cNvSpPr>
                <p:nvPr/>
              </p:nvSpPr>
              <p:spPr bwMode="auto">
                <a:xfrm>
                  <a:off x="-912" y="3355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0" name="Freeform 28"/>
                <p:cNvSpPr>
                  <a:spLocks/>
                </p:cNvSpPr>
                <p:nvPr/>
              </p:nvSpPr>
              <p:spPr bwMode="auto">
                <a:xfrm>
                  <a:off x="-808" y="3357"/>
                  <a:ext cx="2" cy="0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1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2" name="Freeform 30"/>
                <p:cNvSpPr>
                  <a:spLocks/>
                </p:cNvSpPr>
                <p:nvPr/>
              </p:nvSpPr>
              <p:spPr bwMode="auto">
                <a:xfrm>
                  <a:off x="-1103" y="2256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3" name="Freeform 31"/>
                <p:cNvSpPr>
                  <a:spLocks/>
                </p:cNvSpPr>
                <p:nvPr/>
              </p:nvSpPr>
              <p:spPr bwMode="auto">
                <a:xfrm>
                  <a:off x="-2382" y="1987"/>
                  <a:ext cx="91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4" name="Freeform 32"/>
                <p:cNvSpPr>
                  <a:spLocks/>
                </p:cNvSpPr>
                <p:nvPr/>
              </p:nvSpPr>
              <p:spPr bwMode="auto">
                <a:xfrm>
                  <a:off x="-2369" y="2222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5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5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6" name="Freeform 34"/>
                <p:cNvSpPr>
                  <a:spLocks/>
                </p:cNvSpPr>
                <p:nvPr/>
              </p:nvSpPr>
              <p:spPr bwMode="auto">
                <a:xfrm>
                  <a:off x="-2210" y="1754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7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8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9" name="Freeform 37"/>
                <p:cNvSpPr>
                  <a:spLocks noEditPoints="1"/>
                </p:cNvSpPr>
                <p:nvPr/>
              </p:nvSpPr>
              <p:spPr bwMode="auto">
                <a:xfrm>
                  <a:off x="-2201" y="1987"/>
                  <a:ext cx="53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0" name="Freeform 38"/>
                <p:cNvSpPr>
                  <a:spLocks/>
                </p:cNvSpPr>
                <p:nvPr/>
              </p:nvSpPr>
              <p:spPr bwMode="auto">
                <a:xfrm>
                  <a:off x="-2197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1" name="Freeform 39"/>
                <p:cNvSpPr>
                  <a:spLocks noEditPoints="1"/>
                </p:cNvSpPr>
                <p:nvPr/>
              </p:nvSpPr>
              <p:spPr bwMode="auto">
                <a:xfrm>
                  <a:off x="-2222" y="2260"/>
                  <a:ext cx="85" cy="1016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2" name="Freeform 40"/>
                <p:cNvSpPr>
                  <a:spLocks/>
                </p:cNvSpPr>
                <p:nvPr/>
              </p:nvSpPr>
              <p:spPr bwMode="auto">
                <a:xfrm>
                  <a:off x="-2171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3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4" name="Freeform 42"/>
                <p:cNvSpPr>
                  <a:spLocks noEditPoints="1"/>
                </p:cNvSpPr>
                <p:nvPr/>
              </p:nvSpPr>
              <p:spPr bwMode="auto">
                <a:xfrm>
                  <a:off x="-2151" y="1522"/>
                  <a:ext cx="182" cy="1833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5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6" name="Freeform 44"/>
                <p:cNvSpPr>
                  <a:spLocks/>
                </p:cNvSpPr>
                <p:nvPr/>
              </p:nvSpPr>
              <p:spPr bwMode="auto">
                <a:xfrm>
                  <a:off x="-2210" y="2810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7" name="Freeform 45"/>
                <p:cNvSpPr>
                  <a:spLocks/>
                </p:cNvSpPr>
                <p:nvPr/>
              </p:nvSpPr>
              <p:spPr bwMode="auto">
                <a:xfrm>
                  <a:off x="-2144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8" name="Freeform 46"/>
                <p:cNvSpPr>
                  <a:spLocks/>
                </p:cNvSpPr>
                <p:nvPr/>
              </p:nvSpPr>
              <p:spPr bwMode="auto">
                <a:xfrm>
                  <a:off x="-2128" y="3357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9" name="Freeform 47"/>
                <p:cNvSpPr>
                  <a:spLocks/>
                </p:cNvSpPr>
                <p:nvPr/>
              </p:nvSpPr>
              <p:spPr bwMode="auto">
                <a:xfrm>
                  <a:off x="-2128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0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1" name="Freeform 49"/>
                <p:cNvSpPr>
                  <a:spLocks/>
                </p:cNvSpPr>
                <p:nvPr/>
              </p:nvSpPr>
              <p:spPr bwMode="auto">
                <a:xfrm>
                  <a:off x="-2201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2" name="Freeform 50"/>
                <p:cNvSpPr>
                  <a:spLocks/>
                </p:cNvSpPr>
                <p:nvPr/>
              </p:nvSpPr>
              <p:spPr bwMode="auto">
                <a:xfrm>
                  <a:off x="-2019" y="1987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3" name="Freeform 51"/>
                <p:cNvSpPr>
                  <a:spLocks/>
                </p:cNvSpPr>
                <p:nvPr/>
              </p:nvSpPr>
              <p:spPr bwMode="auto">
                <a:xfrm>
                  <a:off x="-2016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4" name="Freeform 52"/>
                <p:cNvSpPr>
                  <a:spLocks noEditPoints="1"/>
                </p:cNvSpPr>
                <p:nvPr/>
              </p:nvSpPr>
              <p:spPr bwMode="auto">
                <a:xfrm>
                  <a:off x="-2028" y="2260"/>
                  <a:ext cx="14" cy="1016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5" name="Freeform 53"/>
                <p:cNvSpPr>
                  <a:spLocks/>
                </p:cNvSpPr>
                <p:nvPr/>
              </p:nvSpPr>
              <p:spPr bwMode="auto">
                <a:xfrm>
                  <a:off x="-2022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6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7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3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8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9" name="Freeform 57"/>
                <p:cNvSpPr>
                  <a:spLocks/>
                </p:cNvSpPr>
                <p:nvPr/>
              </p:nvSpPr>
              <p:spPr bwMode="auto">
                <a:xfrm>
                  <a:off x="-2027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0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1" name="Freeform 59"/>
                <p:cNvSpPr>
                  <a:spLocks/>
                </p:cNvSpPr>
                <p:nvPr/>
              </p:nvSpPr>
              <p:spPr bwMode="auto">
                <a:xfrm>
                  <a:off x="-2027" y="3357"/>
                  <a:ext cx="8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2" name="Freeform 60"/>
                <p:cNvSpPr>
                  <a:spLocks/>
                </p:cNvSpPr>
                <p:nvPr/>
              </p:nvSpPr>
              <p:spPr bwMode="auto">
                <a:xfrm>
                  <a:off x="-2024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3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4" name="Freeform 62"/>
                <p:cNvSpPr>
                  <a:spLocks/>
                </p:cNvSpPr>
                <p:nvPr/>
              </p:nvSpPr>
              <p:spPr bwMode="auto">
                <a:xfrm>
                  <a:off x="-2019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5" name="Freeform 63"/>
                <p:cNvSpPr>
                  <a:spLocks/>
                </p:cNvSpPr>
                <p:nvPr/>
              </p:nvSpPr>
              <p:spPr bwMode="auto">
                <a:xfrm>
                  <a:off x="-1840" y="1987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6" name="Freeform 64"/>
                <p:cNvSpPr>
                  <a:spLocks/>
                </p:cNvSpPr>
                <p:nvPr/>
              </p:nvSpPr>
              <p:spPr bwMode="auto">
                <a:xfrm>
                  <a:off x="-1830" y="2222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7" name="Freeform 65"/>
                <p:cNvSpPr>
                  <a:spLocks noEditPoints="1"/>
                </p:cNvSpPr>
                <p:nvPr/>
              </p:nvSpPr>
              <p:spPr bwMode="auto">
                <a:xfrm>
                  <a:off x="-1912" y="2260"/>
                  <a:ext cx="83" cy="1016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8" name="Freeform 66"/>
                <p:cNvSpPr>
                  <a:spLocks/>
                </p:cNvSpPr>
                <p:nvPr/>
              </p:nvSpPr>
              <p:spPr bwMode="auto">
                <a:xfrm>
                  <a:off x="-1880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9" name="Freeform 67"/>
                <p:cNvSpPr>
                  <a:spLocks noEditPoints="1"/>
                </p:cNvSpPr>
                <p:nvPr/>
              </p:nvSpPr>
              <p:spPr bwMode="auto">
                <a:xfrm>
                  <a:off x="-1934" y="1522"/>
                  <a:ext cx="100" cy="1833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0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1" name="Freeform 69"/>
                <p:cNvSpPr>
                  <a:spLocks/>
                </p:cNvSpPr>
                <p:nvPr/>
              </p:nvSpPr>
              <p:spPr bwMode="auto">
                <a:xfrm>
                  <a:off x="-1868" y="1682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2" name="Freeform 70"/>
                <p:cNvSpPr>
                  <a:spLocks/>
                </p:cNvSpPr>
                <p:nvPr/>
              </p:nvSpPr>
              <p:spPr bwMode="auto">
                <a:xfrm>
                  <a:off x="-1842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3" name="Freeform 71"/>
                <p:cNvSpPr>
                  <a:spLocks/>
                </p:cNvSpPr>
                <p:nvPr/>
              </p:nvSpPr>
              <p:spPr bwMode="auto">
                <a:xfrm>
                  <a:off x="-1912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4" name="Freeform 72"/>
                <p:cNvSpPr>
                  <a:spLocks/>
                </p:cNvSpPr>
                <p:nvPr/>
              </p:nvSpPr>
              <p:spPr bwMode="auto">
                <a:xfrm>
                  <a:off x="-1946" y="3355"/>
                  <a:ext cx="17" cy="37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5" name="Freeform 73"/>
                <p:cNvSpPr>
                  <a:spLocks/>
                </p:cNvSpPr>
                <p:nvPr/>
              </p:nvSpPr>
              <p:spPr bwMode="auto">
                <a:xfrm>
                  <a:off x="-1934" y="3355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6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7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8" name="Freeform 76"/>
                <p:cNvSpPr>
                  <a:spLocks noEditPoints="1"/>
                </p:cNvSpPr>
                <p:nvPr/>
              </p:nvSpPr>
              <p:spPr bwMode="auto">
                <a:xfrm>
                  <a:off x="-1664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9" name="Freeform 77"/>
                <p:cNvSpPr>
                  <a:spLocks/>
                </p:cNvSpPr>
                <p:nvPr/>
              </p:nvSpPr>
              <p:spPr bwMode="auto">
                <a:xfrm>
                  <a:off x="-161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0" name="Freeform 78"/>
                <p:cNvSpPr>
                  <a:spLocks/>
                </p:cNvSpPr>
                <p:nvPr/>
              </p:nvSpPr>
              <p:spPr bwMode="auto">
                <a:xfrm>
                  <a:off x="-1667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1" name="Freeform 79"/>
                <p:cNvSpPr>
                  <a:spLocks/>
                </p:cNvSpPr>
                <p:nvPr/>
              </p:nvSpPr>
              <p:spPr bwMode="auto">
                <a:xfrm>
                  <a:off x="-1429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2" name="Freeform 80"/>
                <p:cNvSpPr>
                  <a:spLocks/>
                </p:cNvSpPr>
                <p:nvPr/>
              </p:nvSpPr>
              <p:spPr bwMode="auto">
                <a:xfrm>
                  <a:off x="-1458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3" name="Freeform 81"/>
                <p:cNvSpPr>
                  <a:spLocks/>
                </p:cNvSpPr>
                <p:nvPr/>
              </p:nvSpPr>
              <p:spPr bwMode="auto">
                <a:xfrm>
                  <a:off x="-1376" y="1987"/>
                  <a:ext cx="100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4" name="Freeform 82"/>
                <p:cNvSpPr>
                  <a:spLocks/>
                </p:cNvSpPr>
                <p:nvPr/>
              </p:nvSpPr>
              <p:spPr bwMode="auto">
                <a:xfrm>
                  <a:off x="-1288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5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60"/>
                  <a:ext cx="232" cy="1016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6" name="Freeform 84"/>
                <p:cNvSpPr>
                  <a:spLocks/>
                </p:cNvSpPr>
                <p:nvPr/>
              </p:nvSpPr>
              <p:spPr bwMode="auto">
                <a:xfrm>
                  <a:off x="-1120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7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8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8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6" cy="1831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9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0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2" cy="2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800" baseline="-25000">
                    <a:solidFill>
                      <a:prstClr val="black"/>
                    </a:solidFill>
                    <a:latin typeface="Calibri" pitchFamily="34" charset="0"/>
                  </a:endParaRPr>
                </a:p>
              </p:txBody>
            </p:sp>
            <p:sp>
              <p:nvSpPr>
                <p:cNvPr id="241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2" name="Freeform 90"/>
                <p:cNvSpPr>
                  <a:spLocks/>
                </p:cNvSpPr>
                <p:nvPr/>
              </p:nvSpPr>
              <p:spPr bwMode="auto">
                <a:xfrm>
                  <a:off x="-1210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3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4" name="Freeform 92"/>
                <p:cNvSpPr>
                  <a:spLocks/>
                </p:cNvSpPr>
                <p:nvPr/>
              </p:nvSpPr>
              <p:spPr bwMode="auto">
                <a:xfrm>
                  <a:off x="-1014" y="3357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5" name="Freeform 93"/>
                <p:cNvSpPr>
                  <a:spLocks/>
                </p:cNvSpPr>
                <p:nvPr/>
              </p:nvSpPr>
              <p:spPr bwMode="auto">
                <a:xfrm>
                  <a:off x="-1014" y="3355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6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7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8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9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9" name="Freeform 97"/>
                <p:cNvSpPr>
                  <a:spLocks/>
                </p:cNvSpPr>
                <p:nvPr/>
              </p:nvSpPr>
              <p:spPr bwMode="auto">
                <a:xfrm>
                  <a:off x="-107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0" name="Freeform 98"/>
                <p:cNvSpPr>
                  <a:spLocks/>
                </p:cNvSpPr>
                <p:nvPr/>
              </p:nvSpPr>
              <p:spPr bwMode="auto">
                <a:xfrm>
                  <a:off x="-1205" y="1682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1" name="Freeform 99"/>
                <p:cNvSpPr>
                  <a:spLocks/>
                </p:cNvSpPr>
                <p:nvPr/>
              </p:nvSpPr>
              <p:spPr bwMode="auto">
                <a:xfrm>
                  <a:off x="-955" y="1987"/>
                  <a:ext cx="217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2" name="Freeform 100"/>
                <p:cNvSpPr>
                  <a:spLocks/>
                </p:cNvSpPr>
                <p:nvPr/>
              </p:nvSpPr>
              <p:spPr bwMode="auto">
                <a:xfrm>
                  <a:off x="-761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3" name="Freeform 101"/>
                <p:cNvSpPr>
                  <a:spLocks noEditPoints="1"/>
                </p:cNvSpPr>
                <p:nvPr/>
              </p:nvSpPr>
              <p:spPr bwMode="auto">
                <a:xfrm>
                  <a:off x="-741" y="2260"/>
                  <a:ext cx="89" cy="1016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4" name="Freeform 102"/>
                <p:cNvSpPr>
                  <a:spLocks/>
                </p:cNvSpPr>
                <p:nvPr/>
              </p:nvSpPr>
              <p:spPr bwMode="auto">
                <a:xfrm>
                  <a:off x="-685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5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6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90" cy="1876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7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8" name="Freeform 106"/>
                <p:cNvSpPr>
                  <a:spLocks/>
                </p:cNvSpPr>
                <p:nvPr/>
              </p:nvSpPr>
              <p:spPr bwMode="auto">
                <a:xfrm>
                  <a:off x="-1297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9" name="Freeform 107"/>
                <p:cNvSpPr>
                  <a:spLocks/>
                </p:cNvSpPr>
                <p:nvPr/>
              </p:nvSpPr>
              <p:spPr bwMode="auto">
                <a:xfrm>
                  <a:off x="-656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0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1" name="Freeform 109"/>
                <p:cNvSpPr>
                  <a:spLocks/>
                </p:cNvSpPr>
                <p:nvPr/>
              </p:nvSpPr>
              <p:spPr bwMode="auto">
                <a:xfrm>
                  <a:off x="-711" y="3355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2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3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8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4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7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5" name="Freeform 113"/>
                <p:cNvSpPr>
                  <a:spLocks/>
                </p:cNvSpPr>
                <p:nvPr/>
              </p:nvSpPr>
              <p:spPr bwMode="auto">
                <a:xfrm>
                  <a:off x="-943" y="2222"/>
                  <a:ext cx="8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6" name="Freeform 114"/>
                <p:cNvSpPr>
                  <a:spLocks noEditPoints="1"/>
                </p:cNvSpPr>
                <p:nvPr/>
              </p:nvSpPr>
              <p:spPr bwMode="auto">
                <a:xfrm>
                  <a:off x="-923" y="2260"/>
                  <a:ext cx="108" cy="1016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7" name="Freeform 115"/>
                <p:cNvSpPr>
                  <a:spLocks/>
                </p:cNvSpPr>
                <p:nvPr/>
              </p:nvSpPr>
              <p:spPr bwMode="auto">
                <a:xfrm>
                  <a:off x="-835" y="3070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8" name="Freeform 116"/>
                <p:cNvSpPr>
                  <a:spLocks noEditPoints="1"/>
                </p:cNvSpPr>
                <p:nvPr/>
              </p:nvSpPr>
              <p:spPr bwMode="auto">
                <a:xfrm>
                  <a:off x="-1711" y="1524"/>
                  <a:ext cx="905" cy="1833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9" name="Freeform 117"/>
                <p:cNvSpPr>
                  <a:spLocks/>
                </p:cNvSpPr>
                <p:nvPr/>
              </p:nvSpPr>
              <p:spPr bwMode="auto">
                <a:xfrm>
                  <a:off x="-1297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0" name="Freeform 118"/>
                <p:cNvSpPr>
                  <a:spLocks/>
                </p:cNvSpPr>
                <p:nvPr/>
              </p:nvSpPr>
              <p:spPr bwMode="auto">
                <a:xfrm>
                  <a:off x="-843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1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2" name="Freeform 120"/>
                <p:cNvSpPr>
                  <a:spLocks/>
                </p:cNvSpPr>
                <p:nvPr/>
              </p:nvSpPr>
              <p:spPr bwMode="auto">
                <a:xfrm>
                  <a:off x="-809" y="3357"/>
                  <a:ext cx="2" cy="0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3" name="Freeform 121"/>
                <p:cNvSpPr>
                  <a:spLocks/>
                </p:cNvSpPr>
                <p:nvPr/>
              </p:nvSpPr>
              <p:spPr bwMode="auto">
                <a:xfrm>
                  <a:off x="-809" y="3355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4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5" name="Freeform 123"/>
                <p:cNvSpPr>
                  <a:spLocks/>
                </p:cNvSpPr>
                <p:nvPr/>
              </p:nvSpPr>
              <p:spPr bwMode="auto">
                <a:xfrm>
                  <a:off x="-923" y="2256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6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2"/>
                  <a:ext cx="106" cy="824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7" name="Freeform 125"/>
                <p:cNvSpPr>
                  <a:spLocks/>
                </p:cNvSpPr>
                <p:nvPr/>
              </p:nvSpPr>
              <p:spPr bwMode="auto">
                <a:xfrm>
                  <a:off x="-2667" y="3070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8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9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9" name="Freeform 127"/>
                <p:cNvSpPr>
                  <a:spLocks/>
                </p:cNvSpPr>
                <p:nvPr/>
              </p:nvSpPr>
              <p:spPr bwMode="auto">
                <a:xfrm>
                  <a:off x="-2623" y="2810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0" name="Freeform 128"/>
                <p:cNvSpPr>
                  <a:spLocks/>
                </p:cNvSpPr>
                <p:nvPr/>
              </p:nvSpPr>
              <p:spPr bwMode="auto">
                <a:xfrm>
                  <a:off x="-2702" y="3276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1" name="Freeform 129"/>
                <p:cNvSpPr>
                  <a:spLocks/>
                </p:cNvSpPr>
                <p:nvPr/>
              </p:nvSpPr>
              <p:spPr bwMode="auto">
                <a:xfrm>
                  <a:off x="-2718" y="3355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2" name="Freeform 130"/>
                <p:cNvSpPr>
                  <a:spLocks/>
                </p:cNvSpPr>
                <p:nvPr/>
              </p:nvSpPr>
              <p:spPr bwMode="auto">
                <a:xfrm>
                  <a:off x="-260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3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7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4" name="Freeform 132"/>
                <p:cNvSpPr>
                  <a:spLocks/>
                </p:cNvSpPr>
                <p:nvPr/>
              </p:nvSpPr>
              <p:spPr bwMode="auto">
                <a:xfrm>
                  <a:off x="-3760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5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6" name="Freeform 134"/>
                <p:cNvSpPr>
                  <a:spLocks/>
                </p:cNvSpPr>
                <p:nvPr/>
              </p:nvSpPr>
              <p:spPr bwMode="auto">
                <a:xfrm>
                  <a:off x="-3566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7" name="Freeform 135"/>
                <p:cNvSpPr>
                  <a:spLocks/>
                </p:cNvSpPr>
                <p:nvPr/>
              </p:nvSpPr>
              <p:spPr bwMode="auto">
                <a:xfrm>
                  <a:off x="-3513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8" name="Freeform 136"/>
                <p:cNvSpPr>
                  <a:spLocks noEditPoints="1"/>
                </p:cNvSpPr>
                <p:nvPr/>
              </p:nvSpPr>
              <p:spPr bwMode="auto">
                <a:xfrm>
                  <a:off x="-3801" y="2260"/>
                  <a:ext cx="36" cy="1016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9" name="Freeform 137"/>
                <p:cNvSpPr>
                  <a:spLocks/>
                </p:cNvSpPr>
                <p:nvPr/>
              </p:nvSpPr>
              <p:spPr bwMode="auto">
                <a:xfrm>
                  <a:off x="-3795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0" name="Freeform 138"/>
                <p:cNvSpPr>
                  <a:spLocks/>
                </p:cNvSpPr>
                <p:nvPr/>
              </p:nvSpPr>
              <p:spPr bwMode="auto">
                <a:xfrm>
                  <a:off x="-3798" y="2861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1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5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2" name="Freeform 140"/>
                <p:cNvSpPr>
                  <a:spLocks/>
                </p:cNvSpPr>
                <p:nvPr/>
              </p:nvSpPr>
              <p:spPr bwMode="auto">
                <a:xfrm>
                  <a:off x="-3798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3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4" name="Freeform 142"/>
                <p:cNvSpPr>
                  <a:spLocks/>
                </p:cNvSpPr>
                <p:nvPr/>
              </p:nvSpPr>
              <p:spPr bwMode="auto">
                <a:xfrm>
                  <a:off x="-3790" y="3352"/>
                  <a:ext cx="5" cy="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5" name="Freeform 143"/>
                <p:cNvSpPr>
                  <a:spLocks/>
                </p:cNvSpPr>
                <p:nvPr/>
              </p:nvSpPr>
              <p:spPr bwMode="auto">
                <a:xfrm>
                  <a:off x="-3801" y="2498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6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7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7"/>
                  <a:ext cx="168" cy="1289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8" name="Freeform 146"/>
                <p:cNvSpPr>
                  <a:spLocks/>
                </p:cNvSpPr>
                <p:nvPr/>
              </p:nvSpPr>
              <p:spPr bwMode="auto">
                <a:xfrm>
                  <a:off x="-3642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9" name="Freeform 147"/>
                <p:cNvSpPr>
                  <a:spLocks/>
                </p:cNvSpPr>
                <p:nvPr/>
              </p:nvSpPr>
              <p:spPr bwMode="auto">
                <a:xfrm>
                  <a:off x="-3607" y="2861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0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1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2" name="Freeform 150"/>
                <p:cNvSpPr>
                  <a:spLocks/>
                </p:cNvSpPr>
                <p:nvPr/>
              </p:nvSpPr>
              <p:spPr bwMode="auto">
                <a:xfrm>
                  <a:off x="-3608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3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4" name="Freeform 152"/>
                <p:cNvSpPr>
                  <a:spLocks/>
                </p:cNvSpPr>
                <p:nvPr/>
              </p:nvSpPr>
              <p:spPr bwMode="auto">
                <a:xfrm>
                  <a:off x="-3689" y="3352"/>
                  <a:ext cx="5" cy="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5" name="Freeform 153"/>
                <p:cNvSpPr>
                  <a:spLocks/>
                </p:cNvSpPr>
                <p:nvPr/>
              </p:nvSpPr>
              <p:spPr bwMode="auto">
                <a:xfrm>
                  <a:off x="-3607" y="2498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6" name="Freeform 154"/>
                <p:cNvSpPr>
                  <a:spLocks/>
                </p:cNvSpPr>
                <p:nvPr/>
              </p:nvSpPr>
              <p:spPr bwMode="auto">
                <a:xfrm>
                  <a:off x="-358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7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7"/>
                  <a:ext cx="44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8" name="Freeform 156"/>
                <p:cNvSpPr>
                  <a:spLocks/>
                </p:cNvSpPr>
                <p:nvPr/>
              </p:nvSpPr>
              <p:spPr bwMode="auto">
                <a:xfrm>
                  <a:off x="-3393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9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8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0" name="Freeform 158"/>
                <p:cNvSpPr>
                  <a:spLocks/>
                </p:cNvSpPr>
                <p:nvPr/>
              </p:nvSpPr>
              <p:spPr bwMode="auto">
                <a:xfrm>
                  <a:off x="-3334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1" name="Freeform 159"/>
                <p:cNvSpPr>
                  <a:spLocks/>
                </p:cNvSpPr>
                <p:nvPr/>
              </p:nvSpPr>
              <p:spPr bwMode="auto">
                <a:xfrm>
                  <a:off x="-3314" y="1682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2" name="Freeform 160"/>
                <p:cNvSpPr>
                  <a:spLocks noEditPoints="1"/>
                </p:cNvSpPr>
                <p:nvPr/>
              </p:nvSpPr>
              <p:spPr bwMode="auto">
                <a:xfrm>
                  <a:off x="-3557" y="2260"/>
                  <a:ext cx="167" cy="1016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3" name="Freeform 161"/>
                <p:cNvSpPr>
                  <a:spLocks/>
                </p:cNvSpPr>
                <p:nvPr/>
              </p:nvSpPr>
              <p:spPr bwMode="auto">
                <a:xfrm>
                  <a:off x="-3495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4" name="Freeform 162"/>
                <p:cNvSpPr>
                  <a:spLocks/>
                </p:cNvSpPr>
                <p:nvPr/>
              </p:nvSpPr>
              <p:spPr bwMode="auto">
                <a:xfrm>
                  <a:off x="-3434" y="2861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5" name="Freeform 163"/>
                <p:cNvSpPr>
                  <a:spLocks noEditPoints="1"/>
                </p:cNvSpPr>
                <p:nvPr/>
              </p:nvSpPr>
              <p:spPr bwMode="auto">
                <a:xfrm>
                  <a:off x="-3630" y="3278"/>
                  <a:ext cx="76" cy="155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6" name="Freeform 164"/>
                <p:cNvSpPr>
                  <a:spLocks/>
                </p:cNvSpPr>
                <p:nvPr/>
              </p:nvSpPr>
              <p:spPr bwMode="auto">
                <a:xfrm>
                  <a:off x="-3422" y="281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7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8" name="Freeform 166"/>
                <p:cNvSpPr>
                  <a:spLocks/>
                </p:cNvSpPr>
                <p:nvPr/>
              </p:nvSpPr>
              <p:spPr bwMode="auto">
                <a:xfrm>
                  <a:off x="-3589" y="3352"/>
                  <a:ext cx="5" cy="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9" name="Freeform 167"/>
                <p:cNvSpPr>
                  <a:spLocks/>
                </p:cNvSpPr>
                <p:nvPr/>
              </p:nvSpPr>
              <p:spPr bwMode="auto">
                <a:xfrm>
                  <a:off x="-3401" y="2498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0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1" name="Freeform 169"/>
                <p:cNvSpPr>
                  <a:spLocks/>
                </p:cNvSpPr>
                <p:nvPr/>
              </p:nvSpPr>
              <p:spPr bwMode="auto">
                <a:xfrm>
                  <a:off x="-3200" y="1987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2" name="Freeform 170"/>
                <p:cNvSpPr>
                  <a:spLocks/>
                </p:cNvSpPr>
                <p:nvPr/>
              </p:nvSpPr>
              <p:spPr bwMode="auto">
                <a:xfrm>
                  <a:off x="-3200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3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8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4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5" name="Freeform 173"/>
                <p:cNvSpPr>
                  <a:spLocks/>
                </p:cNvSpPr>
                <p:nvPr/>
              </p:nvSpPr>
              <p:spPr bwMode="auto">
                <a:xfrm>
                  <a:off x="-3197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6" name="Freeform 174"/>
                <p:cNvSpPr>
                  <a:spLocks/>
                </p:cNvSpPr>
                <p:nvPr/>
              </p:nvSpPr>
              <p:spPr bwMode="auto">
                <a:xfrm>
                  <a:off x="-3200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7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3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8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9" name="Freeform 177"/>
                <p:cNvSpPr>
                  <a:spLocks/>
                </p:cNvSpPr>
                <p:nvPr/>
              </p:nvSpPr>
              <p:spPr bwMode="auto">
                <a:xfrm>
                  <a:off x="-3116" y="1682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0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2"/>
                  <a:ext cx="2" cy="0"/>
                </a:xfrm>
                <a:prstGeom prst="lin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1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2"/>
                  <a:ext cx="2" cy="0"/>
                </a:xfrm>
                <a:prstGeom prst="lin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2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60"/>
                  <a:ext cx="92" cy="1016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3" name="Freeform 181"/>
                <p:cNvSpPr>
                  <a:spLocks/>
                </p:cNvSpPr>
                <p:nvPr/>
              </p:nvSpPr>
              <p:spPr bwMode="auto">
                <a:xfrm>
                  <a:off x="-2958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4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5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6" name="Freeform 184"/>
                <p:cNvSpPr>
                  <a:spLocks/>
                </p:cNvSpPr>
                <p:nvPr/>
              </p:nvSpPr>
              <p:spPr bwMode="auto">
                <a:xfrm>
                  <a:off x="-2996" y="281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7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8" name="Freeform 186"/>
                <p:cNvSpPr>
                  <a:spLocks/>
                </p:cNvSpPr>
                <p:nvPr/>
              </p:nvSpPr>
              <p:spPr bwMode="auto">
                <a:xfrm>
                  <a:off x="-2908" y="3357"/>
                  <a:ext cx="20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9" name="Freeform 187"/>
                <p:cNvSpPr>
                  <a:spLocks/>
                </p:cNvSpPr>
                <p:nvPr/>
              </p:nvSpPr>
              <p:spPr bwMode="auto">
                <a:xfrm>
                  <a:off x="-2908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0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1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2" name="Freeform 190"/>
                <p:cNvSpPr>
                  <a:spLocks/>
                </p:cNvSpPr>
                <p:nvPr/>
              </p:nvSpPr>
              <p:spPr bwMode="auto">
                <a:xfrm>
                  <a:off x="-2903" y="1987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3" name="Freeform 191"/>
                <p:cNvSpPr>
                  <a:spLocks/>
                </p:cNvSpPr>
                <p:nvPr/>
              </p:nvSpPr>
              <p:spPr bwMode="auto">
                <a:xfrm>
                  <a:off x="-2832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4" name="Freeform 192"/>
                <p:cNvSpPr>
                  <a:spLocks noEditPoints="1"/>
                </p:cNvSpPr>
                <p:nvPr/>
              </p:nvSpPr>
              <p:spPr bwMode="auto">
                <a:xfrm>
                  <a:off x="-3112" y="1522"/>
                  <a:ext cx="214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5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6" name="Freeform 194"/>
                <p:cNvSpPr>
                  <a:spLocks/>
                </p:cNvSpPr>
                <p:nvPr/>
              </p:nvSpPr>
              <p:spPr bwMode="auto">
                <a:xfrm>
                  <a:off x="-2990" y="1682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7" name="Freeform 195"/>
                <p:cNvSpPr>
                  <a:spLocks/>
                </p:cNvSpPr>
                <p:nvPr/>
              </p:nvSpPr>
              <p:spPr bwMode="auto">
                <a:xfrm>
                  <a:off x="-2996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8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60"/>
                  <a:ext cx="26" cy="1016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9" name="Freeform 197"/>
                <p:cNvSpPr>
                  <a:spLocks/>
                </p:cNvSpPr>
                <p:nvPr/>
              </p:nvSpPr>
              <p:spPr bwMode="auto">
                <a:xfrm>
                  <a:off x="-2811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0" name="Freeform 198"/>
                <p:cNvSpPr>
                  <a:spLocks/>
                </p:cNvSpPr>
                <p:nvPr/>
              </p:nvSpPr>
              <p:spPr bwMode="auto">
                <a:xfrm>
                  <a:off x="-2811" y="3278"/>
                  <a:ext cx="5" cy="77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1" name="Freeform 199"/>
                <p:cNvSpPr>
                  <a:spLocks/>
                </p:cNvSpPr>
                <p:nvPr/>
              </p:nvSpPr>
              <p:spPr bwMode="auto">
                <a:xfrm>
                  <a:off x="-2803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2" name="Freeform 200"/>
                <p:cNvSpPr>
                  <a:spLocks/>
                </p:cNvSpPr>
                <p:nvPr/>
              </p:nvSpPr>
              <p:spPr bwMode="auto">
                <a:xfrm>
                  <a:off x="-28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3" name="Freeform 201"/>
                <p:cNvSpPr>
                  <a:spLocks/>
                </p:cNvSpPr>
                <p:nvPr/>
              </p:nvSpPr>
              <p:spPr bwMode="auto">
                <a:xfrm>
                  <a:off x="-2811" y="3357"/>
                  <a:ext cx="5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4" name="Freeform 202"/>
                <p:cNvSpPr>
                  <a:spLocks/>
                </p:cNvSpPr>
                <p:nvPr/>
              </p:nvSpPr>
              <p:spPr bwMode="auto">
                <a:xfrm>
                  <a:off x="-2811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5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6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63" name="Freeform 206"/>
              <p:cNvSpPr>
                <a:spLocks/>
              </p:cNvSpPr>
              <p:nvPr/>
            </p:nvSpPr>
            <p:spPr bwMode="auto">
              <a:xfrm>
                <a:off x="-4871258" y="2416156"/>
                <a:ext cx="349031" cy="36896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4" name="Freeform 207"/>
              <p:cNvSpPr>
                <a:spLocks/>
              </p:cNvSpPr>
              <p:nvPr/>
            </p:nvSpPr>
            <p:spPr bwMode="auto">
              <a:xfrm>
                <a:off x="-4608883" y="2671974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5" name="Freeform 208"/>
              <p:cNvSpPr>
                <a:spLocks/>
              </p:cNvSpPr>
              <p:nvPr/>
            </p:nvSpPr>
            <p:spPr bwMode="auto">
              <a:xfrm>
                <a:off x="-4818302" y="2418615"/>
                <a:ext cx="481423" cy="36651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6" name="Freeform 209"/>
              <p:cNvSpPr>
                <a:spLocks/>
              </p:cNvSpPr>
              <p:nvPr/>
            </p:nvSpPr>
            <p:spPr bwMode="auto">
              <a:xfrm>
                <a:off x="-4435571" y="2669513"/>
                <a:ext cx="4814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7" name="Freeform 210"/>
              <p:cNvSpPr>
                <a:spLocks noEditPoints="1"/>
              </p:cNvSpPr>
              <p:nvPr/>
            </p:nvSpPr>
            <p:spPr bwMode="auto">
              <a:xfrm>
                <a:off x="-2680782" y="3151632"/>
                <a:ext cx="72214" cy="430464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8" name="Freeform 211"/>
              <p:cNvSpPr>
                <a:spLocks/>
              </p:cNvSpPr>
              <p:nvPr/>
            </p:nvSpPr>
            <p:spPr bwMode="auto">
              <a:xfrm>
                <a:off x="-2623011" y="3527981"/>
                <a:ext cx="7221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9" name="Freeform 212"/>
              <p:cNvSpPr>
                <a:spLocks noEditPoints="1"/>
              </p:cNvSpPr>
              <p:nvPr/>
            </p:nvSpPr>
            <p:spPr bwMode="auto">
              <a:xfrm>
                <a:off x="-2810766" y="3587016"/>
                <a:ext cx="233490" cy="1613622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0" name="Freeform 213"/>
              <p:cNvSpPr>
                <a:spLocks/>
              </p:cNvSpPr>
              <p:nvPr/>
            </p:nvSpPr>
            <p:spPr bwMode="auto">
              <a:xfrm>
                <a:off x="-2702447" y="4871026"/>
                <a:ext cx="7222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1" name="Freeform 214"/>
              <p:cNvSpPr>
                <a:spLocks noEditPoints="1"/>
              </p:cNvSpPr>
              <p:nvPr/>
            </p:nvSpPr>
            <p:spPr bwMode="auto">
              <a:xfrm>
                <a:off x="-2955193" y="2418615"/>
                <a:ext cx="281632" cy="2954209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2" name="Freeform 215"/>
              <p:cNvSpPr>
                <a:spLocks/>
              </p:cNvSpPr>
              <p:nvPr/>
            </p:nvSpPr>
            <p:spPr bwMode="auto">
              <a:xfrm>
                <a:off x="-2777067" y="2785124"/>
                <a:ext cx="722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3" name="Freeform 216"/>
              <p:cNvSpPr>
                <a:spLocks/>
              </p:cNvSpPr>
              <p:nvPr/>
            </p:nvSpPr>
            <p:spPr bwMode="auto">
              <a:xfrm>
                <a:off x="-2613383" y="4460241"/>
                <a:ext cx="12035" cy="2461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4" name="Freeform 217"/>
              <p:cNvSpPr>
                <a:spLocks/>
              </p:cNvSpPr>
              <p:nvPr/>
            </p:nvSpPr>
            <p:spPr bwMode="auto">
              <a:xfrm>
                <a:off x="-2815581" y="5200638"/>
                <a:ext cx="12035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5" name="Freeform 218"/>
              <p:cNvSpPr>
                <a:spLocks/>
              </p:cNvSpPr>
              <p:nvPr/>
            </p:nvSpPr>
            <p:spPr bwMode="auto">
              <a:xfrm>
                <a:off x="-2875759" y="5323628"/>
                <a:ext cx="4814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6" name="Freeform 219"/>
              <p:cNvSpPr>
                <a:spLocks/>
              </p:cNvSpPr>
              <p:nvPr/>
            </p:nvSpPr>
            <p:spPr bwMode="auto">
              <a:xfrm>
                <a:off x="-2591719" y="3965824"/>
                <a:ext cx="9628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7" name="Freeform 220"/>
              <p:cNvSpPr>
                <a:spLocks/>
              </p:cNvSpPr>
              <p:nvPr/>
            </p:nvSpPr>
            <p:spPr bwMode="auto">
              <a:xfrm>
                <a:off x="-2615791" y="3582096"/>
                <a:ext cx="7222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8" name="Freeform 221"/>
              <p:cNvSpPr>
                <a:spLocks/>
              </p:cNvSpPr>
              <p:nvPr/>
            </p:nvSpPr>
            <p:spPr bwMode="auto">
              <a:xfrm>
                <a:off x="-5802814" y="3149173"/>
                <a:ext cx="12036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9" name="Freeform 222"/>
              <p:cNvSpPr>
                <a:spLocks/>
              </p:cNvSpPr>
              <p:nvPr/>
            </p:nvSpPr>
            <p:spPr bwMode="auto">
              <a:xfrm>
                <a:off x="-5566916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0" name="Freeform 223"/>
              <p:cNvSpPr>
                <a:spLocks/>
              </p:cNvSpPr>
              <p:nvPr/>
            </p:nvSpPr>
            <p:spPr bwMode="auto">
              <a:xfrm>
                <a:off x="-5326204" y="3149173"/>
                <a:ext cx="7222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1" name="Freeform 224"/>
              <p:cNvSpPr>
                <a:spLocks/>
              </p:cNvSpPr>
              <p:nvPr/>
            </p:nvSpPr>
            <p:spPr bwMode="auto">
              <a:xfrm>
                <a:off x="-5080678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2" name="Freeform 225"/>
              <p:cNvSpPr>
                <a:spLocks/>
              </p:cNvSpPr>
              <p:nvPr/>
            </p:nvSpPr>
            <p:spPr bwMode="auto">
              <a:xfrm>
                <a:off x="-4837559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3" name="Freeform 226"/>
              <p:cNvSpPr>
                <a:spLocks/>
              </p:cNvSpPr>
              <p:nvPr/>
            </p:nvSpPr>
            <p:spPr bwMode="auto">
              <a:xfrm>
                <a:off x="-4608883" y="3149173"/>
                <a:ext cx="7222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4" name="Freeform 227"/>
              <p:cNvSpPr>
                <a:spLocks/>
              </p:cNvSpPr>
              <p:nvPr/>
            </p:nvSpPr>
            <p:spPr bwMode="auto">
              <a:xfrm>
                <a:off x="-1956240" y="3149173"/>
                <a:ext cx="7222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5" name="Freeform 228"/>
              <p:cNvSpPr>
                <a:spLocks/>
              </p:cNvSpPr>
              <p:nvPr/>
            </p:nvSpPr>
            <p:spPr bwMode="auto">
              <a:xfrm>
                <a:off x="-3641222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6" name="Freeform 229"/>
              <p:cNvSpPr>
                <a:spLocks/>
              </p:cNvSpPr>
              <p:nvPr/>
            </p:nvSpPr>
            <p:spPr bwMode="auto">
              <a:xfrm>
                <a:off x="-3422174" y="3149173"/>
                <a:ext cx="12035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7" name="Freeform 230"/>
              <p:cNvSpPr>
                <a:spLocks/>
              </p:cNvSpPr>
              <p:nvPr/>
            </p:nvSpPr>
            <p:spPr bwMode="auto">
              <a:xfrm>
                <a:off x="-3171834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8" name="Freeform 231"/>
              <p:cNvSpPr>
                <a:spLocks/>
              </p:cNvSpPr>
              <p:nvPr/>
            </p:nvSpPr>
            <p:spPr bwMode="auto">
              <a:xfrm>
                <a:off x="-2921494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9" name="Freeform 232"/>
              <p:cNvSpPr>
                <a:spLocks/>
              </p:cNvSpPr>
              <p:nvPr/>
            </p:nvSpPr>
            <p:spPr bwMode="auto">
              <a:xfrm>
                <a:off x="-2399150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0" name="Freeform 233"/>
              <p:cNvSpPr>
                <a:spLocks/>
              </p:cNvSpPr>
              <p:nvPr/>
            </p:nvSpPr>
            <p:spPr bwMode="auto">
              <a:xfrm>
                <a:off x="-2187324" y="3149173"/>
                <a:ext cx="12036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1" name="Freeform 234"/>
              <p:cNvSpPr>
                <a:spLocks/>
              </p:cNvSpPr>
              <p:nvPr/>
            </p:nvSpPr>
            <p:spPr bwMode="auto">
              <a:xfrm>
                <a:off x="-1515737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2" name="Freeform 235"/>
              <p:cNvSpPr>
                <a:spLocks/>
              </p:cNvSpPr>
              <p:nvPr/>
            </p:nvSpPr>
            <p:spPr bwMode="auto">
              <a:xfrm>
                <a:off x="-1746821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3" name="Freeform 236"/>
              <p:cNvSpPr>
                <a:spLocks/>
              </p:cNvSpPr>
              <p:nvPr/>
            </p:nvSpPr>
            <p:spPr bwMode="auto">
              <a:xfrm>
                <a:off x="-2680782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4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5" name="Freeform 238"/>
              <p:cNvSpPr>
                <a:spLocks noEditPoints="1"/>
              </p:cNvSpPr>
              <p:nvPr/>
            </p:nvSpPr>
            <p:spPr bwMode="auto">
              <a:xfrm>
                <a:off x="-4912180" y="4871026"/>
                <a:ext cx="917112" cy="49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6" name="Freeform 239"/>
              <p:cNvSpPr>
                <a:spLocks noEditPoints="1"/>
              </p:cNvSpPr>
              <p:nvPr/>
            </p:nvSpPr>
            <p:spPr bwMode="auto">
              <a:xfrm>
                <a:off x="-3672514" y="4871026"/>
                <a:ext cx="1172265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7" name="Freeform 240"/>
              <p:cNvSpPr>
                <a:spLocks noEditPoints="1"/>
              </p:cNvSpPr>
              <p:nvPr/>
            </p:nvSpPr>
            <p:spPr bwMode="auto">
              <a:xfrm>
                <a:off x="-2071782" y="4871026"/>
                <a:ext cx="1239666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8" name="Freeform 241"/>
              <p:cNvSpPr>
                <a:spLocks noEditPoints="1"/>
              </p:cNvSpPr>
              <p:nvPr/>
            </p:nvSpPr>
            <p:spPr bwMode="auto">
              <a:xfrm>
                <a:off x="-6245723" y="4871026"/>
                <a:ext cx="919519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9" name="Freeform 242"/>
              <p:cNvSpPr>
                <a:spLocks/>
              </p:cNvSpPr>
              <p:nvPr/>
            </p:nvSpPr>
            <p:spPr bwMode="auto">
              <a:xfrm>
                <a:off x="-5020500" y="4541414"/>
                <a:ext cx="722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0" name="Freeform 243"/>
              <p:cNvSpPr>
                <a:spLocks noEditPoints="1"/>
              </p:cNvSpPr>
              <p:nvPr/>
            </p:nvSpPr>
            <p:spPr bwMode="auto">
              <a:xfrm>
                <a:off x="-3780835" y="4541414"/>
                <a:ext cx="140816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1" name="Freeform 244"/>
              <p:cNvSpPr>
                <a:spLocks/>
              </p:cNvSpPr>
              <p:nvPr/>
            </p:nvSpPr>
            <p:spPr bwMode="auto">
              <a:xfrm>
                <a:off x="-2175287" y="4541414"/>
                <a:ext cx="0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2" name="Freeform 245"/>
              <p:cNvSpPr>
                <a:spLocks/>
              </p:cNvSpPr>
              <p:nvPr/>
            </p:nvSpPr>
            <p:spPr bwMode="auto">
              <a:xfrm>
                <a:off x="-6310714" y="4541414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3" name="Freeform 246"/>
              <p:cNvSpPr>
                <a:spLocks noEditPoints="1"/>
              </p:cNvSpPr>
              <p:nvPr/>
            </p:nvSpPr>
            <p:spPr bwMode="auto">
              <a:xfrm>
                <a:off x="-4062467" y="3527981"/>
                <a:ext cx="3134066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4" name="Freeform 247"/>
              <p:cNvSpPr>
                <a:spLocks noEditPoints="1"/>
              </p:cNvSpPr>
              <p:nvPr/>
            </p:nvSpPr>
            <p:spPr bwMode="auto">
              <a:xfrm>
                <a:off x="-6245723" y="3527981"/>
                <a:ext cx="2043643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5" name="Freeform 248"/>
              <p:cNvSpPr>
                <a:spLocks/>
              </p:cNvSpPr>
              <p:nvPr/>
            </p:nvSpPr>
            <p:spPr bwMode="auto">
              <a:xfrm>
                <a:off x="-3691771" y="2785124"/>
                <a:ext cx="9628" cy="2459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6" name="Freeform 249"/>
              <p:cNvSpPr>
                <a:spLocks noEditPoints="1"/>
              </p:cNvSpPr>
              <p:nvPr/>
            </p:nvSpPr>
            <p:spPr bwMode="auto">
              <a:xfrm>
                <a:off x="-5836513" y="2785124"/>
                <a:ext cx="1314286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7" name="Freeform 250"/>
              <p:cNvSpPr>
                <a:spLocks/>
              </p:cNvSpPr>
              <p:nvPr/>
            </p:nvSpPr>
            <p:spPr bwMode="auto">
              <a:xfrm>
                <a:off x="-3672514" y="2669513"/>
                <a:ext cx="4814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8" name="Freeform 251"/>
              <p:cNvSpPr>
                <a:spLocks/>
              </p:cNvSpPr>
              <p:nvPr/>
            </p:nvSpPr>
            <p:spPr bwMode="auto">
              <a:xfrm>
                <a:off x="-1308725" y="3146713"/>
                <a:ext cx="7221" cy="246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9" name="Freeform 252"/>
              <p:cNvSpPr>
                <a:spLocks/>
              </p:cNvSpPr>
              <p:nvPr/>
            </p:nvSpPr>
            <p:spPr bwMode="auto">
              <a:xfrm>
                <a:off x="-5737821" y="2669513"/>
                <a:ext cx="2406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0" name="Freeform 253"/>
              <p:cNvSpPr>
                <a:spLocks noEditPoints="1"/>
              </p:cNvSpPr>
              <p:nvPr/>
            </p:nvSpPr>
            <p:spPr bwMode="auto">
              <a:xfrm>
                <a:off x="-5034942" y="4460241"/>
                <a:ext cx="1162637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1" name="Freeform 254"/>
              <p:cNvSpPr>
                <a:spLocks noEditPoints="1"/>
              </p:cNvSpPr>
              <p:nvPr/>
            </p:nvSpPr>
            <p:spPr bwMode="auto">
              <a:xfrm>
                <a:off x="-3795278" y="4460241"/>
                <a:ext cx="1449084" cy="2461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2" name="Freeform 255"/>
              <p:cNvSpPr>
                <a:spLocks noEditPoints="1"/>
              </p:cNvSpPr>
              <p:nvPr/>
            </p:nvSpPr>
            <p:spPr bwMode="auto">
              <a:xfrm>
                <a:off x="-2199359" y="4460241"/>
                <a:ext cx="1434642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3" name="Freeform 256"/>
              <p:cNvSpPr>
                <a:spLocks noEditPoints="1"/>
              </p:cNvSpPr>
              <p:nvPr/>
            </p:nvSpPr>
            <p:spPr bwMode="auto">
              <a:xfrm>
                <a:off x="-6315529" y="4460241"/>
                <a:ext cx="1167451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4" name="Freeform 257"/>
              <p:cNvSpPr>
                <a:spLocks noEditPoints="1"/>
              </p:cNvSpPr>
              <p:nvPr/>
            </p:nvSpPr>
            <p:spPr bwMode="auto">
              <a:xfrm>
                <a:off x="-6212023" y="5200638"/>
                <a:ext cx="7486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5" name="Freeform 258"/>
              <p:cNvSpPr>
                <a:spLocks noEditPoints="1"/>
              </p:cNvSpPr>
              <p:nvPr/>
            </p:nvSpPr>
            <p:spPr bwMode="auto">
              <a:xfrm>
                <a:off x="-4837559" y="5200638"/>
                <a:ext cx="741392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6" name="Freeform 259"/>
              <p:cNvSpPr>
                <a:spLocks noEditPoints="1"/>
              </p:cNvSpPr>
              <p:nvPr/>
            </p:nvSpPr>
            <p:spPr bwMode="auto">
              <a:xfrm>
                <a:off x="-3593080" y="5200638"/>
                <a:ext cx="92674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7" name="Freeform 260"/>
              <p:cNvSpPr>
                <a:spLocks noEditPoints="1"/>
              </p:cNvSpPr>
              <p:nvPr/>
            </p:nvSpPr>
            <p:spPr bwMode="auto">
              <a:xfrm>
                <a:off x="-1879213" y="5200638"/>
                <a:ext cx="96766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8" name="Freeform 261"/>
              <p:cNvSpPr>
                <a:spLocks noEditPoints="1"/>
              </p:cNvSpPr>
              <p:nvPr/>
            </p:nvSpPr>
            <p:spPr bwMode="auto">
              <a:xfrm>
                <a:off x="-6175916" y="5318708"/>
                <a:ext cx="63307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9" name="Freeform 262"/>
              <p:cNvSpPr>
                <a:spLocks noEditPoints="1"/>
              </p:cNvSpPr>
              <p:nvPr/>
            </p:nvSpPr>
            <p:spPr bwMode="auto">
              <a:xfrm>
                <a:off x="-4779788" y="5323628"/>
                <a:ext cx="625850" cy="49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0" name="Freeform 263"/>
              <p:cNvSpPr>
                <a:spLocks noEditPoints="1"/>
              </p:cNvSpPr>
              <p:nvPr/>
            </p:nvSpPr>
            <p:spPr bwMode="auto">
              <a:xfrm>
                <a:off x="-3537716" y="5323628"/>
                <a:ext cx="791941" cy="49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1" name="Freeform 264"/>
              <p:cNvSpPr>
                <a:spLocks/>
              </p:cNvSpPr>
              <p:nvPr/>
            </p:nvSpPr>
            <p:spPr bwMode="auto">
              <a:xfrm>
                <a:off x="-1766077" y="5323628"/>
                <a:ext cx="7221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2" name="Freeform 265"/>
              <p:cNvSpPr>
                <a:spLocks noEditPoints="1"/>
              </p:cNvSpPr>
              <p:nvPr/>
            </p:nvSpPr>
            <p:spPr bwMode="auto">
              <a:xfrm>
                <a:off x="-6344414" y="3965824"/>
                <a:ext cx="5591732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3" name="Freeform 266"/>
              <p:cNvSpPr>
                <a:spLocks noEditPoints="1"/>
              </p:cNvSpPr>
              <p:nvPr/>
            </p:nvSpPr>
            <p:spPr bwMode="auto">
              <a:xfrm>
                <a:off x="-6264980" y="3582096"/>
                <a:ext cx="2074935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4" name="Freeform 267"/>
              <p:cNvSpPr>
                <a:spLocks noEditPoints="1"/>
              </p:cNvSpPr>
              <p:nvPr/>
            </p:nvSpPr>
            <p:spPr bwMode="auto">
              <a:xfrm>
                <a:off x="-4079318" y="3582096"/>
                <a:ext cx="3184617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5" name="Freeform 268"/>
              <p:cNvSpPr>
                <a:spLocks/>
              </p:cNvSpPr>
              <p:nvPr/>
            </p:nvSpPr>
            <p:spPr bwMode="auto">
              <a:xfrm>
                <a:off x="-3833792" y="4088813"/>
                <a:ext cx="2408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6" name="Freeform 269"/>
              <p:cNvSpPr>
                <a:spLocks/>
              </p:cNvSpPr>
              <p:nvPr/>
            </p:nvSpPr>
            <p:spPr bwMode="auto">
              <a:xfrm>
                <a:off x="-2269166" y="4044537"/>
                <a:ext cx="240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7" name="Freeform 270"/>
              <p:cNvSpPr>
                <a:spLocks/>
              </p:cNvSpPr>
              <p:nvPr/>
            </p:nvSpPr>
            <p:spPr bwMode="auto">
              <a:xfrm>
                <a:off x="-1301505" y="3146713"/>
                <a:ext cx="7222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8" name="Freeform 271"/>
              <p:cNvSpPr>
                <a:spLocks/>
              </p:cNvSpPr>
              <p:nvPr/>
            </p:nvSpPr>
            <p:spPr bwMode="auto">
              <a:xfrm>
                <a:off x="-4139495" y="3892030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9" name="Freeform 272"/>
              <p:cNvSpPr>
                <a:spLocks/>
              </p:cNvSpPr>
              <p:nvPr/>
            </p:nvSpPr>
            <p:spPr bwMode="auto">
              <a:xfrm>
                <a:off x="-5075864" y="4002720"/>
                <a:ext cx="2408" cy="246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0" name="Freeform 273"/>
              <p:cNvSpPr>
                <a:spLocks/>
              </p:cNvSpPr>
              <p:nvPr/>
            </p:nvSpPr>
            <p:spPr bwMode="auto">
              <a:xfrm>
                <a:off x="-4529448" y="2785124"/>
                <a:ext cx="7221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1" name="Freeform 274"/>
              <p:cNvSpPr>
                <a:spLocks/>
              </p:cNvSpPr>
              <p:nvPr/>
            </p:nvSpPr>
            <p:spPr bwMode="auto">
              <a:xfrm>
                <a:off x="-4524634" y="2785124"/>
                <a:ext cx="2406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2" name="Freeform 275"/>
              <p:cNvSpPr>
                <a:spLocks/>
              </p:cNvSpPr>
              <p:nvPr/>
            </p:nvSpPr>
            <p:spPr bwMode="auto">
              <a:xfrm>
                <a:off x="-4341693" y="2785124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3" name="Freeform 276"/>
              <p:cNvSpPr>
                <a:spLocks noEditPoints="1"/>
              </p:cNvSpPr>
              <p:nvPr/>
            </p:nvSpPr>
            <p:spPr bwMode="auto">
              <a:xfrm>
                <a:off x="-6036303" y="3149173"/>
                <a:ext cx="166091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4" name="Freeform 277"/>
              <p:cNvSpPr>
                <a:spLocks/>
              </p:cNvSpPr>
              <p:nvPr/>
            </p:nvSpPr>
            <p:spPr bwMode="auto">
              <a:xfrm>
                <a:off x="-1303911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5" name="Freeform 278"/>
              <p:cNvSpPr>
                <a:spLocks/>
              </p:cNvSpPr>
              <p:nvPr/>
            </p:nvSpPr>
            <p:spPr bwMode="auto">
              <a:xfrm>
                <a:off x="-1301505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6" name="Freeform 279"/>
              <p:cNvSpPr>
                <a:spLocks/>
              </p:cNvSpPr>
              <p:nvPr/>
            </p:nvSpPr>
            <p:spPr bwMode="auto">
              <a:xfrm>
                <a:off x="-3872306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7" name="Freeform 280"/>
              <p:cNvSpPr>
                <a:spLocks/>
              </p:cNvSpPr>
              <p:nvPr/>
            </p:nvSpPr>
            <p:spPr bwMode="auto">
              <a:xfrm>
                <a:off x="-5675236" y="2593261"/>
                <a:ext cx="1612768" cy="2508986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8" name="Freeform 281"/>
              <p:cNvSpPr>
                <a:spLocks/>
              </p:cNvSpPr>
              <p:nvPr/>
            </p:nvSpPr>
            <p:spPr bwMode="auto">
              <a:xfrm>
                <a:off x="-5010871" y="2548984"/>
                <a:ext cx="231083" cy="18694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9" name="Freeform 282"/>
              <p:cNvSpPr>
                <a:spLocks/>
              </p:cNvSpPr>
              <p:nvPr/>
            </p:nvSpPr>
            <p:spPr bwMode="auto">
              <a:xfrm>
                <a:off x="-4938658" y="2428454"/>
                <a:ext cx="385139" cy="341912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0" name="Freeform 283"/>
              <p:cNvSpPr>
                <a:spLocks/>
              </p:cNvSpPr>
              <p:nvPr/>
            </p:nvSpPr>
            <p:spPr bwMode="auto">
              <a:xfrm>
                <a:off x="-3747136" y="2502248"/>
                <a:ext cx="2043643" cy="2208892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1" name="Freeform 284"/>
              <p:cNvSpPr>
                <a:spLocks/>
              </p:cNvSpPr>
              <p:nvPr/>
            </p:nvSpPr>
            <p:spPr bwMode="auto">
              <a:xfrm>
                <a:off x="-3751950" y="2445673"/>
                <a:ext cx="507902" cy="324692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2" name="Freeform 285"/>
              <p:cNvSpPr>
                <a:spLocks/>
              </p:cNvSpPr>
              <p:nvPr/>
            </p:nvSpPr>
            <p:spPr bwMode="auto">
              <a:xfrm>
                <a:off x="-1826256" y="3864971"/>
                <a:ext cx="149241" cy="223842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3" name="Freeform 286"/>
              <p:cNvSpPr>
                <a:spLocks/>
              </p:cNvSpPr>
              <p:nvPr/>
            </p:nvSpPr>
            <p:spPr bwMode="auto">
              <a:xfrm>
                <a:off x="-2038082" y="3899408"/>
                <a:ext cx="180535" cy="250899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4" name="Freeform 287"/>
              <p:cNvSpPr>
                <a:spLocks/>
              </p:cNvSpPr>
              <p:nvPr/>
            </p:nvSpPr>
            <p:spPr bwMode="auto">
              <a:xfrm>
                <a:off x="-1486852" y="4024859"/>
                <a:ext cx="305703" cy="201703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5" name="Freeform 288"/>
              <p:cNvSpPr>
                <a:spLocks/>
              </p:cNvSpPr>
              <p:nvPr/>
            </p:nvSpPr>
            <p:spPr bwMode="auto">
              <a:xfrm>
                <a:off x="-1710715" y="4251159"/>
                <a:ext cx="572894" cy="568211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6" name="Freeform 289"/>
              <p:cNvSpPr>
                <a:spLocks/>
              </p:cNvSpPr>
              <p:nvPr/>
            </p:nvSpPr>
            <p:spPr bwMode="auto">
              <a:xfrm>
                <a:off x="-5229920" y="2526846"/>
                <a:ext cx="50550" cy="46737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7" name="Freeform 290"/>
              <p:cNvSpPr>
                <a:spLocks/>
              </p:cNvSpPr>
              <p:nvPr/>
            </p:nvSpPr>
            <p:spPr bwMode="auto">
              <a:xfrm>
                <a:off x="-5172149" y="2558824"/>
                <a:ext cx="86656" cy="56574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8" name="Freeform 291"/>
              <p:cNvSpPr>
                <a:spLocks/>
              </p:cNvSpPr>
              <p:nvPr/>
            </p:nvSpPr>
            <p:spPr bwMode="auto">
              <a:xfrm>
                <a:off x="-5030128" y="2418615"/>
                <a:ext cx="79434" cy="91013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9" name="Freeform 292"/>
              <p:cNvSpPr>
                <a:spLocks/>
              </p:cNvSpPr>
              <p:nvPr/>
            </p:nvSpPr>
            <p:spPr bwMode="auto">
              <a:xfrm>
                <a:off x="-5054199" y="2553904"/>
                <a:ext cx="113134" cy="127909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0" name="Freeform 293"/>
              <p:cNvSpPr>
                <a:spLocks/>
              </p:cNvSpPr>
              <p:nvPr/>
            </p:nvSpPr>
            <p:spPr bwMode="auto">
              <a:xfrm>
                <a:off x="-5126413" y="2482569"/>
                <a:ext cx="52957" cy="61496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1" name="Freeform 294"/>
              <p:cNvSpPr>
                <a:spLocks/>
              </p:cNvSpPr>
              <p:nvPr/>
            </p:nvSpPr>
            <p:spPr bwMode="auto">
              <a:xfrm>
                <a:off x="-4844781" y="3505842"/>
                <a:ext cx="117949" cy="98392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2" name="Freeform 295"/>
              <p:cNvSpPr>
                <a:spLocks/>
              </p:cNvSpPr>
              <p:nvPr/>
            </p:nvSpPr>
            <p:spPr bwMode="auto">
              <a:xfrm>
                <a:off x="-4454828" y="2664594"/>
                <a:ext cx="96285" cy="56576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3" name="Freeform 296"/>
              <p:cNvSpPr>
                <a:spLocks/>
              </p:cNvSpPr>
              <p:nvPr/>
            </p:nvSpPr>
            <p:spPr bwMode="auto">
              <a:xfrm>
                <a:off x="-3431802" y="2822020"/>
                <a:ext cx="86656" cy="164807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4" name="Freeform 297"/>
              <p:cNvSpPr>
                <a:spLocks/>
              </p:cNvSpPr>
              <p:nvPr/>
            </p:nvSpPr>
            <p:spPr bwMode="auto">
              <a:xfrm>
                <a:off x="-3487167" y="2888436"/>
                <a:ext cx="64993" cy="66414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5" name="Freeform 298"/>
              <p:cNvSpPr>
                <a:spLocks/>
              </p:cNvSpPr>
              <p:nvPr/>
            </p:nvSpPr>
            <p:spPr bwMode="auto">
              <a:xfrm>
                <a:off x="-5085493" y="2418615"/>
                <a:ext cx="9628" cy="158410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6" name="Freeform 299"/>
              <p:cNvSpPr>
                <a:spLocks/>
              </p:cNvSpPr>
              <p:nvPr/>
            </p:nvSpPr>
            <p:spPr bwMode="auto">
              <a:xfrm>
                <a:off x="-2902237" y="2418615"/>
                <a:ext cx="647514" cy="16480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5" name="Group 21"/>
            <p:cNvGrpSpPr>
              <a:grpSpLocks/>
            </p:cNvGrpSpPr>
            <p:nvPr userDrawn="1">
              <p:custDataLst>
                <p:tags r:id="rId2"/>
              </p:custDataLst>
            </p:nvPr>
          </p:nvGrpSpPr>
          <p:grpSpPr bwMode="auto">
            <a:xfrm>
              <a:off x="5407262" y="1670190"/>
              <a:ext cx="2631666" cy="1243192"/>
              <a:chOff x="6450011" y="3926681"/>
              <a:chExt cx="3425034" cy="1653383"/>
            </a:xfrm>
          </p:grpSpPr>
          <p:sp>
            <p:nvSpPr>
              <p:cNvPr id="30" name="Oval 22"/>
              <p:cNvSpPr/>
              <p:nvPr/>
            </p:nvSpPr>
            <p:spPr>
              <a:xfrm>
                <a:off x="6821694" y="4042484"/>
                <a:ext cx="55785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1" name="Oval 23"/>
              <p:cNvSpPr/>
              <p:nvPr/>
            </p:nvSpPr>
            <p:spPr>
              <a:xfrm>
                <a:off x="6449799" y="4283171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2" name="Oval 24"/>
              <p:cNvSpPr/>
              <p:nvPr/>
            </p:nvSpPr>
            <p:spPr>
              <a:xfrm>
                <a:off x="6528310" y="4500635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3" name="Oval 25"/>
              <p:cNvSpPr/>
              <p:nvPr/>
            </p:nvSpPr>
            <p:spPr>
              <a:xfrm>
                <a:off x="6685332" y="4680095"/>
                <a:ext cx="55785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4" name="Oval 26"/>
              <p:cNvSpPr/>
              <p:nvPr/>
            </p:nvSpPr>
            <p:spPr>
              <a:xfrm>
                <a:off x="7234911" y="5150914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5" name="Oval 27"/>
              <p:cNvSpPr/>
              <p:nvPr/>
            </p:nvSpPr>
            <p:spPr>
              <a:xfrm>
                <a:off x="6968386" y="5484499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6" name="Oval 28"/>
              <p:cNvSpPr/>
              <p:nvPr/>
            </p:nvSpPr>
            <p:spPr>
              <a:xfrm>
                <a:off x="7121277" y="5524613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7" name="Oval 29"/>
              <p:cNvSpPr/>
              <p:nvPr/>
            </p:nvSpPr>
            <p:spPr>
              <a:xfrm>
                <a:off x="9819582" y="5476054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8" name="Oval 30"/>
              <p:cNvSpPr/>
              <p:nvPr/>
            </p:nvSpPr>
            <p:spPr>
              <a:xfrm>
                <a:off x="9272069" y="4965120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9" name="Oval 31"/>
              <p:cNvSpPr/>
              <p:nvPr/>
            </p:nvSpPr>
            <p:spPr>
              <a:xfrm>
                <a:off x="9323722" y="4696985"/>
                <a:ext cx="55784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0" name="Oval 32"/>
              <p:cNvSpPr/>
              <p:nvPr/>
            </p:nvSpPr>
            <p:spPr>
              <a:xfrm>
                <a:off x="9410497" y="4726543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Oval 33"/>
              <p:cNvSpPr/>
              <p:nvPr/>
            </p:nvSpPr>
            <p:spPr>
              <a:xfrm>
                <a:off x="9418761" y="4589310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Oval 34"/>
              <p:cNvSpPr/>
              <p:nvPr/>
            </p:nvSpPr>
            <p:spPr>
              <a:xfrm>
                <a:off x="9096452" y="4399293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Oval 35"/>
              <p:cNvSpPr/>
              <p:nvPr/>
            </p:nvSpPr>
            <p:spPr>
              <a:xfrm>
                <a:off x="8933231" y="4684318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Oval 36"/>
              <p:cNvSpPr/>
              <p:nvPr/>
            </p:nvSpPr>
            <p:spPr>
              <a:xfrm>
                <a:off x="8600592" y="4547084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Oval 37"/>
              <p:cNvSpPr/>
              <p:nvPr/>
            </p:nvSpPr>
            <p:spPr>
              <a:xfrm>
                <a:off x="8612989" y="4673762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6" name="Oval 38"/>
              <p:cNvSpPr/>
              <p:nvPr/>
            </p:nvSpPr>
            <p:spPr>
              <a:xfrm>
                <a:off x="8369191" y="4378180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Oval 39"/>
              <p:cNvSpPr/>
              <p:nvPr/>
            </p:nvSpPr>
            <p:spPr>
              <a:xfrm>
                <a:off x="7844406" y="4437297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Oval 40"/>
              <p:cNvSpPr/>
              <p:nvPr/>
            </p:nvSpPr>
            <p:spPr>
              <a:xfrm>
                <a:off x="7914653" y="4259948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Oval 41"/>
              <p:cNvSpPr/>
              <p:nvPr/>
            </p:nvSpPr>
            <p:spPr>
              <a:xfrm>
                <a:off x="7982833" y="4259948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Oval 42"/>
              <p:cNvSpPr/>
              <p:nvPr/>
            </p:nvSpPr>
            <p:spPr>
              <a:xfrm>
                <a:off x="8053080" y="4173384"/>
                <a:ext cx="55785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Oval 43"/>
              <p:cNvSpPr/>
              <p:nvPr/>
            </p:nvSpPr>
            <p:spPr>
              <a:xfrm>
                <a:off x="8030353" y="4048818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2" name="Oval 44"/>
              <p:cNvSpPr/>
              <p:nvPr/>
            </p:nvSpPr>
            <p:spPr>
              <a:xfrm>
                <a:off x="8137790" y="3926363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3" name="Oval 45"/>
              <p:cNvSpPr/>
              <p:nvPr/>
            </p:nvSpPr>
            <p:spPr>
              <a:xfrm>
                <a:off x="8212169" y="3966477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Oval 46"/>
              <p:cNvSpPr/>
              <p:nvPr/>
            </p:nvSpPr>
            <p:spPr>
              <a:xfrm>
                <a:off x="8146054" y="4034039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Oval 47"/>
              <p:cNvSpPr/>
              <p:nvPr/>
            </p:nvSpPr>
            <p:spPr>
              <a:xfrm>
                <a:off x="8086137" y="4124825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6" name="Oval 48"/>
              <p:cNvSpPr/>
              <p:nvPr/>
            </p:nvSpPr>
            <p:spPr>
              <a:xfrm>
                <a:off x="8150186" y="4116380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7" name="Oval 49"/>
              <p:cNvSpPr/>
              <p:nvPr/>
            </p:nvSpPr>
            <p:spPr>
              <a:xfrm>
                <a:off x="8205970" y="4148048"/>
                <a:ext cx="53718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Oval 50"/>
              <p:cNvSpPr/>
              <p:nvPr/>
            </p:nvSpPr>
            <p:spPr>
              <a:xfrm>
                <a:off x="8241094" y="4198720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Oval 51"/>
              <p:cNvSpPr/>
              <p:nvPr/>
            </p:nvSpPr>
            <p:spPr>
              <a:xfrm>
                <a:off x="8243159" y="4259948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Oval 52"/>
              <p:cNvSpPr/>
              <p:nvPr/>
            </p:nvSpPr>
            <p:spPr>
              <a:xfrm>
                <a:off x="8170847" y="4276838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Oval 53"/>
              <p:cNvSpPr/>
              <p:nvPr/>
            </p:nvSpPr>
            <p:spPr>
              <a:xfrm>
                <a:off x="8129525" y="4202942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6" name="Group 362"/>
          <p:cNvGrpSpPr/>
          <p:nvPr userDrawn="1"/>
        </p:nvGrpSpPr>
        <p:grpSpPr>
          <a:xfrm>
            <a:off x="5405034" y="4005064"/>
            <a:ext cx="3354303" cy="576000"/>
            <a:chOff x="4932104" y="4725144"/>
            <a:chExt cx="3096280" cy="576000"/>
          </a:xfrm>
        </p:grpSpPr>
        <p:pic>
          <p:nvPicPr>
            <p:cNvPr id="365" name="Picture 364" descr="1394032025_46-facebook.png"/>
            <p:cNvPicPr>
              <a:picLocks noChangeAspect="1"/>
            </p:cNvPicPr>
            <p:nvPr userDrawn="1"/>
          </p:nvPicPr>
          <p:blipFill>
            <a:blip r:embed="rId7" cstate="screen">
              <a:lum bright="100000"/>
            </a:blip>
            <a:stretch>
              <a:fillRect/>
            </a:stretch>
          </p:blipFill>
          <p:spPr>
            <a:xfrm>
              <a:off x="4932104" y="4725144"/>
              <a:ext cx="576000" cy="576000"/>
            </a:xfrm>
            <a:prstGeom prst="rect">
              <a:avLst/>
            </a:prstGeom>
          </p:spPr>
        </p:pic>
        <p:pic>
          <p:nvPicPr>
            <p:cNvPr id="366" name="Picture 365" descr="1394032040_11-linkedin.png"/>
            <p:cNvPicPr>
              <a:picLocks noChangeAspect="1"/>
            </p:cNvPicPr>
            <p:nvPr userDrawn="1"/>
          </p:nvPicPr>
          <p:blipFill>
            <a:blip r:embed="rId8" cstate="screen">
              <a:lum bright="100000"/>
            </a:blip>
            <a:stretch>
              <a:fillRect/>
            </a:stretch>
          </p:blipFill>
          <p:spPr>
            <a:xfrm>
              <a:off x="5784197" y="4743144"/>
              <a:ext cx="540000" cy="540000"/>
            </a:xfrm>
            <a:prstGeom prst="rect">
              <a:avLst/>
            </a:prstGeom>
          </p:spPr>
        </p:pic>
        <p:pic>
          <p:nvPicPr>
            <p:cNvPr id="367" name="Picture 366" descr="1394031971_45-twitter.png"/>
            <p:cNvPicPr>
              <a:picLocks noChangeAspect="1"/>
            </p:cNvPicPr>
            <p:nvPr userDrawn="1"/>
          </p:nvPicPr>
          <p:blipFill>
            <a:blip r:embed="rId9" cstate="screen">
              <a:lum bright="100000"/>
            </a:blip>
            <a:stretch>
              <a:fillRect/>
            </a:stretch>
          </p:blipFill>
          <p:spPr>
            <a:xfrm>
              <a:off x="6600290" y="4725144"/>
              <a:ext cx="576000" cy="576000"/>
            </a:xfrm>
            <a:prstGeom prst="rect">
              <a:avLst/>
            </a:prstGeom>
          </p:spPr>
        </p:pic>
        <p:pic>
          <p:nvPicPr>
            <p:cNvPr id="368" name="Picture 367" descr="1394031976_18-youtube.png"/>
            <p:cNvPicPr>
              <a:picLocks noChangeAspect="1"/>
            </p:cNvPicPr>
            <p:nvPr userDrawn="1"/>
          </p:nvPicPr>
          <p:blipFill>
            <a:blip r:embed="rId10" cstate="screen">
              <a:lum bright="100000"/>
            </a:blip>
            <a:stretch>
              <a:fillRect/>
            </a:stretch>
          </p:blipFill>
          <p:spPr>
            <a:xfrm>
              <a:off x="7452384" y="4725144"/>
              <a:ext cx="576000" cy="576000"/>
            </a:xfrm>
            <a:prstGeom prst="rect">
              <a:avLst/>
            </a:prstGeom>
          </p:spPr>
        </p:pic>
      </p:grpSp>
    </p:spTree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679938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680962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81986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83010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684034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88130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89154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90178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7" name="Picture 356" descr="city (7).jpg"/>
          <p:cNvPicPr>
            <a:picLocks noChangeAspect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pic>
        <p:nvPicPr>
          <p:cNvPr id="359" name="Picture 358" descr="Body Whole_Content Slide_PPT Template.png"/>
          <p:cNvPicPr preferRelativeResize="0">
            <a:picLocks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410" y="283"/>
            <a:ext cx="9905182" cy="5832000"/>
          </a:xfrm>
          <a:prstGeom prst="rect">
            <a:avLst/>
          </a:prstGeom>
        </p:spPr>
      </p:pic>
      <p:sp>
        <p:nvSpPr>
          <p:cNvPr id="358" name="TextBox 357"/>
          <p:cNvSpPr txBox="1"/>
          <p:nvPr userDrawn="1"/>
        </p:nvSpPr>
        <p:spPr>
          <a:xfrm>
            <a:off x="740532" y="1124745"/>
            <a:ext cx="3744416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041400"/>
            <a:r>
              <a:rPr lang="en-US" sz="3600" dirty="0" smtClean="0">
                <a:solidFill>
                  <a:prstClr val="white"/>
                </a:solidFill>
              </a:rPr>
              <a:t>About </a:t>
            </a:r>
            <a:r>
              <a:rPr lang="en-US" sz="3600" dirty="0" err="1" smtClean="0">
                <a:solidFill>
                  <a:prstClr val="white"/>
                </a:solidFill>
              </a:rPr>
              <a:t>Capgemini</a:t>
            </a:r>
            <a:endParaRPr lang="en-US" sz="3600" dirty="0" smtClean="0">
              <a:solidFill>
                <a:prstClr val="white"/>
              </a:solidFill>
            </a:endParaRPr>
          </a:p>
          <a:p>
            <a:pPr algn="just" defTabSz="1041400"/>
            <a:endParaRPr lang="en-US" sz="1800" dirty="0" smtClean="0">
              <a:solidFill>
                <a:prstClr val="white"/>
              </a:solidFill>
            </a:endParaRPr>
          </a:p>
          <a:p>
            <a:pPr defTabSz="1041400"/>
            <a:r>
              <a:rPr lang="en-US" sz="1200" dirty="0" smtClean="0">
                <a:solidFill>
                  <a:prstClr val="white"/>
                </a:solidFill>
              </a:rPr>
              <a:t>With more than 120,000 people in 40 countries, </a:t>
            </a:r>
            <a:r>
              <a:rPr lang="en-US" sz="1200" dirty="0" err="1" smtClean="0">
                <a:solidFill>
                  <a:prstClr val="white"/>
                </a:solidFill>
              </a:rPr>
              <a:t>Capgemini</a:t>
            </a:r>
            <a:r>
              <a:rPr lang="en-US" sz="1200" dirty="0" smtClean="0">
                <a:solidFill>
                  <a:prstClr val="white"/>
                </a:solidFill>
              </a:rPr>
              <a:t> is one of the world's foremost providers of consulting, technology and outsourcing services. The group reported 2011 global revenues of EUR 9.7 billion.</a:t>
            </a:r>
          </a:p>
          <a:p>
            <a:pPr defTabSz="1041400"/>
            <a:r>
              <a:rPr lang="en-US" sz="1200" dirty="0" smtClean="0">
                <a:solidFill>
                  <a:prstClr val="white"/>
                </a:solidFill>
              </a:rPr>
              <a:t>Together with its clients, </a:t>
            </a:r>
            <a:r>
              <a:rPr lang="en-US" sz="1200" dirty="0" err="1" smtClean="0">
                <a:solidFill>
                  <a:prstClr val="white"/>
                </a:solidFill>
              </a:rPr>
              <a:t>Capgemini</a:t>
            </a:r>
            <a:r>
              <a:rPr lang="en-US" sz="1200" dirty="0" smtClean="0">
                <a:solidFill>
                  <a:prstClr val="white"/>
                </a:solidFill>
              </a:rPr>
              <a:t> creates and delivers business and technology solutions that fit their needs and drive the results they want. A deeply multicultural organization, </a:t>
            </a:r>
            <a:r>
              <a:rPr lang="en-US" sz="1200" dirty="0" err="1" smtClean="0">
                <a:solidFill>
                  <a:prstClr val="white"/>
                </a:solidFill>
              </a:rPr>
              <a:t>Capgemini</a:t>
            </a:r>
            <a:r>
              <a:rPr lang="en-US" sz="1200" dirty="0" smtClean="0">
                <a:solidFill>
                  <a:prstClr val="white"/>
                </a:solidFill>
              </a:rPr>
              <a:t> has developed its own way of working, the Collaborative Business </a:t>
            </a:r>
            <a:r>
              <a:rPr lang="en-US" sz="1200" dirty="0" err="1" smtClean="0">
                <a:solidFill>
                  <a:prstClr val="white"/>
                </a:solidFill>
              </a:rPr>
              <a:t>Experience</a:t>
            </a:r>
            <a:r>
              <a:rPr lang="en-US" sz="1200" baseline="30000" dirty="0" err="1" smtClean="0">
                <a:solidFill>
                  <a:prstClr val="white"/>
                </a:solidFill>
              </a:rPr>
              <a:t>tm</a:t>
            </a:r>
            <a:r>
              <a:rPr lang="en-US" sz="1200" dirty="0" smtClean="0">
                <a:solidFill>
                  <a:prstClr val="white"/>
                </a:solidFill>
              </a:rPr>
              <a:t>, and draws on </a:t>
            </a:r>
            <a:r>
              <a:rPr lang="en-US" sz="1200" dirty="0" err="1" smtClean="0">
                <a:solidFill>
                  <a:prstClr val="white"/>
                </a:solidFill>
              </a:rPr>
              <a:t>Rightshore</a:t>
            </a:r>
            <a:r>
              <a:rPr lang="en-US" sz="1200" b="1" baseline="30000" dirty="0" smtClean="0">
                <a:solidFill>
                  <a:prstClr val="white"/>
                </a:solidFill>
              </a:rPr>
              <a:t> ®</a:t>
            </a:r>
            <a:r>
              <a:rPr lang="en-US" sz="1200" dirty="0" smtClean="0">
                <a:solidFill>
                  <a:prstClr val="white"/>
                </a:solidFill>
              </a:rPr>
              <a:t>, its worldwide delivery model.</a:t>
            </a:r>
          </a:p>
          <a:p>
            <a:pPr defTabSz="1041400"/>
            <a:endParaRPr lang="en-US" sz="1200" dirty="0" smtClean="0">
              <a:solidFill>
                <a:prstClr val="white"/>
              </a:solidFill>
            </a:endParaRPr>
          </a:p>
          <a:p>
            <a:pPr defTabSz="1041400"/>
            <a:r>
              <a:rPr lang="en-US" sz="1200" i="1" dirty="0" err="1" smtClean="0">
                <a:solidFill>
                  <a:prstClr val="white"/>
                </a:solidFill>
              </a:rPr>
              <a:t>Rightshore</a:t>
            </a:r>
            <a:r>
              <a:rPr lang="en-US" sz="1200" i="1" baseline="30000" dirty="0" smtClean="0">
                <a:solidFill>
                  <a:prstClr val="white"/>
                </a:solidFill>
              </a:rPr>
              <a:t>®</a:t>
            </a:r>
            <a:r>
              <a:rPr lang="en-US" sz="1200" i="1" dirty="0" smtClean="0">
                <a:solidFill>
                  <a:prstClr val="white"/>
                </a:solidFill>
              </a:rPr>
              <a:t> is a trademark belonging to </a:t>
            </a:r>
            <a:r>
              <a:rPr lang="en-US" sz="1200" i="1" dirty="0" err="1" smtClean="0">
                <a:solidFill>
                  <a:prstClr val="white"/>
                </a:solidFill>
              </a:rPr>
              <a:t>Capgemini</a:t>
            </a:r>
            <a:endParaRPr lang="en-US" sz="1200" b="1" noProof="1" smtClean="0">
              <a:solidFill>
                <a:prstClr val="white"/>
              </a:solidFill>
            </a:endParaRPr>
          </a:p>
        </p:txBody>
      </p:sp>
      <p:pic>
        <p:nvPicPr>
          <p:cNvPr id="361" name="Picture 360" descr="capgemini logo.png"/>
          <p:cNvPicPr>
            <a:picLocks noChangeAspect="1"/>
          </p:cNvPicPr>
          <p:nvPr userDrawn="1"/>
        </p:nvPicPr>
        <p:blipFill>
          <a:blip r:embed="rId6" cstate="screen">
            <a:lum bright="100000"/>
          </a:blip>
          <a:stretch>
            <a:fillRect/>
          </a:stretch>
        </p:blipFill>
        <p:spPr>
          <a:xfrm>
            <a:off x="350493" y="6083066"/>
            <a:ext cx="2393651" cy="514286"/>
          </a:xfrm>
          <a:prstGeom prst="rect">
            <a:avLst/>
          </a:prstGeom>
        </p:spPr>
      </p:pic>
      <p:pic>
        <p:nvPicPr>
          <p:cNvPr id="362" name="Image 7" descr="Capgemini_Slogan_RGB.png"/>
          <p:cNvPicPr>
            <a:picLocks noChangeAspect="1"/>
          </p:cNvPicPr>
          <p:nvPr userDrawn="1"/>
        </p:nvPicPr>
        <p:blipFill>
          <a:blip r:embed="rId7" cstate="screen">
            <a:lum bright="100000"/>
          </a:blip>
          <a:stretch>
            <a:fillRect/>
          </a:stretch>
        </p:blipFill>
        <p:spPr>
          <a:xfrm>
            <a:off x="6744477" y="6314262"/>
            <a:ext cx="2967052" cy="283099"/>
          </a:xfrm>
          <a:prstGeom prst="rect">
            <a:avLst/>
          </a:prstGeom>
        </p:spPr>
      </p:pic>
      <p:sp>
        <p:nvSpPr>
          <p:cNvPr id="364" name="TextBox 363"/>
          <p:cNvSpPr txBox="1"/>
          <p:nvPr userDrawn="1"/>
        </p:nvSpPr>
        <p:spPr>
          <a:xfrm>
            <a:off x="5600021" y="3513207"/>
            <a:ext cx="29643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1800" dirty="0" smtClean="0">
                <a:solidFill>
                  <a:prstClr val="white"/>
                </a:solidFill>
              </a:rPr>
              <a:t>www.capgemini.com</a:t>
            </a:r>
            <a:endParaRPr lang="en-US" sz="1800" dirty="0">
              <a:solidFill>
                <a:prstClr val="white"/>
              </a:solidFill>
            </a:endParaRPr>
          </a:p>
        </p:txBody>
      </p:sp>
      <p:grpSp>
        <p:nvGrpSpPr>
          <p:cNvPr id="2" name="Group 359"/>
          <p:cNvGrpSpPr/>
          <p:nvPr userDrawn="1"/>
        </p:nvGrpSpPr>
        <p:grpSpPr>
          <a:xfrm>
            <a:off x="5076905" y="1239269"/>
            <a:ext cx="4010554" cy="2117725"/>
            <a:chOff x="4686374" y="1412776"/>
            <a:chExt cx="3702050" cy="2117725"/>
          </a:xfrm>
        </p:grpSpPr>
        <p:grpSp>
          <p:nvGrpSpPr>
            <p:cNvPr id="3" name="Group 54"/>
            <p:cNvGrpSpPr>
              <a:grpSpLocks/>
            </p:cNvGrpSpPr>
            <p:nvPr userDrawn="1">
              <p:custDataLst>
                <p:tags r:id="rId1"/>
              </p:custDataLst>
            </p:nvPr>
          </p:nvGrpSpPr>
          <p:grpSpPr bwMode="auto">
            <a:xfrm>
              <a:off x="4686374" y="1412776"/>
              <a:ext cx="3702050" cy="2117725"/>
              <a:chOff x="-6346822" y="2366960"/>
              <a:chExt cx="5613397" cy="3281360"/>
            </a:xfrm>
            <a:solidFill>
              <a:schemeClr val="bg1"/>
            </a:solidFill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  <a:grpFill/>
            </p:grpSpPr>
            <p:sp>
              <p:nvSpPr>
                <p:cNvPr id="157" name="Freeform 5"/>
                <p:cNvSpPr>
                  <a:spLocks noEditPoints="1"/>
                </p:cNvSpPr>
                <p:nvPr/>
              </p:nvSpPr>
              <p:spPr bwMode="auto">
                <a:xfrm>
                  <a:off x="-2016" y="3070"/>
                  <a:ext cx="136" cy="2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8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9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0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2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1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2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2" name="Freeform 10"/>
                <p:cNvSpPr>
                  <a:spLocks noEditPoints="1"/>
                </p:cNvSpPr>
                <p:nvPr/>
              </p:nvSpPr>
              <p:spPr bwMode="auto">
                <a:xfrm>
                  <a:off x="-2263" y="1682"/>
                  <a:ext cx="1069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3" name="Freeform 11"/>
                <p:cNvSpPr>
                  <a:spLocks noEditPoints="1"/>
                </p:cNvSpPr>
                <p:nvPr/>
              </p:nvSpPr>
              <p:spPr bwMode="auto">
                <a:xfrm>
                  <a:off x="-3519" y="1682"/>
                  <a:ext cx="531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4" name="Freeform 12"/>
                <p:cNvSpPr>
                  <a:spLocks/>
                </p:cNvSpPr>
                <p:nvPr/>
              </p:nvSpPr>
              <p:spPr bwMode="auto">
                <a:xfrm>
                  <a:off x="-1232" y="1987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5" name="Freeform 13"/>
                <p:cNvSpPr>
                  <a:spLocks/>
                </p:cNvSpPr>
                <p:nvPr/>
              </p:nvSpPr>
              <p:spPr bwMode="auto">
                <a:xfrm>
                  <a:off x="-1116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6" name="Freeform 14"/>
                <p:cNvSpPr>
                  <a:spLocks noEditPoints="1"/>
                </p:cNvSpPr>
                <p:nvPr/>
              </p:nvSpPr>
              <p:spPr bwMode="auto">
                <a:xfrm>
                  <a:off x="-1103" y="2260"/>
                  <a:ext cx="171" cy="1016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7" name="Freeform 15"/>
                <p:cNvSpPr>
                  <a:spLocks/>
                </p:cNvSpPr>
                <p:nvPr/>
              </p:nvSpPr>
              <p:spPr bwMode="auto">
                <a:xfrm>
                  <a:off x="-981" y="3070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8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9" name="Freeform 17"/>
                <p:cNvSpPr>
                  <a:spLocks noEditPoints="1"/>
                </p:cNvSpPr>
                <p:nvPr/>
              </p:nvSpPr>
              <p:spPr bwMode="auto">
                <a:xfrm>
                  <a:off x="-1749" y="1524"/>
                  <a:ext cx="843" cy="1831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0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1" name="Freeform 19"/>
                <p:cNvSpPr>
                  <a:spLocks/>
                </p:cNvSpPr>
                <p:nvPr/>
              </p:nvSpPr>
              <p:spPr bwMode="auto">
                <a:xfrm>
                  <a:off x="-1499" y="1682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2" name="Freeform 20"/>
                <p:cNvSpPr>
                  <a:spLocks noEditPoints="1"/>
                </p:cNvSpPr>
                <p:nvPr/>
              </p:nvSpPr>
              <p:spPr bwMode="auto">
                <a:xfrm>
                  <a:off x="-2620" y="2810"/>
                  <a:ext cx="179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3" name="Freeform 21"/>
                <p:cNvSpPr>
                  <a:spLocks noEditPoints="1"/>
                </p:cNvSpPr>
                <p:nvPr/>
              </p:nvSpPr>
              <p:spPr bwMode="auto">
                <a:xfrm>
                  <a:off x="-2620" y="2810"/>
                  <a:ext cx="179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4" name="Freeform 22"/>
                <p:cNvSpPr>
                  <a:spLocks/>
                </p:cNvSpPr>
                <p:nvPr/>
              </p:nvSpPr>
              <p:spPr bwMode="auto">
                <a:xfrm>
                  <a:off x="-1032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5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6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2"/>
                  <a:ext cx="396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7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5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8" name="Freeform 26"/>
                <p:cNvSpPr>
                  <a:spLocks noEditPoints="1"/>
                </p:cNvSpPr>
                <p:nvPr/>
              </p:nvSpPr>
              <p:spPr bwMode="auto">
                <a:xfrm>
                  <a:off x="-2019" y="3355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9" name="Freeform 27"/>
                <p:cNvSpPr>
                  <a:spLocks/>
                </p:cNvSpPr>
                <p:nvPr/>
              </p:nvSpPr>
              <p:spPr bwMode="auto">
                <a:xfrm>
                  <a:off x="-912" y="3355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0" name="Freeform 28"/>
                <p:cNvSpPr>
                  <a:spLocks/>
                </p:cNvSpPr>
                <p:nvPr/>
              </p:nvSpPr>
              <p:spPr bwMode="auto">
                <a:xfrm>
                  <a:off x="-808" y="3357"/>
                  <a:ext cx="2" cy="0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1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2" name="Freeform 30"/>
                <p:cNvSpPr>
                  <a:spLocks/>
                </p:cNvSpPr>
                <p:nvPr/>
              </p:nvSpPr>
              <p:spPr bwMode="auto">
                <a:xfrm>
                  <a:off x="-1103" y="2256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3" name="Freeform 31"/>
                <p:cNvSpPr>
                  <a:spLocks/>
                </p:cNvSpPr>
                <p:nvPr/>
              </p:nvSpPr>
              <p:spPr bwMode="auto">
                <a:xfrm>
                  <a:off x="-2382" y="1987"/>
                  <a:ext cx="91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4" name="Freeform 32"/>
                <p:cNvSpPr>
                  <a:spLocks/>
                </p:cNvSpPr>
                <p:nvPr/>
              </p:nvSpPr>
              <p:spPr bwMode="auto">
                <a:xfrm>
                  <a:off x="-2369" y="2222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5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5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6" name="Freeform 34"/>
                <p:cNvSpPr>
                  <a:spLocks/>
                </p:cNvSpPr>
                <p:nvPr/>
              </p:nvSpPr>
              <p:spPr bwMode="auto">
                <a:xfrm>
                  <a:off x="-2210" y="1754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7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8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9" name="Freeform 37"/>
                <p:cNvSpPr>
                  <a:spLocks noEditPoints="1"/>
                </p:cNvSpPr>
                <p:nvPr/>
              </p:nvSpPr>
              <p:spPr bwMode="auto">
                <a:xfrm>
                  <a:off x="-2201" y="1987"/>
                  <a:ext cx="53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0" name="Freeform 38"/>
                <p:cNvSpPr>
                  <a:spLocks/>
                </p:cNvSpPr>
                <p:nvPr/>
              </p:nvSpPr>
              <p:spPr bwMode="auto">
                <a:xfrm>
                  <a:off x="-2197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1" name="Freeform 39"/>
                <p:cNvSpPr>
                  <a:spLocks noEditPoints="1"/>
                </p:cNvSpPr>
                <p:nvPr/>
              </p:nvSpPr>
              <p:spPr bwMode="auto">
                <a:xfrm>
                  <a:off x="-2222" y="2260"/>
                  <a:ext cx="85" cy="1016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2" name="Freeform 40"/>
                <p:cNvSpPr>
                  <a:spLocks/>
                </p:cNvSpPr>
                <p:nvPr/>
              </p:nvSpPr>
              <p:spPr bwMode="auto">
                <a:xfrm>
                  <a:off x="-2171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3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4" name="Freeform 42"/>
                <p:cNvSpPr>
                  <a:spLocks noEditPoints="1"/>
                </p:cNvSpPr>
                <p:nvPr/>
              </p:nvSpPr>
              <p:spPr bwMode="auto">
                <a:xfrm>
                  <a:off x="-2151" y="1522"/>
                  <a:ext cx="182" cy="1833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5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6" name="Freeform 44"/>
                <p:cNvSpPr>
                  <a:spLocks/>
                </p:cNvSpPr>
                <p:nvPr/>
              </p:nvSpPr>
              <p:spPr bwMode="auto">
                <a:xfrm>
                  <a:off x="-2210" y="2810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7" name="Freeform 45"/>
                <p:cNvSpPr>
                  <a:spLocks/>
                </p:cNvSpPr>
                <p:nvPr/>
              </p:nvSpPr>
              <p:spPr bwMode="auto">
                <a:xfrm>
                  <a:off x="-2144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8" name="Freeform 46"/>
                <p:cNvSpPr>
                  <a:spLocks/>
                </p:cNvSpPr>
                <p:nvPr/>
              </p:nvSpPr>
              <p:spPr bwMode="auto">
                <a:xfrm>
                  <a:off x="-2128" y="3357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9" name="Freeform 47"/>
                <p:cNvSpPr>
                  <a:spLocks/>
                </p:cNvSpPr>
                <p:nvPr/>
              </p:nvSpPr>
              <p:spPr bwMode="auto">
                <a:xfrm>
                  <a:off x="-2128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0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1" name="Freeform 49"/>
                <p:cNvSpPr>
                  <a:spLocks/>
                </p:cNvSpPr>
                <p:nvPr/>
              </p:nvSpPr>
              <p:spPr bwMode="auto">
                <a:xfrm>
                  <a:off x="-2201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2" name="Freeform 50"/>
                <p:cNvSpPr>
                  <a:spLocks/>
                </p:cNvSpPr>
                <p:nvPr/>
              </p:nvSpPr>
              <p:spPr bwMode="auto">
                <a:xfrm>
                  <a:off x="-2019" y="1987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3" name="Freeform 51"/>
                <p:cNvSpPr>
                  <a:spLocks/>
                </p:cNvSpPr>
                <p:nvPr/>
              </p:nvSpPr>
              <p:spPr bwMode="auto">
                <a:xfrm>
                  <a:off x="-2016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4" name="Freeform 52"/>
                <p:cNvSpPr>
                  <a:spLocks noEditPoints="1"/>
                </p:cNvSpPr>
                <p:nvPr/>
              </p:nvSpPr>
              <p:spPr bwMode="auto">
                <a:xfrm>
                  <a:off x="-2028" y="2260"/>
                  <a:ext cx="14" cy="1016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5" name="Freeform 53"/>
                <p:cNvSpPr>
                  <a:spLocks/>
                </p:cNvSpPr>
                <p:nvPr/>
              </p:nvSpPr>
              <p:spPr bwMode="auto">
                <a:xfrm>
                  <a:off x="-2022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6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7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3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8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9" name="Freeform 57"/>
                <p:cNvSpPr>
                  <a:spLocks/>
                </p:cNvSpPr>
                <p:nvPr/>
              </p:nvSpPr>
              <p:spPr bwMode="auto">
                <a:xfrm>
                  <a:off x="-2027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0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1" name="Freeform 59"/>
                <p:cNvSpPr>
                  <a:spLocks/>
                </p:cNvSpPr>
                <p:nvPr/>
              </p:nvSpPr>
              <p:spPr bwMode="auto">
                <a:xfrm>
                  <a:off x="-2027" y="3357"/>
                  <a:ext cx="8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2" name="Freeform 60"/>
                <p:cNvSpPr>
                  <a:spLocks/>
                </p:cNvSpPr>
                <p:nvPr/>
              </p:nvSpPr>
              <p:spPr bwMode="auto">
                <a:xfrm>
                  <a:off x="-2024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3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4" name="Freeform 62"/>
                <p:cNvSpPr>
                  <a:spLocks/>
                </p:cNvSpPr>
                <p:nvPr/>
              </p:nvSpPr>
              <p:spPr bwMode="auto">
                <a:xfrm>
                  <a:off x="-2019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5" name="Freeform 63"/>
                <p:cNvSpPr>
                  <a:spLocks/>
                </p:cNvSpPr>
                <p:nvPr/>
              </p:nvSpPr>
              <p:spPr bwMode="auto">
                <a:xfrm>
                  <a:off x="-1840" y="1987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6" name="Freeform 64"/>
                <p:cNvSpPr>
                  <a:spLocks/>
                </p:cNvSpPr>
                <p:nvPr/>
              </p:nvSpPr>
              <p:spPr bwMode="auto">
                <a:xfrm>
                  <a:off x="-1830" y="2222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7" name="Freeform 65"/>
                <p:cNvSpPr>
                  <a:spLocks noEditPoints="1"/>
                </p:cNvSpPr>
                <p:nvPr/>
              </p:nvSpPr>
              <p:spPr bwMode="auto">
                <a:xfrm>
                  <a:off x="-1912" y="2260"/>
                  <a:ext cx="83" cy="1016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8" name="Freeform 66"/>
                <p:cNvSpPr>
                  <a:spLocks/>
                </p:cNvSpPr>
                <p:nvPr/>
              </p:nvSpPr>
              <p:spPr bwMode="auto">
                <a:xfrm>
                  <a:off x="-1880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9" name="Freeform 67"/>
                <p:cNvSpPr>
                  <a:spLocks noEditPoints="1"/>
                </p:cNvSpPr>
                <p:nvPr/>
              </p:nvSpPr>
              <p:spPr bwMode="auto">
                <a:xfrm>
                  <a:off x="-1934" y="1522"/>
                  <a:ext cx="100" cy="1833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0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1" name="Freeform 69"/>
                <p:cNvSpPr>
                  <a:spLocks/>
                </p:cNvSpPr>
                <p:nvPr/>
              </p:nvSpPr>
              <p:spPr bwMode="auto">
                <a:xfrm>
                  <a:off x="-1868" y="1682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2" name="Freeform 70"/>
                <p:cNvSpPr>
                  <a:spLocks/>
                </p:cNvSpPr>
                <p:nvPr/>
              </p:nvSpPr>
              <p:spPr bwMode="auto">
                <a:xfrm>
                  <a:off x="-1842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3" name="Freeform 71"/>
                <p:cNvSpPr>
                  <a:spLocks/>
                </p:cNvSpPr>
                <p:nvPr/>
              </p:nvSpPr>
              <p:spPr bwMode="auto">
                <a:xfrm>
                  <a:off x="-1912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4" name="Freeform 72"/>
                <p:cNvSpPr>
                  <a:spLocks/>
                </p:cNvSpPr>
                <p:nvPr/>
              </p:nvSpPr>
              <p:spPr bwMode="auto">
                <a:xfrm>
                  <a:off x="-1946" y="3355"/>
                  <a:ext cx="17" cy="37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5" name="Freeform 73"/>
                <p:cNvSpPr>
                  <a:spLocks/>
                </p:cNvSpPr>
                <p:nvPr/>
              </p:nvSpPr>
              <p:spPr bwMode="auto">
                <a:xfrm>
                  <a:off x="-1934" y="3355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6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7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8" name="Freeform 76"/>
                <p:cNvSpPr>
                  <a:spLocks noEditPoints="1"/>
                </p:cNvSpPr>
                <p:nvPr/>
              </p:nvSpPr>
              <p:spPr bwMode="auto">
                <a:xfrm>
                  <a:off x="-1664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9" name="Freeform 77"/>
                <p:cNvSpPr>
                  <a:spLocks/>
                </p:cNvSpPr>
                <p:nvPr/>
              </p:nvSpPr>
              <p:spPr bwMode="auto">
                <a:xfrm>
                  <a:off x="-161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0" name="Freeform 78"/>
                <p:cNvSpPr>
                  <a:spLocks/>
                </p:cNvSpPr>
                <p:nvPr/>
              </p:nvSpPr>
              <p:spPr bwMode="auto">
                <a:xfrm>
                  <a:off x="-1667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1" name="Freeform 79"/>
                <p:cNvSpPr>
                  <a:spLocks/>
                </p:cNvSpPr>
                <p:nvPr/>
              </p:nvSpPr>
              <p:spPr bwMode="auto">
                <a:xfrm>
                  <a:off x="-1429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2" name="Freeform 80"/>
                <p:cNvSpPr>
                  <a:spLocks/>
                </p:cNvSpPr>
                <p:nvPr/>
              </p:nvSpPr>
              <p:spPr bwMode="auto">
                <a:xfrm>
                  <a:off x="-1458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3" name="Freeform 81"/>
                <p:cNvSpPr>
                  <a:spLocks/>
                </p:cNvSpPr>
                <p:nvPr/>
              </p:nvSpPr>
              <p:spPr bwMode="auto">
                <a:xfrm>
                  <a:off x="-1376" y="1987"/>
                  <a:ext cx="100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4" name="Freeform 82"/>
                <p:cNvSpPr>
                  <a:spLocks/>
                </p:cNvSpPr>
                <p:nvPr/>
              </p:nvSpPr>
              <p:spPr bwMode="auto">
                <a:xfrm>
                  <a:off x="-1288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5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60"/>
                  <a:ext cx="232" cy="1016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6" name="Freeform 84"/>
                <p:cNvSpPr>
                  <a:spLocks/>
                </p:cNvSpPr>
                <p:nvPr/>
              </p:nvSpPr>
              <p:spPr bwMode="auto">
                <a:xfrm>
                  <a:off x="-1120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7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8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8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6" cy="1831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9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0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2" cy="2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800" baseline="-25000">
                    <a:solidFill>
                      <a:prstClr val="black"/>
                    </a:solidFill>
                    <a:latin typeface="Calibri" pitchFamily="34" charset="0"/>
                  </a:endParaRPr>
                </a:p>
              </p:txBody>
            </p:sp>
            <p:sp>
              <p:nvSpPr>
                <p:cNvPr id="241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2" name="Freeform 90"/>
                <p:cNvSpPr>
                  <a:spLocks/>
                </p:cNvSpPr>
                <p:nvPr/>
              </p:nvSpPr>
              <p:spPr bwMode="auto">
                <a:xfrm>
                  <a:off x="-1210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3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4" name="Freeform 92"/>
                <p:cNvSpPr>
                  <a:spLocks/>
                </p:cNvSpPr>
                <p:nvPr/>
              </p:nvSpPr>
              <p:spPr bwMode="auto">
                <a:xfrm>
                  <a:off x="-1014" y="3357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5" name="Freeform 93"/>
                <p:cNvSpPr>
                  <a:spLocks/>
                </p:cNvSpPr>
                <p:nvPr/>
              </p:nvSpPr>
              <p:spPr bwMode="auto">
                <a:xfrm>
                  <a:off x="-1014" y="3355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6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7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8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9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9" name="Freeform 97"/>
                <p:cNvSpPr>
                  <a:spLocks/>
                </p:cNvSpPr>
                <p:nvPr/>
              </p:nvSpPr>
              <p:spPr bwMode="auto">
                <a:xfrm>
                  <a:off x="-107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0" name="Freeform 98"/>
                <p:cNvSpPr>
                  <a:spLocks/>
                </p:cNvSpPr>
                <p:nvPr/>
              </p:nvSpPr>
              <p:spPr bwMode="auto">
                <a:xfrm>
                  <a:off x="-1205" y="1682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1" name="Freeform 99"/>
                <p:cNvSpPr>
                  <a:spLocks/>
                </p:cNvSpPr>
                <p:nvPr/>
              </p:nvSpPr>
              <p:spPr bwMode="auto">
                <a:xfrm>
                  <a:off x="-955" y="1987"/>
                  <a:ext cx="217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2" name="Freeform 100"/>
                <p:cNvSpPr>
                  <a:spLocks/>
                </p:cNvSpPr>
                <p:nvPr/>
              </p:nvSpPr>
              <p:spPr bwMode="auto">
                <a:xfrm>
                  <a:off x="-761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3" name="Freeform 101"/>
                <p:cNvSpPr>
                  <a:spLocks noEditPoints="1"/>
                </p:cNvSpPr>
                <p:nvPr/>
              </p:nvSpPr>
              <p:spPr bwMode="auto">
                <a:xfrm>
                  <a:off x="-741" y="2260"/>
                  <a:ext cx="89" cy="1016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4" name="Freeform 102"/>
                <p:cNvSpPr>
                  <a:spLocks/>
                </p:cNvSpPr>
                <p:nvPr/>
              </p:nvSpPr>
              <p:spPr bwMode="auto">
                <a:xfrm>
                  <a:off x="-685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5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6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90" cy="1876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7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8" name="Freeform 106"/>
                <p:cNvSpPr>
                  <a:spLocks/>
                </p:cNvSpPr>
                <p:nvPr/>
              </p:nvSpPr>
              <p:spPr bwMode="auto">
                <a:xfrm>
                  <a:off x="-1297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9" name="Freeform 107"/>
                <p:cNvSpPr>
                  <a:spLocks/>
                </p:cNvSpPr>
                <p:nvPr/>
              </p:nvSpPr>
              <p:spPr bwMode="auto">
                <a:xfrm>
                  <a:off x="-656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0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1" name="Freeform 109"/>
                <p:cNvSpPr>
                  <a:spLocks/>
                </p:cNvSpPr>
                <p:nvPr/>
              </p:nvSpPr>
              <p:spPr bwMode="auto">
                <a:xfrm>
                  <a:off x="-711" y="3355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2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3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8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4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7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5" name="Freeform 113"/>
                <p:cNvSpPr>
                  <a:spLocks/>
                </p:cNvSpPr>
                <p:nvPr/>
              </p:nvSpPr>
              <p:spPr bwMode="auto">
                <a:xfrm>
                  <a:off x="-943" y="2222"/>
                  <a:ext cx="8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6" name="Freeform 114"/>
                <p:cNvSpPr>
                  <a:spLocks noEditPoints="1"/>
                </p:cNvSpPr>
                <p:nvPr/>
              </p:nvSpPr>
              <p:spPr bwMode="auto">
                <a:xfrm>
                  <a:off x="-923" y="2260"/>
                  <a:ext cx="108" cy="1016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7" name="Freeform 115"/>
                <p:cNvSpPr>
                  <a:spLocks/>
                </p:cNvSpPr>
                <p:nvPr/>
              </p:nvSpPr>
              <p:spPr bwMode="auto">
                <a:xfrm>
                  <a:off x="-835" y="3070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8" name="Freeform 116"/>
                <p:cNvSpPr>
                  <a:spLocks noEditPoints="1"/>
                </p:cNvSpPr>
                <p:nvPr/>
              </p:nvSpPr>
              <p:spPr bwMode="auto">
                <a:xfrm>
                  <a:off x="-1711" y="1524"/>
                  <a:ext cx="905" cy="1833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9" name="Freeform 117"/>
                <p:cNvSpPr>
                  <a:spLocks/>
                </p:cNvSpPr>
                <p:nvPr/>
              </p:nvSpPr>
              <p:spPr bwMode="auto">
                <a:xfrm>
                  <a:off x="-1297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0" name="Freeform 118"/>
                <p:cNvSpPr>
                  <a:spLocks/>
                </p:cNvSpPr>
                <p:nvPr/>
              </p:nvSpPr>
              <p:spPr bwMode="auto">
                <a:xfrm>
                  <a:off x="-843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1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2" name="Freeform 120"/>
                <p:cNvSpPr>
                  <a:spLocks/>
                </p:cNvSpPr>
                <p:nvPr/>
              </p:nvSpPr>
              <p:spPr bwMode="auto">
                <a:xfrm>
                  <a:off x="-809" y="3357"/>
                  <a:ext cx="2" cy="0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3" name="Freeform 121"/>
                <p:cNvSpPr>
                  <a:spLocks/>
                </p:cNvSpPr>
                <p:nvPr/>
              </p:nvSpPr>
              <p:spPr bwMode="auto">
                <a:xfrm>
                  <a:off x="-809" y="3355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4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5" name="Freeform 123"/>
                <p:cNvSpPr>
                  <a:spLocks/>
                </p:cNvSpPr>
                <p:nvPr/>
              </p:nvSpPr>
              <p:spPr bwMode="auto">
                <a:xfrm>
                  <a:off x="-923" y="2256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6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2"/>
                  <a:ext cx="106" cy="824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7" name="Freeform 125"/>
                <p:cNvSpPr>
                  <a:spLocks/>
                </p:cNvSpPr>
                <p:nvPr/>
              </p:nvSpPr>
              <p:spPr bwMode="auto">
                <a:xfrm>
                  <a:off x="-2667" y="3070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8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9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9" name="Freeform 127"/>
                <p:cNvSpPr>
                  <a:spLocks/>
                </p:cNvSpPr>
                <p:nvPr/>
              </p:nvSpPr>
              <p:spPr bwMode="auto">
                <a:xfrm>
                  <a:off x="-2623" y="2810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0" name="Freeform 128"/>
                <p:cNvSpPr>
                  <a:spLocks/>
                </p:cNvSpPr>
                <p:nvPr/>
              </p:nvSpPr>
              <p:spPr bwMode="auto">
                <a:xfrm>
                  <a:off x="-2702" y="3276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1" name="Freeform 129"/>
                <p:cNvSpPr>
                  <a:spLocks/>
                </p:cNvSpPr>
                <p:nvPr/>
              </p:nvSpPr>
              <p:spPr bwMode="auto">
                <a:xfrm>
                  <a:off x="-2718" y="3355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2" name="Freeform 130"/>
                <p:cNvSpPr>
                  <a:spLocks/>
                </p:cNvSpPr>
                <p:nvPr/>
              </p:nvSpPr>
              <p:spPr bwMode="auto">
                <a:xfrm>
                  <a:off x="-260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3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7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4" name="Freeform 132"/>
                <p:cNvSpPr>
                  <a:spLocks/>
                </p:cNvSpPr>
                <p:nvPr/>
              </p:nvSpPr>
              <p:spPr bwMode="auto">
                <a:xfrm>
                  <a:off x="-3760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5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6" name="Freeform 134"/>
                <p:cNvSpPr>
                  <a:spLocks/>
                </p:cNvSpPr>
                <p:nvPr/>
              </p:nvSpPr>
              <p:spPr bwMode="auto">
                <a:xfrm>
                  <a:off x="-3566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7" name="Freeform 135"/>
                <p:cNvSpPr>
                  <a:spLocks/>
                </p:cNvSpPr>
                <p:nvPr/>
              </p:nvSpPr>
              <p:spPr bwMode="auto">
                <a:xfrm>
                  <a:off x="-3513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8" name="Freeform 136"/>
                <p:cNvSpPr>
                  <a:spLocks noEditPoints="1"/>
                </p:cNvSpPr>
                <p:nvPr/>
              </p:nvSpPr>
              <p:spPr bwMode="auto">
                <a:xfrm>
                  <a:off x="-3801" y="2260"/>
                  <a:ext cx="36" cy="1016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9" name="Freeform 137"/>
                <p:cNvSpPr>
                  <a:spLocks/>
                </p:cNvSpPr>
                <p:nvPr/>
              </p:nvSpPr>
              <p:spPr bwMode="auto">
                <a:xfrm>
                  <a:off x="-3795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0" name="Freeform 138"/>
                <p:cNvSpPr>
                  <a:spLocks/>
                </p:cNvSpPr>
                <p:nvPr/>
              </p:nvSpPr>
              <p:spPr bwMode="auto">
                <a:xfrm>
                  <a:off x="-3798" y="2861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1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5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2" name="Freeform 140"/>
                <p:cNvSpPr>
                  <a:spLocks/>
                </p:cNvSpPr>
                <p:nvPr/>
              </p:nvSpPr>
              <p:spPr bwMode="auto">
                <a:xfrm>
                  <a:off x="-3798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3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4" name="Freeform 142"/>
                <p:cNvSpPr>
                  <a:spLocks/>
                </p:cNvSpPr>
                <p:nvPr/>
              </p:nvSpPr>
              <p:spPr bwMode="auto">
                <a:xfrm>
                  <a:off x="-3790" y="3352"/>
                  <a:ext cx="5" cy="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5" name="Freeform 143"/>
                <p:cNvSpPr>
                  <a:spLocks/>
                </p:cNvSpPr>
                <p:nvPr/>
              </p:nvSpPr>
              <p:spPr bwMode="auto">
                <a:xfrm>
                  <a:off x="-3801" y="2498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6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7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7"/>
                  <a:ext cx="168" cy="1289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8" name="Freeform 146"/>
                <p:cNvSpPr>
                  <a:spLocks/>
                </p:cNvSpPr>
                <p:nvPr/>
              </p:nvSpPr>
              <p:spPr bwMode="auto">
                <a:xfrm>
                  <a:off x="-3642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9" name="Freeform 147"/>
                <p:cNvSpPr>
                  <a:spLocks/>
                </p:cNvSpPr>
                <p:nvPr/>
              </p:nvSpPr>
              <p:spPr bwMode="auto">
                <a:xfrm>
                  <a:off x="-3607" y="2861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0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1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2" name="Freeform 150"/>
                <p:cNvSpPr>
                  <a:spLocks/>
                </p:cNvSpPr>
                <p:nvPr/>
              </p:nvSpPr>
              <p:spPr bwMode="auto">
                <a:xfrm>
                  <a:off x="-3608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3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4" name="Freeform 152"/>
                <p:cNvSpPr>
                  <a:spLocks/>
                </p:cNvSpPr>
                <p:nvPr/>
              </p:nvSpPr>
              <p:spPr bwMode="auto">
                <a:xfrm>
                  <a:off x="-3689" y="3352"/>
                  <a:ext cx="5" cy="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5" name="Freeform 153"/>
                <p:cNvSpPr>
                  <a:spLocks/>
                </p:cNvSpPr>
                <p:nvPr/>
              </p:nvSpPr>
              <p:spPr bwMode="auto">
                <a:xfrm>
                  <a:off x="-3607" y="2498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6" name="Freeform 154"/>
                <p:cNvSpPr>
                  <a:spLocks/>
                </p:cNvSpPr>
                <p:nvPr/>
              </p:nvSpPr>
              <p:spPr bwMode="auto">
                <a:xfrm>
                  <a:off x="-358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7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7"/>
                  <a:ext cx="44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8" name="Freeform 156"/>
                <p:cNvSpPr>
                  <a:spLocks/>
                </p:cNvSpPr>
                <p:nvPr/>
              </p:nvSpPr>
              <p:spPr bwMode="auto">
                <a:xfrm>
                  <a:off x="-3393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9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8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0" name="Freeform 158"/>
                <p:cNvSpPr>
                  <a:spLocks/>
                </p:cNvSpPr>
                <p:nvPr/>
              </p:nvSpPr>
              <p:spPr bwMode="auto">
                <a:xfrm>
                  <a:off x="-3334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1" name="Freeform 159"/>
                <p:cNvSpPr>
                  <a:spLocks/>
                </p:cNvSpPr>
                <p:nvPr/>
              </p:nvSpPr>
              <p:spPr bwMode="auto">
                <a:xfrm>
                  <a:off x="-3314" y="1682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2" name="Freeform 160"/>
                <p:cNvSpPr>
                  <a:spLocks noEditPoints="1"/>
                </p:cNvSpPr>
                <p:nvPr/>
              </p:nvSpPr>
              <p:spPr bwMode="auto">
                <a:xfrm>
                  <a:off x="-3557" y="2260"/>
                  <a:ext cx="167" cy="1016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3" name="Freeform 161"/>
                <p:cNvSpPr>
                  <a:spLocks/>
                </p:cNvSpPr>
                <p:nvPr/>
              </p:nvSpPr>
              <p:spPr bwMode="auto">
                <a:xfrm>
                  <a:off x="-3495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4" name="Freeform 162"/>
                <p:cNvSpPr>
                  <a:spLocks/>
                </p:cNvSpPr>
                <p:nvPr/>
              </p:nvSpPr>
              <p:spPr bwMode="auto">
                <a:xfrm>
                  <a:off x="-3434" y="2861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5" name="Freeform 163"/>
                <p:cNvSpPr>
                  <a:spLocks noEditPoints="1"/>
                </p:cNvSpPr>
                <p:nvPr/>
              </p:nvSpPr>
              <p:spPr bwMode="auto">
                <a:xfrm>
                  <a:off x="-3630" y="3278"/>
                  <a:ext cx="76" cy="155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6" name="Freeform 164"/>
                <p:cNvSpPr>
                  <a:spLocks/>
                </p:cNvSpPr>
                <p:nvPr/>
              </p:nvSpPr>
              <p:spPr bwMode="auto">
                <a:xfrm>
                  <a:off x="-3422" y="281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7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8" name="Freeform 166"/>
                <p:cNvSpPr>
                  <a:spLocks/>
                </p:cNvSpPr>
                <p:nvPr/>
              </p:nvSpPr>
              <p:spPr bwMode="auto">
                <a:xfrm>
                  <a:off x="-3589" y="3352"/>
                  <a:ext cx="5" cy="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9" name="Freeform 167"/>
                <p:cNvSpPr>
                  <a:spLocks/>
                </p:cNvSpPr>
                <p:nvPr/>
              </p:nvSpPr>
              <p:spPr bwMode="auto">
                <a:xfrm>
                  <a:off x="-3401" y="2498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0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1" name="Freeform 169"/>
                <p:cNvSpPr>
                  <a:spLocks/>
                </p:cNvSpPr>
                <p:nvPr/>
              </p:nvSpPr>
              <p:spPr bwMode="auto">
                <a:xfrm>
                  <a:off x="-3200" y="1987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2" name="Freeform 170"/>
                <p:cNvSpPr>
                  <a:spLocks/>
                </p:cNvSpPr>
                <p:nvPr/>
              </p:nvSpPr>
              <p:spPr bwMode="auto">
                <a:xfrm>
                  <a:off x="-3200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3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8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4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5" name="Freeform 173"/>
                <p:cNvSpPr>
                  <a:spLocks/>
                </p:cNvSpPr>
                <p:nvPr/>
              </p:nvSpPr>
              <p:spPr bwMode="auto">
                <a:xfrm>
                  <a:off x="-3197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6" name="Freeform 174"/>
                <p:cNvSpPr>
                  <a:spLocks/>
                </p:cNvSpPr>
                <p:nvPr/>
              </p:nvSpPr>
              <p:spPr bwMode="auto">
                <a:xfrm>
                  <a:off x="-3200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7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3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8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9" name="Freeform 177"/>
                <p:cNvSpPr>
                  <a:spLocks/>
                </p:cNvSpPr>
                <p:nvPr/>
              </p:nvSpPr>
              <p:spPr bwMode="auto">
                <a:xfrm>
                  <a:off x="-3116" y="1682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0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2"/>
                  <a:ext cx="2" cy="0"/>
                </a:xfrm>
                <a:prstGeom prst="lin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1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2"/>
                  <a:ext cx="2" cy="0"/>
                </a:xfrm>
                <a:prstGeom prst="lin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2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60"/>
                  <a:ext cx="92" cy="1016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3" name="Freeform 181"/>
                <p:cNvSpPr>
                  <a:spLocks/>
                </p:cNvSpPr>
                <p:nvPr/>
              </p:nvSpPr>
              <p:spPr bwMode="auto">
                <a:xfrm>
                  <a:off x="-2958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4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5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6" name="Freeform 184"/>
                <p:cNvSpPr>
                  <a:spLocks/>
                </p:cNvSpPr>
                <p:nvPr/>
              </p:nvSpPr>
              <p:spPr bwMode="auto">
                <a:xfrm>
                  <a:off x="-2996" y="281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7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8" name="Freeform 186"/>
                <p:cNvSpPr>
                  <a:spLocks/>
                </p:cNvSpPr>
                <p:nvPr/>
              </p:nvSpPr>
              <p:spPr bwMode="auto">
                <a:xfrm>
                  <a:off x="-2908" y="3357"/>
                  <a:ext cx="20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9" name="Freeform 187"/>
                <p:cNvSpPr>
                  <a:spLocks/>
                </p:cNvSpPr>
                <p:nvPr/>
              </p:nvSpPr>
              <p:spPr bwMode="auto">
                <a:xfrm>
                  <a:off x="-2908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0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1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2" name="Freeform 190"/>
                <p:cNvSpPr>
                  <a:spLocks/>
                </p:cNvSpPr>
                <p:nvPr/>
              </p:nvSpPr>
              <p:spPr bwMode="auto">
                <a:xfrm>
                  <a:off x="-2903" y="1987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3" name="Freeform 191"/>
                <p:cNvSpPr>
                  <a:spLocks/>
                </p:cNvSpPr>
                <p:nvPr/>
              </p:nvSpPr>
              <p:spPr bwMode="auto">
                <a:xfrm>
                  <a:off x="-2832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4" name="Freeform 192"/>
                <p:cNvSpPr>
                  <a:spLocks noEditPoints="1"/>
                </p:cNvSpPr>
                <p:nvPr/>
              </p:nvSpPr>
              <p:spPr bwMode="auto">
                <a:xfrm>
                  <a:off x="-3112" y="1522"/>
                  <a:ext cx="214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5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6" name="Freeform 194"/>
                <p:cNvSpPr>
                  <a:spLocks/>
                </p:cNvSpPr>
                <p:nvPr/>
              </p:nvSpPr>
              <p:spPr bwMode="auto">
                <a:xfrm>
                  <a:off x="-2990" y="1682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7" name="Freeform 195"/>
                <p:cNvSpPr>
                  <a:spLocks/>
                </p:cNvSpPr>
                <p:nvPr/>
              </p:nvSpPr>
              <p:spPr bwMode="auto">
                <a:xfrm>
                  <a:off x="-2996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8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60"/>
                  <a:ext cx="26" cy="1016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9" name="Freeform 197"/>
                <p:cNvSpPr>
                  <a:spLocks/>
                </p:cNvSpPr>
                <p:nvPr/>
              </p:nvSpPr>
              <p:spPr bwMode="auto">
                <a:xfrm>
                  <a:off x="-2811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0" name="Freeform 198"/>
                <p:cNvSpPr>
                  <a:spLocks/>
                </p:cNvSpPr>
                <p:nvPr/>
              </p:nvSpPr>
              <p:spPr bwMode="auto">
                <a:xfrm>
                  <a:off x="-2811" y="3278"/>
                  <a:ext cx="5" cy="77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1" name="Freeform 199"/>
                <p:cNvSpPr>
                  <a:spLocks/>
                </p:cNvSpPr>
                <p:nvPr/>
              </p:nvSpPr>
              <p:spPr bwMode="auto">
                <a:xfrm>
                  <a:off x="-2803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2" name="Freeform 200"/>
                <p:cNvSpPr>
                  <a:spLocks/>
                </p:cNvSpPr>
                <p:nvPr/>
              </p:nvSpPr>
              <p:spPr bwMode="auto">
                <a:xfrm>
                  <a:off x="-28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3" name="Freeform 201"/>
                <p:cNvSpPr>
                  <a:spLocks/>
                </p:cNvSpPr>
                <p:nvPr/>
              </p:nvSpPr>
              <p:spPr bwMode="auto">
                <a:xfrm>
                  <a:off x="-2811" y="3357"/>
                  <a:ext cx="5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4" name="Freeform 202"/>
                <p:cNvSpPr>
                  <a:spLocks/>
                </p:cNvSpPr>
                <p:nvPr/>
              </p:nvSpPr>
              <p:spPr bwMode="auto">
                <a:xfrm>
                  <a:off x="-2811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5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6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63" name="Freeform 206"/>
              <p:cNvSpPr>
                <a:spLocks/>
              </p:cNvSpPr>
              <p:nvPr/>
            </p:nvSpPr>
            <p:spPr bwMode="auto">
              <a:xfrm>
                <a:off x="-4871258" y="2416156"/>
                <a:ext cx="349031" cy="36896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4" name="Freeform 207"/>
              <p:cNvSpPr>
                <a:spLocks/>
              </p:cNvSpPr>
              <p:nvPr/>
            </p:nvSpPr>
            <p:spPr bwMode="auto">
              <a:xfrm>
                <a:off x="-4608883" y="2671974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5" name="Freeform 208"/>
              <p:cNvSpPr>
                <a:spLocks/>
              </p:cNvSpPr>
              <p:nvPr/>
            </p:nvSpPr>
            <p:spPr bwMode="auto">
              <a:xfrm>
                <a:off x="-4818302" y="2418615"/>
                <a:ext cx="481423" cy="36651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6" name="Freeform 209"/>
              <p:cNvSpPr>
                <a:spLocks/>
              </p:cNvSpPr>
              <p:nvPr/>
            </p:nvSpPr>
            <p:spPr bwMode="auto">
              <a:xfrm>
                <a:off x="-4435571" y="2669513"/>
                <a:ext cx="4814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7" name="Freeform 210"/>
              <p:cNvSpPr>
                <a:spLocks noEditPoints="1"/>
              </p:cNvSpPr>
              <p:nvPr/>
            </p:nvSpPr>
            <p:spPr bwMode="auto">
              <a:xfrm>
                <a:off x="-2680782" y="3151632"/>
                <a:ext cx="72214" cy="430464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8" name="Freeform 211"/>
              <p:cNvSpPr>
                <a:spLocks/>
              </p:cNvSpPr>
              <p:nvPr/>
            </p:nvSpPr>
            <p:spPr bwMode="auto">
              <a:xfrm>
                <a:off x="-2623011" y="3527981"/>
                <a:ext cx="7221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9" name="Freeform 212"/>
              <p:cNvSpPr>
                <a:spLocks noEditPoints="1"/>
              </p:cNvSpPr>
              <p:nvPr/>
            </p:nvSpPr>
            <p:spPr bwMode="auto">
              <a:xfrm>
                <a:off x="-2810766" y="3587016"/>
                <a:ext cx="233490" cy="1613622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0" name="Freeform 213"/>
              <p:cNvSpPr>
                <a:spLocks/>
              </p:cNvSpPr>
              <p:nvPr/>
            </p:nvSpPr>
            <p:spPr bwMode="auto">
              <a:xfrm>
                <a:off x="-2702447" y="4871026"/>
                <a:ext cx="7222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1" name="Freeform 214"/>
              <p:cNvSpPr>
                <a:spLocks noEditPoints="1"/>
              </p:cNvSpPr>
              <p:nvPr/>
            </p:nvSpPr>
            <p:spPr bwMode="auto">
              <a:xfrm>
                <a:off x="-2955193" y="2418615"/>
                <a:ext cx="281632" cy="2954209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2" name="Freeform 215"/>
              <p:cNvSpPr>
                <a:spLocks/>
              </p:cNvSpPr>
              <p:nvPr/>
            </p:nvSpPr>
            <p:spPr bwMode="auto">
              <a:xfrm>
                <a:off x="-2777067" y="2785124"/>
                <a:ext cx="722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3" name="Freeform 216"/>
              <p:cNvSpPr>
                <a:spLocks/>
              </p:cNvSpPr>
              <p:nvPr/>
            </p:nvSpPr>
            <p:spPr bwMode="auto">
              <a:xfrm>
                <a:off x="-2613383" y="4460241"/>
                <a:ext cx="12035" cy="2461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4" name="Freeform 217"/>
              <p:cNvSpPr>
                <a:spLocks/>
              </p:cNvSpPr>
              <p:nvPr/>
            </p:nvSpPr>
            <p:spPr bwMode="auto">
              <a:xfrm>
                <a:off x="-2815581" y="5200638"/>
                <a:ext cx="12035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5" name="Freeform 218"/>
              <p:cNvSpPr>
                <a:spLocks/>
              </p:cNvSpPr>
              <p:nvPr/>
            </p:nvSpPr>
            <p:spPr bwMode="auto">
              <a:xfrm>
                <a:off x="-2875759" y="5323628"/>
                <a:ext cx="4814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6" name="Freeform 219"/>
              <p:cNvSpPr>
                <a:spLocks/>
              </p:cNvSpPr>
              <p:nvPr/>
            </p:nvSpPr>
            <p:spPr bwMode="auto">
              <a:xfrm>
                <a:off x="-2591719" y="3965824"/>
                <a:ext cx="9628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7" name="Freeform 220"/>
              <p:cNvSpPr>
                <a:spLocks/>
              </p:cNvSpPr>
              <p:nvPr/>
            </p:nvSpPr>
            <p:spPr bwMode="auto">
              <a:xfrm>
                <a:off x="-2615791" y="3582096"/>
                <a:ext cx="7222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8" name="Freeform 221"/>
              <p:cNvSpPr>
                <a:spLocks/>
              </p:cNvSpPr>
              <p:nvPr/>
            </p:nvSpPr>
            <p:spPr bwMode="auto">
              <a:xfrm>
                <a:off x="-5802814" y="3149173"/>
                <a:ext cx="12036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9" name="Freeform 222"/>
              <p:cNvSpPr>
                <a:spLocks/>
              </p:cNvSpPr>
              <p:nvPr/>
            </p:nvSpPr>
            <p:spPr bwMode="auto">
              <a:xfrm>
                <a:off x="-5566916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0" name="Freeform 223"/>
              <p:cNvSpPr>
                <a:spLocks/>
              </p:cNvSpPr>
              <p:nvPr/>
            </p:nvSpPr>
            <p:spPr bwMode="auto">
              <a:xfrm>
                <a:off x="-5326204" y="3149173"/>
                <a:ext cx="7222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1" name="Freeform 224"/>
              <p:cNvSpPr>
                <a:spLocks/>
              </p:cNvSpPr>
              <p:nvPr/>
            </p:nvSpPr>
            <p:spPr bwMode="auto">
              <a:xfrm>
                <a:off x="-5080678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2" name="Freeform 225"/>
              <p:cNvSpPr>
                <a:spLocks/>
              </p:cNvSpPr>
              <p:nvPr/>
            </p:nvSpPr>
            <p:spPr bwMode="auto">
              <a:xfrm>
                <a:off x="-4837559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3" name="Freeform 226"/>
              <p:cNvSpPr>
                <a:spLocks/>
              </p:cNvSpPr>
              <p:nvPr/>
            </p:nvSpPr>
            <p:spPr bwMode="auto">
              <a:xfrm>
                <a:off x="-4608883" y="3149173"/>
                <a:ext cx="7222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4" name="Freeform 227"/>
              <p:cNvSpPr>
                <a:spLocks/>
              </p:cNvSpPr>
              <p:nvPr/>
            </p:nvSpPr>
            <p:spPr bwMode="auto">
              <a:xfrm>
                <a:off x="-1956240" y="3149173"/>
                <a:ext cx="7222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5" name="Freeform 228"/>
              <p:cNvSpPr>
                <a:spLocks/>
              </p:cNvSpPr>
              <p:nvPr/>
            </p:nvSpPr>
            <p:spPr bwMode="auto">
              <a:xfrm>
                <a:off x="-3641222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6" name="Freeform 229"/>
              <p:cNvSpPr>
                <a:spLocks/>
              </p:cNvSpPr>
              <p:nvPr/>
            </p:nvSpPr>
            <p:spPr bwMode="auto">
              <a:xfrm>
                <a:off x="-3422174" y="3149173"/>
                <a:ext cx="12035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7" name="Freeform 230"/>
              <p:cNvSpPr>
                <a:spLocks/>
              </p:cNvSpPr>
              <p:nvPr/>
            </p:nvSpPr>
            <p:spPr bwMode="auto">
              <a:xfrm>
                <a:off x="-3171834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8" name="Freeform 231"/>
              <p:cNvSpPr>
                <a:spLocks/>
              </p:cNvSpPr>
              <p:nvPr/>
            </p:nvSpPr>
            <p:spPr bwMode="auto">
              <a:xfrm>
                <a:off x="-2921494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9" name="Freeform 232"/>
              <p:cNvSpPr>
                <a:spLocks/>
              </p:cNvSpPr>
              <p:nvPr/>
            </p:nvSpPr>
            <p:spPr bwMode="auto">
              <a:xfrm>
                <a:off x="-2399150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0" name="Freeform 233"/>
              <p:cNvSpPr>
                <a:spLocks/>
              </p:cNvSpPr>
              <p:nvPr/>
            </p:nvSpPr>
            <p:spPr bwMode="auto">
              <a:xfrm>
                <a:off x="-2187324" y="3149173"/>
                <a:ext cx="12036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1" name="Freeform 234"/>
              <p:cNvSpPr>
                <a:spLocks/>
              </p:cNvSpPr>
              <p:nvPr/>
            </p:nvSpPr>
            <p:spPr bwMode="auto">
              <a:xfrm>
                <a:off x="-1515737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2" name="Freeform 235"/>
              <p:cNvSpPr>
                <a:spLocks/>
              </p:cNvSpPr>
              <p:nvPr/>
            </p:nvSpPr>
            <p:spPr bwMode="auto">
              <a:xfrm>
                <a:off x="-1746821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3" name="Freeform 236"/>
              <p:cNvSpPr>
                <a:spLocks/>
              </p:cNvSpPr>
              <p:nvPr/>
            </p:nvSpPr>
            <p:spPr bwMode="auto">
              <a:xfrm>
                <a:off x="-2680782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4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5" name="Freeform 238"/>
              <p:cNvSpPr>
                <a:spLocks noEditPoints="1"/>
              </p:cNvSpPr>
              <p:nvPr/>
            </p:nvSpPr>
            <p:spPr bwMode="auto">
              <a:xfrm>
                <a:off x="-4912180" y="4871026"/>
                <a:ext cx="917112" cy="49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6" name="Freeform 239"/>
              <p:cNvSpPr>
                <a:spLocks noEditPoints="1"/>
              </p:cNvSpPr>
              <p:nvPr/>
            </p:nvSpPr>
            <p:spPr bwMode="auto">
              <a:xfrm>
                <a:off x="-3672514" y="4871026"/>
                <a:ext cx="1172265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7" name="Freeform 240"/>
              <p:cNvSpPr>
                <a:spLocks noEditPoints="1"/>
              </p:cNvSpPr>
              <p:nvPr/>
            </p:nvSpPr>
            <p:spPr bwMode="auto">
              <a:xfrm>
                <a:off x="-2071782" y="4871026"/>
                <a:ext cx="1239666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8" name="Freeform 241"/>
              <p:cNvSpPr>
                <a:spLocks noEditPoints="1"/>
              </p:cNvSpPr>
              <p:nvPr/>
            </p:nvSpPr>
            <p:spPr bwMode="auto">
              <a:xfrm>
                <a:off x="-6245723" y="4871026"/>
                <a:ext cx="919519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9" name="Freeform 242"/>
              <p:cNvSpPr>
                <a:spLocks/>
              </p:cNvSpPr>
              <p:nvPr/>
            </p:nvSpPr>
            <p:spPr bwMode="auto">
              <a:xfrm>
                <a:off x="-5020500" y="4541414"/>
                <a:ext cx="722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0" name="Freeform 243"/>
              <p:cNvSpPr>
                <a:spLocks noEditPoints="1"/>
              </p:cNvSpPr>
              <p:nvPr/>
            </p:nvSpPr>
            <p:spPr bwMode="auto">
              <a:xfrm>
                <a:off x="-3780835" y="4541414"/>
                <a:ext cx="140816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1" name="Freeform 244"/>
              <p:cNvSpPr>
                <a:spLocks/>
              </p:cNvSpPr>
              <p:nvPr/>
            </p:nvSpPr>
            <p:spPr bwMode="auto">
              <a:xfrm>
                <a:off x="-2175287" y="4541414"/>
                <a:ext cx="0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2" name="Freeform 245"/>
              <p:cNvSpPr>
                <a:spLocks/>
              </p:cNvSpPr>
              <p:nvPr/>
            </p:nvSpPr>
            <p:spPr bwMode="auto">
              <a:xfrm>
                <a:off x="-6310714" y="4541414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3" name="Freeform 246"/>
              <p:cNvSpPr>
                <a:spLocks noEditPoints="1"/>
              </p:cNvSpPr>
              <p:nvPr/>
            </p:nvSpPr>
            <p:spPr bwMode="auto">
              <a:xfrm>
                <a:off x="-4062467" y="3527981"/>
                <a:ext cx="3134066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4" name="Freeform 247"/>
              <p:cNvSpPr>
                <a:spLocks noEditPoints="1"/>
              </p:cNvSpPr>
              <p:nvPr/>
            </p:nvSpPr>
            <p:spPr bwMode="auto">
              <a:xfrm>
                <a:off x="-6245723" y="3527981"/>
                <a:ext cx="2043643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5" name="Freeform 248"/>
              <p:cNvSpPr>
                <a:spLocks/>
              </p:cNvSpPr>
              <p:nvPr/>
            </p:nvSpPr>
            <p:spPr bwMode="auto">
              <a:xfrm>
                <a:off x="-3691771" y="2785124"/>
                <a:ext cx="9628" cy="2459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6" name="Freeform 249"/>
              <p:cNvSpPr>
                <a:spLocks noEditPoints="1"/>
              </p:cNvSpPr>
              <p:nvPr/>
            </p:nvSpPr>
            <p:spPr bwMode="auto">
              <a:xfrm>
                <a:off x="-5836513" y="2785124"/>
                <a:ext cx="1314286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7" name="Freeform 250"/>
              <p:cNvSpPr>
                <a:spLocks/>
              </p:cNvSpPr>
              <p:nvPr/>
            </p:nvSpPr>
            <p:spPr bwMode="auto">
              <a:xfrm>
                <a:off x="-3672514" y="2669513"/>
                <a:ext cx="4814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8" name="Freeform 251"/>
              <p:cNvSpPr>
                <a:spLocks/>
              </p:cNvSpPr>
              <p:nvPr/>
            </p:nvSpPr>
            <p:spPr bwMode="auto">
              <a:xfrm>
                <a:off x="-1308725" y="3146713"/>
                <a:ext cx="7221" cy="246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9" name="Freeform 252"/>
              <p:cNvSpPr>
                <a:spLocks/>
              </p:cNvSpPr>
              <p:nvPr/>
            </p:nvSpPr>
            <p:spPr bwMode="auto">
              <a:xfrm>
                <a:off x="-5737821" y="2669513"/>
                <a:ext cx="2406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0" name="Freeform 253"/>
              <p:cNvSpPr>
                <a:spLocks noEditPoints="1"/>
              </p:cNvSpPr>
              <p:nvPr/>
            </p:nvSpPr>
            <p:spPr bwMode="auto">
              <a:xfrm>
                <a:off x="-5034942" y="4460241"/>
                <a:ext cx="1162637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1" name="Freeform 254"/>
              <p:cNvSpPr>
                <a:spLocks noEditPoints="1"/>
              </p:cNvSpPr>
              <p:nvPr/>
            </p:nvSpPr>
            <p:spPr bwMode="auto">
              <a:xfrm>
                <a:off x="-3795278" y="4460241"/>
                <a:ext cx="1449084" cy="2461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2" name="Freeform 255"/>
              <p:cNvSpPr>
                <a:spLocks noEditPoints="1"/>
              </p:cNvSpPr>
              <p:nvPr/>
            </p:nvSpPr>
            <p:spPr bwMode="auto">
              <a:xfrm>
                <a:off x="-2199359" y="4460241"/>
                <a:ext cx="1434642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3" name="Freeform 256"/>
              <p:cNvSpPr>
                <a:spLocks noEditPoints="1"/>
              </p:cNvSpPr>
              <p:nvPr/>
            </p:nvSpPr>
            <p:spPr bwMode="auto">
              <a:xfrm>
                <a:off x="-6315529" y="4460241"/>
                <a:ext cx="1167451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4" name="Freeform 257"/>
              <p:cNvSpPr>
                <a:spLocks noEditPoints="1"/>
              </p:cNvSpPr>
              <p:nvPr/>
            </p:nvSpPr>
            <p:spPr bwMode="auto">
              <a:xfrm>
                <a:off x="-6212023" y="5200638"/>
                <a:ext cx="7486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5" name="Freeform 258"/>
              <p:cNvSpPr>
                <a:spLocks noEditPoints="1"/>
              </p:cNvSpPr>
              <p:nvPr/>
            </p:nvSpPr>
            <p:spPr bwMode="auto">
              <a:xfrm>
                <a:off x="-4837559" y="5200638"/>
                <a:ext cx="741392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6" name="Freeform 259"/>
              <p:cNvSpPr>
                <a:spLocks noEditPoints="1"/>
              </p:cNvSpPr>
              <p:nvPr/>
            </p:nvSpPr>
            <p:spPr bwMode="auto">
              <a:xfrm>
                <a:off x="-3593080" y="5200638"/>
                <a:ext cx="92674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7" name="Freeform 260"/>
              <p:cNvSpPr>
                <a:spLocks noEditPoints="1"/>
              </p:cNvSpPr>
              <p:nvPr/>
            </p:nvSpPr>
            <p:spPr bwMode="auto">
              <a:xfrm>
                <a:off x="-1879213" y="5200638"/>
                <a:ext cx="96766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8" name="Freeform 261"/>
              <p:cNvSpPr>
                <a:spLocks noEditPoints="1"/>
              </p:cNvSpPr>
              <p:nvPr/>
            </p:nvSpPr>
            <p:spPr bwMode="auto">
              <a:xfrm>
                <a:off x="-6175916" y="5318708"/>
                <a:ext cx="63307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9" name="Freeform 262"/>
              <p:cNvSpPr>
                <a:spLocks noEditPoints="1"/>
              </p:cNvSpPr>
              <p:nvPr/>
            </p:nvSpPr>
            <p:spPr bwMode="auto">
              <a:xfrm>
                <a:off x="-4779788" y="5323628"/>
                <a:ext cx="625850" cy="49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0" name="Freeform 263"/>
              <p:cNvSpPr>
                <a:spLocks noEditPoints="1"/>
              </p:cNvSpPr>
              <p:nvPr/>
            </p:nvSpPr>
            <p:spPr bwMode="auto">
              <a:xfrm>
                <a:off x="-3537716" y="5323628"/>
                <a:ext cx="791941" cy="49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1" name="Freeform 264"/>
              <p:cNvSpPr>
                <a:spLocks/>
              </p:cNvSpPr>
              <p:nvPr/>
            </p:nvSpPr>
            <p:spPr bwMode="auto">
              <a:xfrm>
                <a:off x="-1766077" y="5323628"/>
                <a:ext cx="7221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2" name="Freeform 265"/>
              <p:cNvSpPr>
                <a:spLocks noEditPoints="1"/>
              </p:cNvSpPr>
              <p:nvPr/>
            </p:nvSpPr>
            <p:spPr bwMode="auto">
              <a:xfrm>
                <a:off x="-6344414" y="3965824"/>
                <a:ext cx="5591732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3" name="Freeform 266"/>
              <p:cNvSpPr>
                <a:spLocks noEditPoints="1"/>
              </p:cNvSpPr>
              <p:nvPr/>
            </p:nvSpPr>
            <p:spPr bwMode="auto">
              <a:xfrm>
                <a:off x="-6264980" y="3582096"/>
                <a:ext cx="2074935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4" name="Freeform 267"/>
              <p:cNvSpPr>
                <a:spLocks noEditPoints="1"/>
              </p:cNvSpPr>
              <p:nvPr/>
            </p:nvSpPr>
            <p:spPr bwMode="auto">
              <a:xfrm>
                <a:off x="-4079318" y="3582096"/>
                <a:ext cx="3184617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5" name="Freeform 268"/>
              <p:cNvSpPr>
                <a:spLocks/>
              </p:cNvSpPr>
              <p:nvPr/>
            </p:nvSpPr>
            <p:spPr bwMode="auto">
              <a:xfrm>
                <a:off x="-3833792" y="4088813"/>
                <a:ext cx="2408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6" name="Freeform 269"/>
              <p:cNvSpPr>
                <a:spLocks/>
              </p:cNvSpPr>
              <p:nvPr/>
            </p:nvSpPr>
            <p:spPr bwMode="auto">
              <a:xfrm>
                <a:off x="-2269166" y="4044537"/>
                <a:ext cx="240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7" name="Freeform 270"/>
              <p:cNvSpPr>
                <a:spLocks/>
              </p:cNvSpPr>
              <p:nvPr/>
            </p:nvSpPr>
            <p:spPr bwMode="auto">
              <a:xfrm>
                <a:off x="-1301505" y="3146713"/>
                <a:ext cx="7222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8" name="Freeform 271"/>
              <p:cNvSpPr>
                <a:spLocks/>
              </p:cNvSpPr>
              <p:nvPr/>
            </p:nvSpPr>
            <p:spPr bwMode="auto">
              <a:xfrm>
                <a:off x="-4139495" y="3892030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9" name="Freeform 272"/>
              <p:cNvSpPr>
                <a:spLocks/>
              </p:cNvSpPr>
              <p:nvPr/>
            </p:nvSpPr>
            <p:spPr bwMode="auto">
              <a:xfrm>
                <a:off x="-5075864" y="4002720"/>
                <a:ext cx="2408" cy="246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0" name="Freeform 273"/>
              <p:cNvSpPr>
                <a:spLocks/>
              </p:cNvSpPr>
              <p:nvPr/>
            </p:nvSpPr>
            <p:spPr bwMode="auto">
              <a:xfrm>
                <a:off x="-4529448" y="2785124"/>
                <a:ext cx="7221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1" name="Freeform 274"/>
              <p:cNvSpPr>
                <a:spLocks/>
              </p:cNvSpPr>
              <p:nvPr/>
            </p:nvSpPr>
            <p:spPr bwMode="auto">
              <a:xfrm>
                <a:off x="-4524634" y="2785124"/>
                <a:ext cx="2406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2" name="Freeform 275"/>
              <p:cNvSpPr>
                <a:spLocks/>
              </p:cNvSpPr>
              <p:nvPr/>
            </p:nvSpPr>
            <p:spPr bwMode="auto">
              <a:xfrm>
                <a:off x="-4341693" y="2785124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3" name="Freeform 276"/>
              <p:cNvSpPr>
                <a:spLocks noEditPoints="1"/>
              </p:cNvSpPr>
              <p:nvPr/>
            </p:nvSpPr>
            <p:spPr bwMode="auto">
              <a:xfrm>
                <a:off x="-6036303" y="3149173"/>
                <a:ext cx="166091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4" name="Freeform 277"/>
              <p:cNvSpPr>
                <a:spLocks/>
              </p:cNvSpPr>
              <p:nvPr/>
            </p:nvSpPr>
            <p:spPr bwMode="auto">
              <a:xfrm>
                <a:off x="-1303911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5" name="Freeform 278"/>
              <p:cNvSpPr>
                <a:spLocks/>
              </p:cNvSpPr>
              <p:nvPr/>
            </p:nvSpPr>
            <p:spPr bwMode="auto">
              <a:xfrm>
                <a:off x="-1301505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6" name="Freeform 279"/>
              <p:cNvSpPr>
                <a:spLocks/>
              </p:cNvSpPr>
              <p:nvPr/>
            </p:nvSpPr>
            <p:spPr bwMode="auto">
              <a:xfrm>
                <a:off x="-3872306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7" name="Freeform 280"/>
              <p:cNvSpPr>
                <a:spLocks/>
              </p:cNvSpPr>
              <p:nvPr/>
            </p:nvSpPr>
            <p:spPr bwMode="auto">
              <a:xfrm>
                <a:off x="-5675236" y="2593261"/>
                <a:ext cx="1612768" cy="2508986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8" name="Freeform 281"/>
              <p:cNvSpPr>
                <a:spLocks/>
              </p:cNvSpPr>
              <p:nvPr/>
            </p:nvSpPr>
            <p:spPr bwMode="auto">
              <a:xfrm>
                <a:off x="-5010871" y="2548984"/>
                <a:ext cx="231083" cy="18694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9" name="Freeform 282"/>
              <p:cNvSpPr>
                <a:spLocks/>
              </p:cNvSpPr>
              <p:nvPr/>
            </p:nvSpPr>
            <p:spPr bwMode="auto">
              <a:xfrm>
                <a:off x="-4938658" y="2428454"/>
                <a:ext cx="385139" cy="341912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0" name="Freeform 283"/>
              <p:cNvSpPr>
                <a:spLocks/>
              </p:cNvSpPr>
              <p:nvPr/>
            </p:nvSpPr>
            <p:spPr bwMode="auto">
              <a:xfrm>
                <a:off x="-3747136" y="2502248"/>
                <a:ext cx="2043643" cy="2208892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1" name="Freeform 284"/>
              <p:cNvSpPr>
                <a:spLocks/>
              </p:cNvSpPr>
              <p:nvPr/>
            </p:nvSpPr>
            <p:spPr bwMode="auto">
              <a:xfrm>
                <a:off x="-3751950" y="2445673"/>
                <a:ext cx="507902" cy="324692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2" name="Freeform 285"/>
              <p:cNvSpPr>
                <a:spLocks/>
              </p:cNvSpPr>
              <p:nvPr/>
            </p:nvSpPr>
            <p:spPr bwMode="auto">
              <a:xfrm>
                <a:off x="-1826256" y="3864971"/>
                <a:ext cx="149241" cy="223842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3" name="Freeform 286"/>
              <p:cNvSpPr>
                <a:spLocks/>
              </p:cNvSpPr>
              <p:nvPr/>
            </p:nvSpPr>
            <p:spPr bwMode="auto">
              <a:xfrm>
                <a:off x="-2038082" y="3899408"/>
                <a:ext cx="180535" cy="250899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4" name="Freeform 287"/>
              <p:cNvSpPr>
                <a:spLocks/>
              </p:cNvSpPr>
              <p:nvPr/>
            </p:nvSpPr>
            <p:spPr bwMode="auto">
              <a:xfrm>
                <a:off x="-1486852" y="4024859"/>
                <a:ext cx="305703" cy="201703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5" name="Freeform 288"/>
              <p:cNvSpPr>
                <a:spLocks/>
              </p:cNvSpPr>
              <p:nvPr/>
            </p:nvSpPr>
            <p:spPr bwMode="auto">
              <a:xfrm>
                <a:off x="-1710715" y="4251159"/>
                <a:ext cx="572894" cy="568211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6" name="Freeform 289"/>
              <p:cNvSpPr>
                <a:spLocks/>
              </p:cNvSpPr>
              <p:nvPr/>
            </p:nvSpPr>
            <p:spPr bwMode="auto">
              <a:xfrm>
                <a:off x="-5229920" y="2526846"/>
                <a:ext cx="50550" cy="46737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7" name="Freeform 290"/>
              <p:cNvSpPr>
                <a:spLocks/>
              </p:cNvSpPr>
              <p:nvPr/>
            </p:nvSpPr>
            <p:spPr bwMode="auto">
              <a:xfrm>
                <a:off x="-5172149" y="2558824"/>
                <a:ext cx="86656" cy="56574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8" name="Freeform 291"/>
              <p:cNvSpPr>
                <a:spLocks/>
              </p:cNvSpPr>
              <p:nvPr/>
            </p:nvSpPr>
            <p:spPr bwMode="auto">
              <a:xfrm>
                <a:off x="-5030128" y="2418615"/>
                <a:ext cx="79434" cy="91013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9" name="Freeform 292"/>
              <p:cNvSpPr>
                <a:spLocks/>
              </p:cNvSpPr>
              <p:nvPr/>
            </p:nvSpPr>
            <p:spPr bwMode="auto">
              <a:xfrm>
                <a:off x="-5054199" y="2553904"/>
                <a:ext cx="113134" cy="127909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0" name="Freeform 293"/>
              <p:cNvSpPr>
                <a:spLocks/>
              </p:cNvSpPr>
              <p:nvPr/>
            </p:nvSpPr>
            <p:spPr bwMode="auto">
              <a:xfrm>
                <a:off x="-5126413" y="2482569"/>
                <a:ext cx="52957" cy="61496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1" name="Freeform 294"/>
              <p:cNvSpPr>
                <a:spLocks/>
              </p:cNvSpPr>
              <p:nvPr/>
            </p:nvSpPr>
            <p:spPr bwMode="auto">
              <a:xfrm>
                <a:off x="-4844781" y="3505842"/>
                <a:ext cx="117949" cy="98392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2" name="Freeform 295"/>
              <p:cNvSpPr>
                <a:spLocks/>
              </p:cNvSpPr>
              <p:nvPr/>
            </p:nvSpPr>
            <p:spPr bwMode="auto">
              <a:xfrm>
                <a:off x="-4454828" y="2664594"/>
                <a:ext cx="96285" cy="56576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3" name="Freeform 296"/>
              <p:cNvSpPr>
                <a:spLocks/>
              </p:cNvSpPr>
              <p:nvPr/>
            </p:nvSpPr>
            <p:spPr bwMode="auto">
              <a:xfrm>
                <a:off x="-3431802" y="2822020"/>
                <a:ext cx="86656" cy="164807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4" name="Freeform 297"/>
              <p:cNvSpPr>
                <a:spLocks/>
              </p:cNvSpPr>
              <p:nvPr/>
            </p:nvSpPr>
            <p:spPr bwMode="auto">
              <a:xfrm>
                <a:off x="-3487167" y="2888436"/>
                <a:ext cx="64993" cy="66414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5" name="Freeform 298"/>
              <p:cNvSpPr>
                <a:spLocks/>
              </p:cNvSpPr>
              <p:nvPr/>
            </p:nvSpPr>
            <p:spPr bwMode="auto">
              <a:xfrm>
                <a:off x="-5085493" y="2418615"/>
                <a:ext cx="9628" cy="158410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6" name="Freeform 299"/>
              <p:cNvSpPr>
                <a:spLocks/>
              </p:cNvSpPr>
              <p:nvPr/>
            </p:nvSpPr>
            <p:spPr bwMode="auto">
              <a:xfrm>
                <a:off x="-2902237" y="2418615"/>
                <a:ext cx="647514" cy="16480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5" name="Group 21"/>
            <p:cNvGrpSpPr>
              <a:grpSpLocks/>
            </p:cNvGrpSpPr>
            <p:nvPr userDrawn="1">
              <p:custDataLst>
                <p:tags r:id="rId2"/>
              </p:custDataLst>
            </p:nvPr>
          </p:nvGrpSpPr>
          <p:grpSpPr bwMode="auto">
            <a:xfrm>
              <a:off x="5407262" y="1670190"/>
              <a:ext cx="2631666" cy="1243192"/>
              <a:chOff x="6450011" y="3926681"/>
              <a:chExt cx="3425034" cy="1653383"/>
            </a:xfrm>
          </p:grpSpPr>
          <p:sp>
            <p:nvSpPr>
              <p:cNvPr id="30" name="Oval 22"/>
              <p:cNvSpPr/>
              <p:nvPr/>
            </p:nvSpPr>
            <p:spPr>
              <a:xfrm>
                <a:off x="6821694" y="4042484"/>
                <a:ext cx="55785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1" name="Oval 23"/>
              <p:cNvSpPr/>
              <p:nvPr/>
            </p:nvSpPr>
            <p:spPr>
              <a:xfrm>
                <a:off x="6449799" y="4283171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2" name="Oval 24"/>
              <p:cNvSpPr/>
              <p:nvPr/>
            </p:nvSpPr>
            <p:spPr>
              <a:xfrm>
                <a:off x="6528310" y="4500635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3" name="Oval 25"/>
              <p:cNvSpPr/>
              <p:nvPr/>
            </p:nvSpPr>
            <p:spPr>
              <a:xfrm>
                <a:off x="6685332" y="4680095"/>
                <a:ext cx="55785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4" name="Oval 26"/>
              <p:cNvSpPr/>
              <p:nvPr/>
            </p:nvSpPr>
            <p:spPr>
              <a:xfrm>
                <a:off x="7234911" y="5150914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5" name="Oval 27"/>
              <p:cNvSpPr/>
              <p:nvPr/>
            </p:nvSpPr>
            <p:spPr>
              <a:xfrm>
                <a:off x="6968386" y="5484499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6" name="Oval 28"/>
              <p:cNvSpPr/>
              <p:nvPr/>
            </p:nvSpPr>
            <p:spPr>
              <a:xfrm>
                <a:off x="7121277" y="5524613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7" name="Oval 29"/>
              <p:cNvSpPr/>
              <p:nvPr/>
            </p:nvSpPr>
            <p:spPr>
              <a:xfrm>
                <a:off x="9819582" y="5476054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8" name="Oval 30"/>
              <p:cNvSpPr/>
              <p:nvPr/>
            </p:nvSpPr>
            <p:spPr>
              <a:xfrm>
                <a:off x="9272069" y="4965120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9" name="Oval 31"/>
              <p:cNvSpPr/>
              <p:nvPr/>
            </p:nvSpPr>
            <p:spPr>
              <a:xfrm>
                <a:off x="9323722" y="4696985"/>
                <a:ext cx="55784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0" name="Oval 32"/>
              <p:cNvSpPr/>
              <p:nvPr/>
            </p:nvSpPr>
            <p:spPr>
              <a:xfrm>
                <a:off x="9410497" y="4726543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Oval 33"/>
              <p:cNvSpPr/>
              <p:nvPr/>
            </p:nvSpPr>
            <p:spPr>
              <a:xfrm>
                <a:off x="9418761" y="4589310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Oval 34"/>
              <p:cNvSpPr/>
              <p:nvPr/>
            </p:nvSpPr>
            <p:spPr>
              <a:xfrm>
                <a:off x="9096452" y="4399293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Oval 35"/>
              <p:cNvSpPr/>
              <p:nvPr/>
            </p:nvSpPr>
            <p:spPr>
              <a:xfrm>
                <a:off x="8933231" y="4684318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Oval 36"/>
              <p:cNvSpPr/>
              <p:nvPr/>
            </p:nvSpPr>
            <p:spPr>
              <a:xfrm>
                <a:off x="8600592" y="4547084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Oval 37"/>
              <p:cNvSpPr/>
              <p:nvPr/>
            </p:nvSpPr>
            <p:spPr>
              <a:xfrm>
                <a:off x="8612989" y="4673762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6" name="Oval 38"/>
              <p:cNvSpPr/>
              <p:nvPr/>
            </p:nvSpPr>
            <p:spPr>
              <a:xfrm>
                <a:off x="8369191" y="4378180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Oval 39"/>
              <p:cNvSpPr/>
              <p:nvPr/>
            </p:nvSpPr>
            <p:spPr>
              <a:xfrm>
                <a:off x="7844406" y="4437297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Oval 40"/>
              <p:cNvSpPr/>
              <p:nvPr/>
            </p:nvSpPr>
            <p:spPr>
              <a:xfrm>
                <a:off x="7914653" y="4259948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Oval 41"/>
              <p:cNvSpPr/>
              <p:nvPr/>
            </p:nvSpPr>
            <p:spPr>
              <a:xfrm>
                <a:off x="7982833" y="4259948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Oval 42"/>
              <p:cNvSpPr/>
              <p:nvPr/>
            </p:nvSpPr>
            <p:spPr>
              <a:xfrm>
                <a:off x="8053080" y="4173384"/>
                <a:ext cx="55785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Oval 43"/>
              <p:cNvSpPr/>
              <p:nvPr/>
            </p:nvSpPr>
            <p:spPr>
              <a:xfrm>
                <a:off x="8030353" y="4048818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2" name="Oval 44"/>
              <p:cNvSpPr/>
              <p:nvPr/>
            </p:nvSpPr>
            <p:spPr>
              <a:xfrm>
                <a:off x="8137790" y="3926363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3" name="Oval 45"/>
              <p:cNvSpPr/>
              <p:nvPr/>
            </p:nvSpPr>
            <p:spPr>
              <a:xfrm>
                <a:off x="8212169" y="3966477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Oval 46"/>
              <p:cNvSpPr/>
              <p:nvPr/>
            </p:nvSpPr>
            <p:spPr>
              <a:xfrm>
                <a:off x="8146054" y="4034039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Oval 47"/>
              <p:cNvSpPr/>
              <p:nvPr/>
            </p:nvSpPr>
            <p:spPr>
              <a:xfrm>
                <a:off x="8086137" y="4124825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6" name="Oval 48"/>
              <p:cNvSpPr/>
              <p:nvPr/>
            </p:nvSpPr>
            <p:spPr>
              <a:xfrm>
                <a:off x="8150186" y="4116380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7" name="Oval 49"/>
              <p:cNvSpPr/>
              <p:nvPr/>
            </p:nvSpPr>
            <p:spPr>
              <a:xfrm>
                <a:off x="8205970" y="4148048"/>
                <a:ext cx="53718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Oval 50"/>
              <p:cNvSpPr/>
              <p:nvPr/>
            </p:nvSpPr>
            <p:spPr>
              <a:xfrm>
                <a:off x="8241094" y="4198720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Oval 51"/>
              <p:cNvSpPr/>
              <p:nvPr/>
            </p:nvSpPr>
            <p:spPr>
              <a:xfrm>
                <a:off x="8243159" y="4259948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Oval 52"/>
              <p:cNvSpPr/>
              <p:nvPr/>
            </p:nvSpPr>
            <p:spPr>
              <a:xfrm>
                <a:off x="8170847" y="4276838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Oval 53"/>
              <p:cNvSpPr/>
              <p:nvPr/>
            </p:nvSpPr>
            <p:spPr>
              <a:xfrm>
                <a:off x="8129525" y="4202942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6" name="Group 362"/>
          <p:cNvGrpSpPr/>
          <p:nvPr userDrawn="1"/>
        </p:nvGrpSpPr>
        <p:grpSpPr>
          <a:xfrm>
            <a:off x="5405034" y="4005064"/>
            <a:ext cx="3354303" cy="576000"/>
            <a:chOff x="4932104" y="4725144"/>
            <a:chExt cx="3096280" cy="576000"/>
          </a:xfrm>
        </p:grpSpPr>
        <p:pic>
          <p:nvPicPr>
            <p:cNvPr id="365" name="Picture 364" descr="1394032025_46-facebook.png"/>
            <p:cNvPicPr>
              <a:picLocks noChangeAspect="1"/>
            </p:cNvPicPr>
            <p:nvPr userDrawn="1"/>
          </p:nvPicPr>
          <p:blipFill>
            <a:blip r:embed="rId8" cstate="screen">
              <a:lum bright="100000"/>
            </a:blip>
            <a:stretch>
              <a:fillRect/>
            </a:stretch>
          </p:blipFill>
          <p:spPr>
            <a:xfrm>
              <a:off x="4932104" y="4725144"/>
              <a:ext cx="576000" cy="576000"/>
            </a:xfrm>
            <a:prstGeom prst="rect">
              <a:avLst/>
            </a:prstGeom>
          </p:spPr>
        </p:pic>
        <p:pic>
          <p:nvPicPr>
            <p:cNvPr id="366" name="Picture 365" descr="1394032040_11-linkedin.png"/>
            <p:cNvPicPr>
              <a:picLocks noChangeAspect="1"/>
            </p:cNvPicPr>
            <p:nvPr userDrawn="1"/>
          </p:nvPicPr>
          <p:blipFill>
            <a:blip r:embed="rId9" cstate="screen">
              <a:lum bright="100000"/>
            </a:blip>
            <a:stretch>
              <a:fillRect/>
            </a:stretch>
          </p:blipFill>
          <p:spPr>
            <a:xfrm>
              <a:off x="5784197" y="4743144"/>
              <a:ext cx="540000" cy="540000"/>
            </a:xfrm>
            <a:prstGeom prst="rect">
              <a:avLst/>
            </a:prstGeom>
          </p:spPr>
        </p:pic>
        <p:pic>
          <p:nvPicPr>
            <p:cNvPr id="367" name="Picture 366" descr="1394031971_45-twitter.png"/>
            <p:cNvPicPr>
              <a:picLocks noChangeAspect="1"/>
            </p:cNvPicPr>
            <p:nvPr userDrawn="1"/>
          </p:nvPicPr>
          <p:blipFill>
            <a:blip r:embed="rId10" cstate="screen">
              <a:lum bright="100000"/>
            </a:blip>
            <a:stretch>
              <a:fillRect/>
            </a:stretch>
          </p:blipFill>
          <p:spPr>
            <a:xfrm>
              <a:off x="6600290" y="4725144"/>
              <a:ext cx="576000" cy="576000"/>
            </a:xfrm>
            <a:prstGeom prst="rect">
              <a:avLst/>
            </a:prstGeom>
          </p:spPr>
        </p:pic>
        <p:pic>
          <p:nvPicPr>
            <p:cNvPr id="368" name="Picture 367" descr="1394031976_18-youtube.png"/>
            <p:cNvPicPr>
              <a:picLocks noChangeAspect="1"/>
            </p:cNvPicPr>
            <p:nvPr userDrawn="1"/>
          </p:nvPicPr>
          <p:blipFill>
            <a:blip r:embed="rId11" cstate="screen">
              <a:lum bright="100000"/>
            </a:blip>
            <a:stretch>
              <a:fillRect/>
            </a:stretch>
          </p:blipFill>
          <p:spPr>
            <a:xfrm>
              <a:off x="7452384" y="4725144"/>
              <a:ext cx="576000" cy="576000"/>
            </a:xfrm>
            <a:prstGeom prst="rect">
              <a:avLst/>
            </a:prstGeom>
          </p:spPr>
        </p:pic>
      </p:grpSp>
    </p:spTree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691202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692226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93250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94274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695298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808962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809986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11010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7" name="Picture 356" descr="city (7).jpg"/>
          <p:cNvPicPr>
            <a:picLocks noChangeAspect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pic>
        <p:nvPicPr>
          <p:cNvPr id="363" name="Picture 362" descr="Back_Content Slide_PPT Template_White.png"/>
          <p:cNvPicPr preferRelativeResize="0">
            <a:picLocks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410" y="283"/>
            <a:ext cx="9905182" cy="5832000"/>
          </a:xfrm>
          <a:prstGeom prst="rect">
            <a:avLst/>
          </a:prstGeom>
        </p:spPr>
      </p:pic>
      <p:sp>
        <p:nvSpPr>
          <p:cNvPr id="358" name="TextBox 357"/>
          <p:cNvSpPr txBox="1"/>
          <p:nvPr userDrawn="1"/>
        </p:nvSpPr>
        <p:spPr>
          <a:xfrm>
            <a:off x="740532" y="1124745"/>
            <a:ext cx="3744416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041400"/>
            <a:r>
              <a:rPr lang="en-US" sz="3600" dirty="0" smtClean="0">
                <a:solidFill>
                  <a:srgbClr val="0094C3"/>
                </a:solidFill>
              </a:rPr>
              <a:t>About </a:t>
            </a:r>
            <a:r>
              <a:rPr lang="en-US" sz="3600" dirty="0" err="1" smtClean="0">
                <a:solidFill>
                  <a:srgbClr val="0094C3"/>
                </a:solidFill>
              </a:rPr>
              <a:t>Capgemini</a:t>
            </a:r>
            <a:endParaRPr lang="en-US" sz="3600" dirty="0" smtClean="0">
              <a:solidFill>
                <a:srgbClr val="0094C3"/>
              </a:solidFill>
            </a:endParaRPr>
          </a:p>
          <a:p>
            <a:pPr algn="just" defTabSz="1041400"/>
            <a:endParaRPr lang="en-US" sz="1800" dirty="0" smtClean="0">
              <a:solidFill>
                <a:srgbClr val="0094C3"/>
              </a:solidFill>
            </a:endParaRPr>
          </a:p>
          <a:p>
            <a:pPr defTabSz="1041400"/>
            <a:r>
              <a:rPr lang="en-US" sz="1200" dirty="0" smtClean="0">
                <a:solidFill>
                  <a:srgbClr val="0094C3"/>
                </a:solidFill>
              </a:rPr>
              <a:t>With more than 120,000 people in 40 countries, </a:t>
            </a:r>
            <a:r>
              <a:rPr lang="en-US" sz="1200" dirty="0" err="1" smtClean="0">
                <a:solidFill>
                  <a:srgbClr val="0094C3"/>
                </a:solidFill>
              </a:rPr>
              <a:t>Capgemini</a:t>
            </a:r>
            <a:r>
              <a:rPr lang="en-US" sz="1200" dirty="0" smtClean="0">
                <a:solidFill>
                  <a:srgbClr val="0094C3"/>
                </a:solidFill>
              </a:rPr>
              <a:t> is one of the world's foremost providers of consulting, technology and outsourcing services. The group reported 2011 global revenues of EUR 9.7 billion.</a:t>
            </a:r>
          </a:p>
          <a:p>
            <a:pPr defTabSz="1041400"/>
            <a:r>
              <a:rPr lang="en-US" sz="1200" dirty="0" smtClean="0">
                <a:solidFill>
                  <a:srgbClr val="0094C3"/>
                </a:solidFill>
              </a:rPr>
              <a:t>Together with its clients, </a:t>
            </a:r>
            <a:r>
              <a:rPr lang="en-US" sz="1200" dirty="0" err="1" smtClean="0">
                <a:solidFill>
                  <a:srgbClr val="0094C3"/>
                </a:solidFill>
              </a:rPr>
              <a:t>Capgemini</a:t>
            </a:r>
            <a:r>
              <a:rPr lang="en-US" sz="1200" dirty="0" smtClean="0">
                <a:solidFill>
                  <a:srgbClr val="0094C3"/>
                </a:solidFill>
              </a:rPr>
              <a:t> creates and delivers business and technology solutions that fit their needs and drive the results they want. A deeply multicultural organization, </a:t>
            </a:r>
            <a:r>
              <a:rPr lang="en-US" sz="1200" dirty="0" err="1" smtClean="0">
                <a:solidFill>
                  <a:srgbClr val="0094C3"/>
                </a:solidFill>
              </a:rPr>
              <a:t>Capgemini</a:t>
            </a:r>
            <a:r>
              <a:rPr lang="en-US" sz="1200" dirty="0" smtClean="0">
                <a:solidFill>
                  <a:srgbClr val="0094C3"/>
                </a:solidFill>
              </a:rPr>
              <a:t> has developed its own way of working, the Collaborative Business </a:t>
            </a:r>
            <a:r>
              <a:rPr lang="en-US" sz="1200" dirty="0" err="1" smtClean="0">
                <a:solidFill>
                  <a:srgbClr val="0094C3"/>
                </a:solidFill>
              </a:rPr>
              <a:t>Experience</a:t>
            </a:r>
            <a:r>
              <a:rPr lang="en-US" sz="1200" baseline="30000" dirty="0" err="1" smtClean="0">
                <a:solidFill>
                  <a:srgbClr val="0094C3"/>
                </a:solidFill>
              </a:rPr>
              <a:t>tm</a:t>
            </a:r>
            <a:r>
              <a:rPr lang="en-US" sz="1200" dirty="0" smtClean="0">
                <a:solidFill>
                  <a:srgbClr val="0094C3"/>
                </a:solidFill>
              </a:rPr>
              <a:t>, and draws on </a:t>
            </a:r>
            <a:r>
              <a:rPr lang="en-US" sz="1200" dirty="0" err="1" smtClean="0">
                <a:solidFill>
                  <a:srgbClr val="0094C3"/>
                </a:solidFill>
              </a:rPr>
              <a:t>Rightshore</a:t>
            </a:r>
            <a:r>
              <a:rPr lang="en-US" sz="1200" b="1" baseline="30000" dirty="0" smtClean="0">
                <a:solidFill>
                  <a:srgbClr val="0094C3"/>
                </a:solidFill>
              </a:rPr>
              <a:t> ®</a:t>
            </a:r>
            <a:r>
              <a:rPr lang="en-US" sz="1200" dirty="0" smtClean="0">
                <a:solidFill>
                  <a:srgbClr val="0094C3"/>
                </a:solidFill>
              </a:rPr>
              <a:t>, its worldwide delivery model.</a:t>
            </a:r>
          </a:p>
          <a:p>
            <a:pPr defTabSz="1041400"/>
            <a:endParaRPr lang="en-US" sz="1200" dirty="0" smtClean="0">
              <a:solidFill>
                <a:srgbClr val="0094C3"/>
              </a:solidFill>
            </a:endParaRPr>
          </a:p>
          <a:p>
            <a:pPr defTabSz="1041400"/>
            <a:r>
              <a:rPr lang="en-US" sz="1200" i="1" dirty="0" err="1" smtClean="0">
                <a:solidFill>
                  <a:srgbClr val="0094C3"/>
                </a:solidFill>
              </a:rPr>
              <a:t>Rightshore</a:t>
            </a:r>
            <a:r>
              <a:rPr lang="en-US" sz="1200" i="1" baseline="30000" dirty="0" smtClean="0">
                <a:solidFill>
                  <a:srgbClr val="0094C3"/>
                </a:solidFill>
              </a:rPr>
              <a:t>®</a:t>
            </a:r>
            <a:r>
              <a:rPr lang="en-US" sz="1200" i="1" dirty="0" smtClean="0">
                <a:solidFill>
                  <a:srgbClr val="0094C3"/>
                </a:solidFill>
              </a:rPr>
              <a:t> is a trademark belonging to </a:t>
            </a:r>
            <a:r>
              <a:rPr lang="en-US" sz="1200" i="1" dirty="0" err="1" smtClean="0">
                <a:solidFill>
                  <a:srgbClr val="0094C3"/>
                </a:solidFill>
              </a:rPr>
              <a:t>Capgemini</a:t>
            </a:r>
            <a:endParaRPr lang="en-US" sz="1200" b="1" noProof="1" smtClean="0">
              <a:solidFill>
                <a:srgbClr val="0094C3"/>
              </a:solidFill>
            </a:endParaRPr>
          </a:p>
        </p:txBody>
      </p:sp>
      <p:pic>
        <p:nvPicPr>
          <p:cNvPr id="361" name="Picture 360" descr="capgemini logo.png"/>
          <p:cNvPicPr>
            <a:picLocks noChangeAspect="1"/>
          </p:cNvPicPr>
          <p:nvPr userDrawn="1"/>
        </p:nvPicPr>
        <p:blipFill>
          <a:blip r:embed="rId6" cstate="screen">
            <a:lum bright="100000"/>
          </a:blip>
          <a:stretch>
            <a:fillRect/>
          </a:stretch>
        </p:blipFill>
        <p:spPr>
          <a:xfrm>
            <a:off x="350493" y="6083066"/>
            <a:ext cx="2393651" cy="514286"/>
          </a:xfrm>
          <a:prstGeom prst="rect">
            <a:avLst/>
          </a:prstGeom>
        </p:spPr>
      </p:pic>
      <p:pic>
        <p:nvPicPr>
          <p:cNvPr id="362" name="Image 7" descr="Capgemini_Slogan_RGB.png"/>
          <p:cNvPicPr>
            <a:picLocks noChangeAspect="1"/>
          </p:cNvPicPr>
          <p:nvPr userDrawn="1"/>
        </p:nvPicPr>
        <p:blipFill>
          <a:blip r:embed="rId7" cstate="screen">
            <a:lum bright="100000"/>
          </a:blip>
          <a:stretch>
            <a:fillRect/>
          </a:stretch>
        </p:blipFill>
        <p:spPr>
          <a:xfrm>
            <a:off x="6744477" y="6314262"/>
            <a:ext cx="2967052" cy="283099"/>
          </a:xfrm>
          <a:prstGeom prst="rect">
            <a:avLst/>
          </a:prstGeom>
        </p:spPr>
      </p:pic>
      <p:sp>
        <p:nvSpPr>
          <p:cNvPr id="364" name="TextBox 363"/>
          <p:cNvSpPr txBox="1"/>
          <p:nvPr userDrawn="1"/>
        </p:nvSpPr>
        <p:spPr>
          <a:xfrm>
            <a:off x="5600021" y="3513207"/>
            <a:ext cx="29643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1800" dirty="0" smtClean="0">
                <a:solidFill>
                  <a:srgbClr val="0094C3"/>
                </a:solidFill>
              </a:rPr>
              <a:t>www.capgemini.com</a:t>
            </a:r>
            <a:endParaRPr lang="en-US" sz="1800" dirty="0">
              <a:solidFill>
                <a:srgbClr val="0094C3"/>
              </a:solidFill>
            </a:endParaRPr>
          </a:p>
        </p:txBody>
      </p:sp>
      <p:grpSp>
        <p:nvGrpSpPr>
          <p:cNvPr id="2" name="Group 54"/>
          <p:cNvGrpSpPr>
            <a:grpSpLocks/>
          </p:cNvGrpSpPr>
          <p:nvPr userDrawn="1">
            <p:custDataLst>
              <p:tags r:id="rId1"/>
            </p:custDataLst>
          </p:nvPr>
        </p:nvGrpSpPr>
        <p:grpSpPr bwMode="auto">
          <a:xfrm>
            <a:off x="5076905" y="1239269"/>
            <a:ext cx="4010554" cy="2117725"/>
            <a:chOff x="-6346822" y="2366960"/>
            <a:chExt cx="5613397" cy="3281360"/>
          </a:xfrm>
          <a:solidFill>
            <a:srgbClr val="0094C3"/>
          </a:solidFill>
        </p:grpSpPr>
        <p:grpSp>
          <p:nvGrpSpPr>
            <p:cNvPr id="3" name="Group 205"/>
            <p:cNvGrpSpPr>
              <a:grpSpLocks/>
            </p:cNvGrpSpPr>
            <p:nvPr/>
          </p:nvGrpSpPr>
          <p:grpSpPr bwMode="auto">
            <a:xfrm>
              <a:off x="-6170610" y="2416173"/>
              <a:ext cx="5135561" cy="3197223"/>
              <a:chOff x="-3887" y="1522"/>
              <a:chExt cx="3235" cy="2014"/>
            </a:xfrm>
            <a:grpFill/>
          </p:grpSpPr>
          <p:sp>
            <p:nvSpPr>
              <p:cNvPr id="157" name="Freeform 5"/>
              <p:cNvSpPr>
                <a:spLocks noEditPoints="1"/>
              </p:cNvSpPr>
              <p:nvPr/>
            </p:nvSpPr>
            <p:spPr bwMode="auto">
              <a:xfrm>
                <a:off x="-2016" y="3070"/>
                <a:ext cx="136" cy="2"/>
              </a:xfrm>
              <a:custGeom>
                <a:avLst/>
                <a:gdLst/>
                <a:ahLst/>
                <a:cxnLst>
                  <a:cxn ang="0">
                    <a:pos x="58" y="1"/>
                  </a:cxn>
                  <a:cxn ang="0">
                    <a:pos x="58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58" y="0"/>
                  </a:cxn>
                  <a:cxn ang="0">
                    <a:pos x="58" y="0"/>
                  </a:cxn>
                </a:cxnLst>
                <a:rect l="0" t="0" r="r" b="b"/>
                <a:pathLst>
                  <a:path w="58" h="1">
                    <a:moveTo>
                      <a:pt x="58" y="1"/>
                    </a:moveTo>
                    <a:cubicBezTo>
                      <a:pt x="58" y="0"/>
                      <a:pt x="58" y="0"/>
                      <a:pt x="58" y="0"/>
                    </a:cubicBezTo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moveTo>
                      <a:pt x="58" y="0"/>
                    </a:moveTo>
                    <a:cubicBezTo>
                      <a:pt x="58" y="0"/>
                      <a:pt x="58" y="0"/>
                      <a:pt x="5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8" name="Freeform 6"/>
              <p:cNvSpPr>
                <a:spLocks/>
              </p:cNvSpPr>
              <p:nvPr/>
            </p:nvSpPr>
            <p:spPr bwMode="auto">
              <a:xfrm>
                <a:off x="-2718" y="2861"/>
                <a:ext cx="12" cy="3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5" y="1"/>
                  </a:cxn>
                  <a:cxn ang="0">
                    <a:pos x="5" y="0"/>
                  </a:cxn>
                </a:cxnLst>
                <a:rect l="0" t="0" r="r" b="b"/>
                <a:pathLst>
                  <a:path w="5" h="1">
                    <a:moveTo>
                      <a:pt x="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0"/>
                      <a:pt x="5" y="0"/>
                      <a:pt x="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9" name="Freeform 7"/>
              <p:cNvSpPr>
                <a:spLocks/>
              </p:cNvSpPr>
              <p:nvPr/>
            </p:nvSpPr>
            <p:spPr bwMode="auto">
              <a:xfrm>
                <a:off x="-1028" y="2861"/>
                <a:ext cx="2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60" name="Freeform 8"/>
              <p:cNvSpPr>
                <a:spLocks noEditPoints="1"/>
              </p:cNvSpPr>
              <p:nvPr/>
            </p:nvSpPr>
            <p:spPr bwMode="auto">
              <a:xfrm>
                <a:off x="-2197" y="2222"/>
                <a:ext cx="1257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230" y="0"/>
                  </a:cxn>
                  <a:cxn ang="0">
                    <a:pos x="228" y="0"/>
                  </a:cxn>
                  <a:cxn ang="0">
                    <a:pos x="228" y="1"/>
                  </a:cxn>
                  <a:cxn ang="0">
                    <a:pos x="230" y="1"/>
                  </a:cxn>
                  <a:cxn ang="0">
                    <a:pos x="230" y="0"/>
                  </a:cxn>
                  <a:cxn ang="0">
                    <a:pos x="431" y="0"/>
                  </a:cxn>
                  <a:cxn ang="0">
                    <a:pos x="426" y="0"/>
                  </a:cxn>
                  <a:cxn ang="0">
                    <a:pos x="426" y="1"/>
                  </a:cxn>
                  <a:cxn ang="0">
                    <a:pos x="431" y="1"/>
                  </a:cxn>
                  <a:cxn ang="0">
                    <a:pos x="431" y="0"/>
                  </a:cxn>
                  <a:cxn ang="0">
                    <a:pos x="442" y="0"/>
                  </a:cxn>
                  <a:cxn ang="0">
                    <a:pos x="436" y="0"/>
                  </a:cxn>
                  <a:cxn ang="0">
                    <a:pos x="436" y="1"/>
                  </a:cxn>
                  <a:cxn ang="0">
                    <a:pos x="442" y="1"/>
                  </a:cxn>
                  <a:cxn ang="0">
                    <a:pos x="442" y="0"/>
                  </a:cxn>
                  <a:cxn ang="0">
                    <a:pos x="462" y="0"/>
                  </a:cxn>
                  <a:cxn ang="0">
                    <a:pos x="458" y="0"/>
                  </a:cxn>
                  <a:cxn ang="0">
                    <a:pos x="459" y="1"/>
                  </a:cxn>
                  <a:cxn ang="0">
                    <a:pos x="462" y="1"/>
                  </a:cxn>
                  <a:cxn ang="0">
                    <a:pos x="462" y="0"/>
                  </a:cxn>
                  <a:cxn ang="0">
                    <a:pos x="530" y="0"/>
                  </a:cxn>
                  <a:cxn ang="0">
                    <a:pos x="530" y="0"/>
                  </a:cxn>
                  <a:cxn ang="0">
                    <a:pos x="530" y="1"/>
                  </a:cxn>
                  <a:cxn ang="0">
                    <a:pos x="531" y="1"/>
                  </a:cxn>
                  <a:cxn ang="0">
                    <a:pos x="530" y="0"/>
                  </a:cxn>
                </a:cxnLst>
                <a:rect l="0" t="0" r="r" b="b"/>
                <a:pathLst>
                  <a:path w="53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30" y="0"/>
                    </a:moveTo>
                    <a:cubicBezTo>
                      <a:pt x="228" y="0"/>
                      <a:pt x="228" y="0"/>
                      <a:pt x="228" y="0"/>
                    </a:cubicBezTo>
                    <a:cubicBezTo>
                      <a:pt x="228" y="1"/>
                      <a:pt x="228" y="1"/>
                      <a:pt x="228" y="1"/>
                    </a:cubicBezTo>
                    <a:cubicBezTo>
                      <a:pt x="230" y="1"/>
                      <a:pt x="230" y="1"/>
                      <a:pt x="230" y="1"/>
                    </a:cubicBezTo>
                    <a:cubicBezTo>
                      <a:pt x="230" y="0"/>
                      <a:pt x="230" y="0"/>
                      <a:pt x="230" y="0"/>
                    </a:cubicBezTo>
                    <a:moveTo>
                      <a:pt x="431" y="0"/>
                    </a:moveTo>
                    <a:cubicBezTo>
                      <a:pt x="426" y="0"/>
                      <a:pt x="426" y="0"/>
                      <a:pt x="426" y="0"/>
                    </a:cubicBezTo>
                    <a:cubicBezTo>
                      <a:pt x="426" y="1"/>
                      <a:pt x="426" y="1"/>
                      <a:pt x="426" y="1"/>
                    </a:cubicBezTo>
                    <a:cubicBezTo>
                      <a:pt x="431" y="1"/>
                      <a:pt x="431" y="1"/>
                      <a:pt x="431" y="1"/>
                    </a:cubicBezTo>
                    <a:cubicBezTo>
                      <a:pt x="431" y="0"/>
                      <a:pt x="431" y="0"/>
                      <a:pt x="431" y="0"/>
                    </a:cubicBezTo>
                    <a:moveTo>
                      <a:pt x="442" y="0"/>
                    </a:moveTo>
                    <a:cubicBezTo>
                      <a:pt x="436" y="0"/>
                      <a:pt x="436" y="0"/>
                      <a:pt x="436" y="0"/>
                    </a:cubicBezTo>
                    <a:cubicBezTo>
                      <a:pt x="436" y="1"/>
                      <a:pt x="436" y="1"/>
                      <a:pt x="436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  <a:moveTo>
                      <a:pt x="462" y="0"/>
                    </a:moveTo>
                    <a:cubicBezTo>
                      <a:pt x="458" y="0"/>
                      <a:pt x="458" y="0"/>
                      <a:pt x="458" y="0"/>
                    </a:cubicBezTo>
                    <a:cubicBezTo>
                      <a:pt x="458" y="0"/>
                      <a:pt x="458" y="0"/>
                      <a:pt x="459" y="1"/>
                    </a:cubicBezTo>
                    <a:cubicBezTo>
                      <a:pt x="462" y="1"/>
                      <a:pt x="462" y="1"/>
                      <a:pt x="462" y="1"/>
                    </a:cubicBezTo>
                    <a:cubicBezTo>
                      <a:pt x="462" y="0"/>
                      <a:pt x="462" y="0"/>
                      <a:pt x="462" y="0"/>
                    </a:cubicBezTo>
                    <a:moveTo>
                      <a:pt x="530" y="0"/>
                    </a:moveTo>
                    <a:cubicBezTo>
                      <a:pt x="530" y="0"/>
                      <a:pt x="530" y="0"/>
                      <a:pt x="530" y="0"/>
                    </a:cubicBezTo>
                    <a:cubicBezTo>
                      <a:pt x="530" y="1"/>
                      <a:pt x="530" y="1"/>
                      <a:pt x="530" y="1"/>
                    </a:cubicBezTo>
                    <a:cubicBezTo>
                      <a:pt x="531" y="1"/>
                      <a:pt x="531" y="1"/>
                      <a:pt x="531" y="1"/>
                    </a:cubicBezTo>
                    <a:cubicBezTo>
                      <a:pt x="530" y="0"/>
                      <a:pt x="530" y="0"/>
                      <a:pt x="53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61" name="Freeform 9"/>
              <p:cNvSpPr>
                <a:spLocks noEditPoints="1"/>
              </p:cNvSpPr>
              <p:nvPr/>
            </p:nvSpPr>
            <p:spPr bwMode="auto">
              <a:xfrm>
                <a:off x="-3755" y="2222"/>
                <a:ext cx="74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31" y="0"/>
                  </a:cxn>
                  <a:cxn ang="0">
                    <a:pos x="31" y="0"/>
                  </a:cxn>
                </a:cxnLst>
                <a:rect l="0" t="0" r="r" b="b"/>
                <a:pathLst>
                  <a:path w="3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31" y="0"/>
                    </a:moveTo>
                    <a:cubicBezTo>
                      <a:pt x="31" y="0"/>
                      <a:pt x="31" y="0"/>
                      <a:pt x="3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62" name="Freeform 10"/>
              <p:cNvSpPr>
                <a:spLocks noEditPoints="1"/>
              </p:cNvSpPr>
              <p:nvPr/>
            </p:nvSpPr>
            <p:spPr bwMode="auto">
              <a:xfrm>
                <a:off x="-2263" y="1682"/>
                <a:ext cx="1069" cy="2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5" y="1"/>
                  </a:cxn>
                  <a:cxn ang="0">
                    <a:pos x="5" y="0"/>
                  </a:cxn>
                  <a:cxn ang="0">
                    <a:pos x="119" y="0"/>
                  </a:cxn>
                  <a:cxn ang="0">
                    <a:pos x="114" y="0"/>
                  </a:cxn>
                  <a:cxn ang="0">
                    <a:pos x="114" y="1"/>
                  </a:cxn>
                  <a:cxn ang="0">
                    <a:pos x="119" y="1"/>
                  </a:cxn>
                  <a:cxn ang="0">
                    <a:pos x="119" y="0"/>
                  </a:cxn>
                  <a:cxn ang="0">
                    <a:pos x="167" y="0"/>
                  </a:cxn>
                  <a:cxn ang="0">
                    <a:pos x="166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  <a:cxn ang="0">
                    <a:pos x="223" y="0"/>
                  </a:cxn>
                  <a:cxn ang="0">
                    <a:pos x="218" y="0"/>
                  </a:cxn>
                  <a:cxn ang="0">
                    <a:pos x="218" y="1"/>
                  </a:cxn>
                  <a:cxn ang="0">
                    <a:pos x="223" y="1"/>
                  </a:cxn>
                  <a:cxn ang="0">
                    <a:pos x="223" y="0"/>
                  </a:cxn>
                  <a:cxn ang="0">
                    <a:pos x="327" y="0"/>
                  </a:cxn>
                  <a:cxn ang="0">
                    <a:pos x="326" y="0"/>
                  </a:cxn>
                  <a:cxn ang="0">
                    <a:pos x="327" y="1"/>
                  </a:cxn>
                  <a:cxn ang="0">
                    <a:pos x="327" y="1"/>
                  </a:cxn>
                  <a:cxn ang="0">
                    <a:pos x="327" y="0"/>
                  </a:cxn>
                  <a:cxn ang="0">
                    <a:pos x="431" y="0"/>
                  </a:cxn>
                  <a:cxn ang="0">
                    <a:pos x="426" y="0"/>
                  </a:cxn>
                  <a:cxn ang="0">
                    <a:pos x="426" y="1"/>
                  </a:cxn>
                  <a:cxn ang="0">
                    <a:pos x="431" y="1"/>
                  </a:cxn>
                  <a:cxn ang="0">
                    <a:pos x="431" y="0"/>
                  </a:cxn>
                  <a:cxn ang="0">
                    <a:pos x="442" y="0"/>
                  </a:cxn>
                  <a:cxn ang="0">
                    <a:pos x="437" y="0"/>
                  </a:cxn>
                  <a:cxn ang="0">
                    <a:pos x="437" y="1"/>
                  </a:cxn>
                  <a:cxn ang="0">
                    <a:pos x="442" y="1"/>
                  </a:cxn>
                  <a:cxn ang="0">
                    <a:pos x="442" y="0"/>
                  </a:cxn>
                  <a:cxn ang="0">
                    <a:pos x="447" y="0"/>
                  </a:cxn>
                  <a:cxn ang="0">
                    <a:pos x="447" y="0"/>
                  </a:cxn>
                  <a:cxn ang="0">
                    <a:pos x="447" y="1"/>
                  </a:cxn>
                  <a:cxn ang="0">
                    <a:pos x="449" y="1"/>
                  </a:cxn>
                  <a:cxn ang="0">
                    <a:pos x="447" y="0"/>
                  </a:cxn>
                  <a:cxn ang="0">
                    <a:pos x="452" y="0"/>
                  </a:cxn>
                  <a:cxn ang="0">
                    <a:pos x="450" y="0"/>
                  </a:cxn>
                  <a:cxn ang="0">
                    <a:pos x="451" y="1"/>
                  </a:cxn>
                  <a:cxn ang="0">
                    <a:pos x="452" y="1"/>
                  </a:cxn>
                  <a:cxn ang="0">
                    <a:pos x="452" y="0"/>
                  </a:cxn>
                </a:cxnLst>
                <a:rect l="0" t="0" r="r" b="b"/>
                <a:pathLst>
                  <a:path w="452" h="1">
                    <a:moveTo>
                      <a:pt x="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0"/>
                      <a:pt x="5" y="0"/>
                      <a:pt x="5" y="0"/>
                    </a:cubicBezTo>
                    <a:moveTo>
                      <a:pt x="119" y="0"/>
                    </a:moveTo>
                    <a:cubicBezTo>
                      <a:pt x="114" y="0"/>
                      <a:pt x="114" y="0"/>
                      <a:pt x="114" y="0"/>
                    </a:cubicBezTo>
                    <a:cubicBezTo>
                      <a:pt x="114" y="1"/>
                      <a:pt x="114" y="1"/>
                      <a:pt x="114" y="1"/>
                    </a:cubicBezTo>
                    <a:cubicBezTo>
                      <a:pt x="119" y="1"/>
                      <a:pt x="119" y="1"/>
                      <a:pt x="119" y="1"/>
                    </a:cubicBezTo>
                    <a:cubicBezTo>
                      <a:pt x="119" y="0"/>
                      <a:pt x="119" y="0"/>
                      <a:pt x="119" y="0"/>
                    </a:cubicBezTo>
                    <a:moveTo>
                      <a:pt x="167" y="0"/>
                    </a:moveTo>
                    <a:cubicBezTo>
                      <a:pt x="166" y="0"/>
                      <a:pt x="166" y="0"/>
                      <a:pt x="166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1"/>
                      <a:pt x="167" y="1"/>
                      <a:pt x="167" y="0"/>
                    </a:cubicBezTo>
                    <a:moveTo>
                      <a:pt x="223" y="0"/>
                    </a:moveTo>
                    <a:cubicBezTo>
                      <a:pt x="218" y="0"/>
                      <a:pt x="218" y="0"/>
                      <a:pt x="218" y="0"/>
                    </a:cubicBezTo>
                    <a:cubicBezTo>
                      <a:pt x="218" y="1"/>
                      <a:pt x="218" y="1"/>
                      <a:pt x="218" y="1"/>
                    </a:cubicBezTo>
                    <a:cubicBezTo>
                      <a:pt x="223" y="1"/>
                      <a:pt x="223" y="1"/>
                      <a:pt x="223" y="1"/>
                    </a:cubicBezTo>
                    <a:cubicBezTo>
                      <a:pt x="223" y="0"/>
                      <a:pt x="223" y="0"/>
                      <a:pt x="223" y="0"/>
                    </a:cubicBezTo>
                    <a:moveTo>
                      <a:pt x="327" y="0"/>
                    </a:moveTo>
                    <a:cubicBezTo>
                      <a:pt x="326" y="0"/>
                      <a:pt x="326" y="0"/>
                      <a:pt x="326" y="0"/>
                    </a:cubicBezTo>
                    <a:cubicBezTo>
                      <a:pt x="327" y="1"/>
                      <a:pt x="327" y="1"/>
                      <a:pt x="327" y="1"/>
                    </a:cubicBezTo>
                    <a:cubicBezTo>
                      <a:pt x="327" y="1"/>
                      <a:pt x="327" y="1"/>
                      <a:pt x="327" y="1"/>
                    </a:cubicBezTo>
                    <a:cubicBezTo>
                      <a:pt x="327" y="0"/>
                      <a:pt x="327" y="0"/>
                      <a:pt x="327" y="0"/>
                    </a:cubicBezTo>
                    <a:moveTo>
                      <a:pt x="431" y="0"/>
                    </a:moveTo>
                    <a:cubicBezTo>
                      <a:pt x="426" y="0"/>
                      <a:pt x="426" y="0"/>
                      <a:pt x="426" y="0"/>
                    </a:cubicBezTo>
                    <a:cubicBezTo>
                      <a:pt x="426" y="1"/>
                      <a:pt x="426" y="1"/>
                      <a:pt x="426" y="1"/>
                    </a:cubicBezTo>
                    <a:cubicBezTo>
                      <a:pt x="431" y="1"/>
                      <a:pt x="431" y="1"/>
                      <a:pt x="431" y="1"/>
                    </a:cubicBezTo>
                    <a:cubicBezTo>
                      <a:pt x="431" y="0"/>
                      <a:pt x="431" y="0"/>
                      <a:pt x="431" y="0"/>
                    </a:cubicBezTo>
                    <a:moveTo>
                      <a:pt x="442" y="0"/>
                    </a:moveTo>
                    <a:cubicBezTo>
                      <a:pt x="437" y="0"/>
                      <a:pt x="437" y="0"/>
                      <a:pt x="437" y="0"/>
                    </a:cubicBezTo>
                    <a:cubicBezTo>
                      <a:pt x="437" y="1"/>
                      <a:pt x="437" y="1"/>
                      <a:pt x="437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  <a:moveTo>
                      <a:pt x="447" y="0"/>
                    </a:moveTo>
                    <a:cubicBezTo>
                      <a:pt x="447" y="0"/>
                      <a:pt x="447" y="0"/>
                      <a:pt x="447" y="0"/>
                    </a:cubicBezTo>
                    <a:cubicBezTo>
                      <a:pt x="447" y="1"/>
                      <a:pt x="447" y="1"/>
                      <a:pt x="447" y="1"/>
                    </a:cubicBezTo>
                    <a:cubicBezTo>
                      <a:pt x="449" y="1"/>
                      <a:pt x="449" y="1"/>
                      <a:pt x="449" y="1"/>
                    </a:cubicBezTo>
                    <a:cubicBezTo>
                      <a:pt x="449" y="1"/>
                      <a:pt x="448" y="1"/>
                      <a:pt x="447" y="0"/>
                    </a:cubicBezTo>
                    <a:moveTo>
                      <a:pt x="452" y="0"/>
                    </a:moveTo>
                    <a:cubicBezTo>
                      <a:pt x="450" y="0"/>
                      <a:pt x="450" y="0"/>
                      <a:pt x="450" y="0"/>
                    </a:cubicBezTo>
                    <a:cubicBezTo>
                      <a:pt x="450" y="1"/>
                      <a:pt x="451" y="1"/>
                      <a:pt x="451" y="1"/>
                    </a:cubicBezTo>
                    <a:cubicBezTo>
                      <a:pt x="452" y="1"/>
                      <a:pt x="452" y="1"/>
                      <a:pt x="452" y="1"/>
                    </a:cubicBezTo>
                    <a:cubicBezTo>
                      <a:pt x="452" y="0"/>
                      <a:pt x="452" y="0"/>
                      <a:pt x="45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63" name="Freeform 11"/>
              <p:cNvSpPr>
                <a:spLocks noEditPoints="1"/>
              </p:cNvSpPr>
              <p:nvPr/>
            </p:nvSpPr>
            <p:spPr bwMode="auto">
              <a:xfrm>
                <a:off x="-3519" y="1682"/>
                <a:ext cx="531" cy="2"/>
              </a:xfrm>
              <a:custGeom>
                <a:avLst/>
                <a:gdLst/>
                <a:ahLst/>
                <a:cxnLst>
                  <a:cxn ang="0">
                    <a:pos x="5" y="1"/>
                  </a:cxn>
                  <a:cxn ang="0">
                    <a:pos x="5" y="1"/>
                  </a:cxn>
                  <a:cxn ang="0">
                    <a:pos x="5" y="1"/>
                  </a:cxn>
                  <a:cxn ang="0">
                    <a:pos x="5" y="1"/>
                  </a:cxn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  <a:cxn ang="0">
                    <a:pos x="88" y="0"/>
                  </a:cxn>
                  <a:cxn ang="0">
                    <a:pos x="88" y="0"/>
                  </a:cxn>
                  <a:cxn ang="0">
                    <a:pos x="88" y="1"/>
                  </a:cxn>
                  <a:cxn ang="0">
                    <a:pos x="88" y="1"/>
                  </a:cxn>
                  <a:cxn ang="0">
                    <a:pos x="88" y="0"/>
                  </a:cxn>
                  <a:cxn ang="0">
                    <a:pos x="224" y="0"/>
                  </a:cxn>
                  <a:cxn ang="0">
                    <a:pos x="223" y="0"/>
                  </a:cxn>
                  <a:cxn ang="0">
                    <a:pos x="224" y="1"/>
                  </a:cxn>
                  <a:cxn ang="0">
                    <a:pos x="224" y="0"/>
                  </a:cxn>
                </a:cxnLst>
                <a:rect l="0" t="0" r="r" b="b"/>
                <a:pathLst>
                  <a:path w="224" h="1">
                    <a:moveTo>
                      <a:pt x="5" y="1"/>
                    </a:moveTo>
                    <a:cubicBezTo>
                      <a:pt x="5" y="1"/>
                      <a:pt x="5" y="1"/>
                      <a:pt x="5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1"/>
                      <a:pt x="5" y="1"/>
                      <a:pt x="5" y="1"/>
                    </a:cubicBezTo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1"/>
                      <a:pt x="3" y="0"/>
                    </a:cubicBezTo>
                    <a:moveTo>
                      <a:pt x="88" y="0"/>
                    </a:moveTo>
                    <a:cubicBezTo>
                      <a:pt x="88" y="0"/>
                      <a:pt x="88" y="0"/>
                      <a:pt x="88" y="0"/>
                    </a:cubicBezTo>
                    <a:cubicBezTo>
                      <a:pt x="88" y="1"/>
                      <a:pt x="88" y="1"/>
                      <a:pt x="88" y="1"/>
                    </a:cubicBezTo>
                    <a:cubicBezTo>
                      <a:pt x="88" y="1"/>
                      <a:pt x="88" y="1"/>
                      <a:pt x="88" y="1"/>
                    </a:cubicBezTo>
                    <a:cubicBezTo>
                      <a:pt x="88" y="0"/>
                      <a:pt x="88" y="0"/>
                      <a:pt x="88" y="0"/>
                    </a:cubicBezTo>
                    <a:moveTo>
                      <a:pt x="224" y="0"/>
                    </a:moveTo>
                    <a:cubicBezTo>
                      <a:pt x="223" y="0"/>
                      <a:pt x="223" y="0"/>
                      <a:pt x="223" y="0"/>
                    </a:cubicBezTo>
                    <a:cubicBezTo>
                      <a:pt x="223" y="1"/>
                      <a:pt x="224" y="1"/>
                      <a:pt x="224" y="1"/>
                    </a:cubicBezTo>
                    <a:cubicBezTo>
                      <a:pt x="224" y="0"/>
                      <a:pt x="224" y="0"/>
                      <a:pt x="22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64" name="Freeform 12"/>
              <p:cNvSpPr>
                <a:spLocks/>
              </p:cNvSpPr>
              <p:nvPr/>
            </p:nvSpPr>
            <p:spPr bwMode="auto">
              <a:xfrm>
                <a:off x="-1232" y="1987"/>
                <a:ext cx="133" cy="27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48" y="100"/>
                  </a:cxn>
                  <a:cxn ang="0">
                    <a:pos x="48" y="100"/>
                  </a:cxn>
                  <a:cxn ang="0">
                    <a:pos x="48" y="100"/>
                  </a:cxn>
                  <a:cxn ang="0">
                    <a:pos x="49" y="103"/>
                  </a:cxn>
                  <a:cxn ang="0">
                    <a:pos x="54" y="114"/>
                  </a:cxn>
                  <a:cxn ang="0">
                    <a:pos x="56" y="114"/>
                  </a:cxn>
                  <a:cxn ang="0">
                    <a:pos x="51" y="101"/>
                  </a:cxn>
                  <a:cxn ang="0">
                    <a:pos x="49" y="101"/>
                  </a:cxn>
                  <a:cxn ang="0">
                    <a:pos x="49" y="100"/>
                  </a:cxn>
                  <a:cxn ang="0">
                    <a:pos x="50" y="100"/>
                  </a:cxn>
                  <a:cxn ang="0">
                    <a:pos x="50" y="99"/>
                  </a:cxn>
                  <a:cxn ang="0">
                    <a:pos x="50" y="99"/>
                  </a:cxn>
                  <a:cxn ang="0">
                    <a:pos x="2" y="0"/>
                  </a:cxn>
                </a:cxnLst>
                <a:rect l="0" t="0" r="r" b="b"/>
                <a:pathLst>
                  <a:path w="56" h="114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8" y="29"/>
                      <a:pt x="35" y="62"/>
                      <a:pt x="48" y="100"/>
                    </a:cubicBezTo>
                    <a:cubicBezTo>
                      <a:pt x="48" y="100"/>
                      <a:pt x="48" y="100"/>
                      <a:pt x="48" y="100"/>
                    </a:cubicBezTo>
                    <a:cubicBezTo>
                      <a:pt x="48" y="100"/>
                      <a:pt x="48" y="100"/>
                      <a:pt x="48" y="100"/>
                    </a:cubicBezTo>
                    <a:cubicBezTo>
                      <a:pt x="48" y="100"/>
                      <a:pt x="48" y="101"/>
                      <a:pt x="49" y="103"/>
                    </a:cubicBezTo>
                    <a:cubicBezTo>
                      <a:pt x="50" y="105"/>
                      <a:pt x="52" y="109"/>
                      <a:pt x="54" y="114"/>
                    </a:cubicBezTo>
                    <a:cubicBezTo>
                      <a:pt x="56" y="114"/>
                      <a:pt x="56" y="114"/>
                      <a:pt x="56" y="114"/>
                    </a:cubicBezTo>
                    <a:cubicBezTo>
                      <a:pt x="54" y="107"/>
                      <a:pt x="52" y="103"/>
                      <a:pt x="51" y="101"/>
                    </a:cubicBezTo>
                    <a:cubicBezTo>
                      <a:pt x="49" y="101"/>
                      <a:pt x="49" y="101"/>
                      <a:pt x="49" y="101"/>
                    </a:cubicBezTo>
                    <a:cubicBezTo>
                      <a:pt x="49" y="100"/>
                      <a:pt x="49" y="100"/>
                      <a:pt x="49" y="100"/>
                    </a:cubicBezTo>
                    <a:cubicBezTo>
                      <a:pt x="50" y="100"/>
                      <a:pt x="50" y="100"/>
                      <a:pt x="50" y="100"/>
                    </a:cubicBezTo>
                    <a:cubicBezTo>
                      <a:pt x="50" y="99"/>
                      <a:pt x="50" y="99"/>
                      <a:pt x="50" y="99"/>
                    </a:cubicBezTo>
                    <a:cubicBezTo>
                      <a:pt x="50" y="99"/>
                      <a:pt x="50" y="99"/>
                      <a:pt x="50" y="99"/>
                    </a:cubicBezTo>
                    <a:cubicBezTo>
                      <a:pt x="37" y="62"/>
                      <a:pt x="20" y="29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65" name="Freeform 13"/>
              <p:cNvSpPr>
                <a:spLocks/>
              </p:cNvSpPr>
              <p:nvPr/>
            </p:nvSpPr>
            <p:spPr bwMode="auto">
              <a:xfrm>
                <a:off x="-1116" y="2222"/>
                <a:ext cx="5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66" name="Freeform 14"/>
              <p:cNvSpPr>
                <a:spLocks noEditPoints="1"/>
              </p:cNvSpPr>
              <p:nvPr/>
            </p:nvSpPr>
            <p:spPr bwMode="auto">
              <a:xfrm>
                <a:off x="-1103" y="2260"/>
                <a:ext cx="171" cy="1016"/>
              </a:xfrm>
              <a:custGeom>
                <a:avLst/>
                <a:gdLst/>
                <a:ahLst/>
                <a:cxnLst>
                  <a:cxn ang="0">
                    <a:pos x="55" y="343"/>
                  </a:cxn>
                  <a:cxn ang="0">
                    <a:pos x="53" y="343"/>
                  </a:cxn>
                  <a:cxn ang="0">
                    <a:pos x="53" y="343"/>
                  </a:cxn>
                  <a:cxn ang="0">
                    <a:pos x="62" y="394"/>
                  </a:cxn>
                  <a:cxn ang="0">
                    <a:pos x="70" y="429"/>
                  </a:cxn>
                  <a:cxn ang="0">
                    <a:pos x="72" y="429"/>
                  </a:cxn>
                  <a:cxn ang="0">
                    <a:pos x="60" y="374"/>
                  </a:cxn>
                  <a:cxn ang="0">
                    <a:pos x="57" y="352"/>
                  </a:cxn>
                  <a:cxn ang="0">
                    <a:pos x="55" y="343"/>
                  </a:cxn>
                  <a:cxn ang="0">
                    <a:pos x="34" y="255"/>
                  </a:cxn>
                  <a:cxn ang="0">
                    <a:pos x="32" y="255"/>
                  </a:cxn>
                  <a:cxn ang="0">
                    <a:pos x="39" y="292"/>
                  </a:cxn>
                  <a:cxn ang="0">
                    <a:pos x="46" y="324"/>
                  </a:cxn>
                  <a:cxn ang="0">
                    <a:pos x="50" y="336"/>
                  </a:cxn>
                  <a:cxn ang="0">
                    <a:pos x="52" y="342"/>
                  </a:cxn>
                  <a:cxn ang="0">
                    <a:pos x="55" y="342"/>
                  </a:cxn>
                  <a:cxn ang="0">
                    <a:pos x="52" y="336"/>
                  </a:cxn>
                  <a:cxn ang="0">
                    <a:pos x="40" y="284"/>
                  </a:cxn>
                  <a:cxn ang="0">
                    <a:pos x="35" y="259"/>
                  </a:cxn>
                  <a:cxn ang="0">
                    <a:pos x="34" y="255"/>
                  </a:cxn>
                  <a:cxn ang="0">
                    <a:pos x="32" y="233"/>
                  </a:cxn>
                  <a:cxn ang="0">
                    <a:pos x="30" y="233"/>
                  </a:cxn>
                  <a:cxn ang="0">
                    <a:pos x="31" y="249"/>
                  </a:cxn>
                  <a:cxn ang="0">
                    <a:pos x="31" y="249"/>
                  </a:cxn>
                  <a:cxn ang="0">
                    <a:pos x="32" y="254"/>
                  </a:cxn>
                  <a:cxn ang="0">
                    <a:pos x="32" y="254"/>
                  </a:cxn>
                  <a:cxn ang="0">
                    <a:pos x="34" y="254"/>
                  </a:cxn>
                  <a:cxn ang="0">
                    <a:pos x="33" y="249"/>
                  </a:cxn>
                  <a:cxn ang="0">
                    <a:pos x="33" y="249"/>
                  </a:cxn>
                  <a:cxn ang="0">
                    <a:pos x="32" y="233"/>
                  </a:cxn>
                  <a:cxn ang="0">
                    <a:pos x="25" y="102"/>
                  </a:cxn>
                  <a:cxn ang="0">
                    <a:pos x="23" y="102"/>
                  </a:cxn>
                  <a:cxn ang="0">
                    <a:pos x="22" y="112"/>
                  </a:cxn>
                  <a:cxn ang="0">
                    <a:pos x="22" y="112"/>
                  </a:cxn>
                  <a:cxn ang="0">
                    <a:pos x="30" y="232"/>
                  </a:cxn>
                  <a:cxn ang="0">
                    <a:pos x="32" y="232"/>
                  </a:cxn>
                  <a:cxn ang="0">
                    <a:pos x="24" y="113"/>
                  </a:cxn>
                  <a:cxn ang="0">
                    <a:pos x="25" y="102"/>
                  </a:cxn>
                  <a:cxn ang="0">
                    <a:pos x="3" y="0"/>
                  </a:cxn>
                  <a:cxn ang="0">
                    <a:pos x="0" y="0"/>
                  </a:cxn>
                  <a:cxn ang="0">
                    <a:pos x="23" y="95"/>
                  </a:cxn>
                  <a:cxn ang="0">
                    <a:pos x="23" y="101"/>
                  </a:cxn>
                  <a:cxn ang="0">
                    <a:pos x="25" y="101"/>
                  </a:cxn>
                  <a:cxn ang="0">
                    <a:pos x="25" y="95"/>
                  </a:cxn>
                  <a:cxn ang="0">
                    <a:pos x="3" y="0"/>
                  </a:cxn>
                </a:cxnLst>
                <a:rect l="0" t="0" r="r" b="b"/>
                <a:pathLst>
                  <a:path w="72" h="429">
                    <a:moveTo>
                      <a:pt x="55" y="343"/>
                    </a:moveTo>
                    <a:cubicBezTo>
                      <a:pt x="53" y="343"/>
                      <a:pt x="53" y="343"/>
                      <a:pt x="53" y="343"/>
                    </a:cubicBezTo>
                    <a:cubicBezTo>
                      <a:pt x="53" y="343"/>
                      <a:pt x="53" y="343"/>
                      <a:pt x="53" y="343"/>
                    </a:cubicBezTo>
                    <a:cubicBezTo>
                      <a:pt x="54" y="346"/>
                      <a:pt x="57" y="369"/>
                      <a:pt x="62" y="394"/>
                    </a:cubicBezTo>
                    <a:cubicBezTo>
                      <a:pt x="64" y="406"/>
                      <a:pt x="67" y="418"/>
                      <a:pt x="70" y="429"/>
                    </a:cubicBezTo>
                    <a:cubicBezTo>
                      <a:pt x="72" y="429"/>
                      <a:pt x="72" y="429"/>
                      <a:pt x="72" y="429"/>
                    </a:cubicBezTo>
                    <a:cubicBezTo>
                      <a:pt x="67" y="411"/>
                      <a:pt x="63" y="391"/>
                      <a:pt x="60" y="374"/>
                    </a:cubicBezTo>
                    <a:cubicBezTo>
                      <a:pt x="59" y="365"/>
                      <a:pt x="57" y="357"/>
                      <a:pt x="57" y="352"/>
                    </a:cubicBezTo>
                    <a:cubicBezTo>
                      <a:pt x="56" y="347"/>
                      <a:pt x="55" y="344"/>
                      <a:pt x="55" y="343"/>
                    </a:cubicBezTo>
                    <a:moveTo>
                      <a:pt x="34" y="255"/>
                    </a:moveTo>
                    <a:cubicBezTo>
                      <a:pt x="32" y="255"/>
                      <a:pt x="32" y="255"/>
                      <a:pt x="32" y="255"/>
                    </a:cubicBezTo>
                    <a:cubicBezTo>
                      <a:pt x="34" y="263"/>
                      <a:pt x="36" y="277"/>
                      <a:pt x="39" y="292"/>
                    </a:cubicBezTo>
                    <a:cubicBezTo>
                      <a:pt x="42" y="303"/>
                      <a:pt x="44" y="315"/>
                      <a:pt x="46" y="324"/>
                    </a:cubicBezTo>
                    <a:cubicBezTo>
                      <a:pt x="48" y="329"/>
                      <a:pt x="49" y="333"/>
                      <a:pt x="50" y="336"/>
                    </a:cubicBezTo>
                    <a:cubicBezTo>
                      <a:pt x="51" y="339"/>
                      <a:pt x="52" y="340"/>
                      <a:pt x="52" y="342"/>
                    </a:cubicBezTo>
                    <a:cubicBezTo>
                      <a:pt x="55" y="342"/>
                      <a:pt x="55" y="342"/>
                      <a:pt x="55" y="342"/>
                    </a:cubicBezTo>
                    <a:cubicBezTo>
                      <a:pt x="54" y="341"/>
                      <a:pt x="53" y="338"/>
                      <a:pt x="52" y="336"/>
                    </a:cubicBezTo>
                    <a:cubicBezTo>
                      <a:pt x="48" y="324"/>
                      <a:pt x="43" y="303"/>
                      <a:pt x="40" y="284"/>
                    </a:cubicBezTo>
                    <a:cubicBezTo>
                      <a:pt x="38" y="274"/>
                      <a:pt x="36" y="266"/>
                      <a:pt x="35" y="259"/>
                    </a:cubicBezTo>
                    <a:cubicBezTo>
                      <a:pt x="35" y="258"/>
                      <a:pt x="35" y="256"/>
                      <a:pt x="34" y="255"/>
                    </a:cubicBezTo>
                    <a:moveTo>
                      <a:pt x="32" y="233"/>
                    </a:moveTo>
                    <a:cubicBezTo>
                      <a:pt x="30" y="233"/>
                      <a:pt x="30" y="233"/>
                      <a:pt x="30" y="233"/>
                    </a:cubicBezTo>
                    <a:cubicBezTo>
                      <a:pt x="31" y="249"/>
                      <a:pt x="31" y="249"/>
                      <a:pt x="31" y="249"/>
                    </a:cubicBezTo>
                    <a:cubicBezTo>
                      <a:pt x="31" y="249"/>
                      <a:pt x="31" y="249"/>
                      <a:pt x="31" y="249"/>
                    </a:cubicBezTo>
                    <a:cubicBezTo>
                      <a:pt x="31" y="249"/>
                      <a:pt x="32" y="251"/>
                      <a:pt x="32" y="254"/>
                    </a:cubicBezTo>
                    <a:cubicBezTo>
                      <a:pt x="32" y="254"/>
                      <a:pt x="32" y="254"/>
                      <a:pt x="32" y="254"/>
                    </a:cubicBezTo>
                    <a:cubicBezTo>
                      <a:pt x="34" y="254"/>
                      <a:pt x="34" y="254"/>
                      <a:pt x="34" y="254"/>
                    </a:cubicBezTo>
                    <a:cubicBezTo>
                      <a:pt x="34" y="251"/>
                      <a:pt x="33" y="249"/>
                      <a:pt x="33" y="249"/>
                    </a:cubicBezTo>
                    <a:cubicBezTo>
                      <a:pt x="33" y="249"/>
                      <a:pt x="33" y="249"/>
                      <a:pt x="33" y="249"/>
                    </a:cubicBezTo>
                    <a:cubicBezTo>
                      <a:pt x="32" y="233"/>
                      <a:pt x="32" y="233"/>
                      <a:pt x="32" y="233"/>
                    </a:cubicBezTo>
                    <a:moveTo>
                      <a:pt x="25" y="102"/>
                    </a:moveTo>
                    <a:cubicBezTo>
                      <a:pt x="23" y="102"/>
                      <a:pt x="23" y="102"/>
                      <a:pt x="23" y="102"/>
                    </a:cubicBezTo>
                    <a:cubicBezTo>
                      <a:pt x="23" y="105"/>
                      <a:pt x="22" y="109"/>
                      <a:pt x="22" y="112"/>
                    </a:cubicBezTo>
                    <a:cubicBezTo>
                      <a:pt x="22" y="112"/>
                      <a:pt x="22" y="112"/>
                      <a:pt x="22" y="112"/>
                    </a:cubicBezTo>
                    <a:cubicBezTo>
                      <a:pt x="30" y="232"/>
                      <a:pt x="30" y="232"/>
                      <a:pt x="30" y="232"/>
                    </a:cubicBezTo>
                    <a:cubicBezTo>
                      <a:pt x="32" y="232"/>
                      <a:pt x="32" y="232"/>
                      <a:pt x="32" y="232"/>
                    </a:cubicBezTo>
                    <a:cubicBezTo>
                      <a:pt x="24" y="113"/>
                      <a:pt x="24" y="113"/>
                      <a:pt x="24" y="113"/>
                    </a:cubicBezTo>
                    <a:cubicBezTo>
                      <a:pt x="24" y="109"/>
                      <a:pt x="25" y="106"/>
                      <a:pt x="25" y="102"/>
                    </a:cubicBezTo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9" y="20"/>
                      <a:pt x="23" y="60"/>
                      <a:pt x="23" y="95"/>
                    </a:cubicBezTo>
                    <a:cubicBezTo>
                      <a:pt x="23" y="97"/>
                      <a:pt x="23" y="99"/>
                      <a:pt x="23" y="101"/>
                    </a:cubicBezTo>
                    <a:cubicBezTo>
                      <a:pt x="25" y="101"/>
                      <a:pt x="25" y="101"/>
                      <a:pt x="25" y="101"/>
                    </a:cubicBezTo>
                    <a:cubicBezTo>
                      <a:pt x="25" y="99"/>
                      <a:pt x="25" y="97"/>
                      <a:pt x="25" y="95"/>
                    </a:cubicBezTo>
                    <a:cubicBezTo>
                      <a:pt x="25" y="60"/>
                      <a:pt x="11" y="2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67" name="Freeform 15"/>
              <p:cNvSpPr>
                <a:spLocks/>
              </p:cNvSpPr>
              <p:nvPr/>
            </p:nvSpPr>
            <p:spPr bwMode="auto">
              <a:xfrm>
                <a:off x="-981" y="3070"/>
                <a:ext cx="8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1"/>
                  </a:cxn>
                  <a:cxn ang="0">
                    <a:pos x="3" y="1"/>
                  </a:cxn>
                  <a:cxn ang="0">
                    <a:pos x="3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1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68" name="Freeform 16"/>
              <p:cNvSpPr>
                <a:spLocks/>
              </p:cNvSpPr>
              <p:nvPr/>
            </p:nvSpPr>
            <p:spPr bwMode="auto">
              <a:xfrm>
                <a:off x="-1028" y="2861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69" name="Freeform 17"/>
              <p:cNvSpPr>
                <a:spLocks noEditPoints="1"/>
              </p:cNvSpPr>
              <p:nvPr/>
            </p:nvSpPr>
            <p:spPr bwMode="auto">
              <a:xfrm>
                <a:off x="-1749" y="1524"/>
                <a:ext cx="843" cy="1831"/>
              </a:xfrm>
              <a:custGeom>
                <a:avLst/>
                <a:gdLst/>
                <a:ahLst/>
                <a:cxnLst>
                  <a:cxn ang="0">
                    <a:pos x="345" y="740"/>
                  </a:cxn>
                  <a:cxn ang="0">
                    <a:pos x="343" y="740"/>
                  </a:cxn>
                  <a:cxn ang="0">
                    <a:pos x="344" y="744"/>
                  </a:cxn>
                  <a:cxn ang="0">
                    <a:pos x="354" y="772"/>
                  </a:cxn>
                  <a:cxn ang="0">
                    <a:pos x="355" y="772"/>
                  </a:cxn>
                  <a:cxn ang="0">
                    <a:pos x="356" y="772"/>
                  </a:cxn>
                  <a:cxn ang="0">
                    <a:pos x="356" y="771"/>
                  </a:cxn>
                  <a:cxn ang="0">
                    <a:pos x="346" y="744"/>
                  </a:cxn>
                  <a:cxn ang="0">
                    <a:pos x="345" y="740"/>
                  </a:cxn>
                  <a:cxn ang="0">
                    <a:pos x="145" y="98"/>
                  </a:cxn>
                  <a:cxn ang="0">
                    <a:pos x="142" y="98"/>
                  </a:cxn>
                  <a:cxn ang="0">
                    <a:pos x="219" y="194"/>
                  </a:cxn>
                  <a:cxn ang="0">
                    <a:pos x="221" y="194"/>
                  </a:cxn>
                  <a:cxn ang="0">
                    <a:pos x="145" y="98"/>
                  </a:cxn>
                  <a:cxn ang="0">
                    <a:pos x="110" y="67"/>
                  </a:cxn>
                  <a:cxn ang="0">
                    <a:pos x="107" y="67"/>
                  </a:cxn>
                  <a:cxn ang="0">
                    <a:pos x="141" y="97"/>
                  </a:cxn>
                  <a:cxn ang="0">
                    <a:pos x="144" y="97"/>
                  </a:cxn>
                  <a:cxn ang="0">
                    <a:pos x="110" y="67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2" y="2"/>
                  </a:cxn>
                  <a:cxn ang="0">
                    <a:pos x="106" y="66"/>
                  </a:cxn>
                  <a:cxn ang="0">
                    <a:pos x="109" y="66"/>
                  </a:cxn>
                  <a:cxn ang="0">
                    <a:pos x="2" y="0"/>
                  </a:cxn>
                </a:cxnLst>
                <a:rect l="0" t="0" r="r" b="b"/>
                <a:pathLst>
                  <a:path w="356" h="772">
                    <a:moveTo>
                      <a:pt x="345" y="740"/>
                    </a:moveTo>
                    <a:cubicBezTo>
                      <a:pt x="343" y="740"/>
                      <a:pt x="343" y="740"/>
                      <a:pt x="343" y="740"/>
                    </a:cubicBezTo>
                    <a:cubicBezTo>
                      <a:pt x="343" y="741"/>
                      <a:pt x="344" y="743"/>
                      <a:pt x="344" y="744"/>
                    </a:cubicBezTo>
                    <a:cubicBezTo>
                      <a:pt x="347" y="756"/>
                      <a:pt x="351" y="766"/>
                      <a:pt x="354" y="772"/>
                    </a:cubicBezTo>
                    <a:cubicBezTo>
                      <a:pt x="355" y="772"/>
                      <a:pt x="355" y="772"/>
                      <a:pt x="355" y="772"/>
                    </a:cubicBezTo>
                    <a:cubicBezTo>
                      <a:pt x="356" y="772"/>
                      <a:pt x="356" y="772"/>
                      <a:pt x="356" y="772"/>
                    </a:cubicBezTo>
                    <a:cubicBezTo>
                      <a:pt x="356" y="771"/>
                      <a:pt x="356" y="771"/>
                      <a:pt x="356" y="771"/>
                    </a:cubicBezTo>
                    <a:cubicBezTo>
                      <a:pt x="352" y="765"/>
                      <a:pt x="349" y="755"/>
                      <a:pt x="346" y="744"/>
                    </a:cubicBezTo>
                    <a:cubicBezTo>
                      <a:pt x="346" y="742"/>
                      <a:pt x="345" y="741"/>
                      <a:pt x="345" y="740"/>
                    </a:cubicBezTo>
                    <a:moveTo>
                      <a:pt x="145" y="98"/>
                    </a:moveTo>
                    <a:cubicBezTo>
                      <a:pt x="142" y="98"/>
                      <a:pt x="142" y="98"/>
                      <a:pt x="142" y="98"/>
                    </a:cubicBezTo>
                    <a:cubicBezTo>
                      <a:pt x="168" y="124"/>
                      <a:pt x="195" y="155"/>
                      <a:pt x="219" y="194"/>
                    </a:cubicBezTo>
                    <a:cubicBezTo>
                      <a:pt x="221" y="194"/>
                      <a:pt x="221" y="194"/>
                      <a:pt x="221" y="194"/>
                    </a:cubicBezTo>
                    <a:cubicBezTo>
                      <a:pt x="197" y="155"/>
                      <a:pt x="171" y="124"/>
                      <a:pt x="145" y="98"/>
                    </a:cubicBezTo>
                    <a:moveTo>
                      <a:pt x="110" y="67"/>
                    </a:moveTo>
                    <a:cubicBezTo>
                      <a:pt x="107" y="67"/>
                      <a:pt x="107" y="67"/>
                      <a:pt x="107" y="67"/>
                    </a:cubicBezTo>
                    <a:cubicBezTo>
                      <a:pt x="118" y="76"/>
                      <a:pt x="129" y="86"/>
                      <a:pt x="141" y="97"/>
                    </a:cubicBezTo>
                    <a:cubicBezTo>
                      <a:pt x="144" y="97"/>
                      <a:pt x="144" y="97"/>
                      <a:pt x="144" y="97"/>
                    </a:cubicBezTo>
                    <a:cubicBezTo>
                      <a:pt x="132" y="86"/>
                      <a:pt x="121" y="76"/>
                      <a:pt x="110" y="67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2"/>
                      <a:pt x="1" y="2"/>
                      <a:pt x="2" y="2"/>
                    </a:cubicBezTo>
                    <a:cubicBezTo>
                      <a:pt x="12" y="6"/>
                      <a:pt x="55" y="25"/>
                      <a:pt x="106" y="66"/>
                    </a:cubicBezTo>
                    <a:cubicBezTo>
                      <a:pt x="109" y="66"/>
                      <a:pt x="109" y="66"/>
                      <a:pt x="109" y="66"/>
                    </a:cubicBezTo>
                    <a:cubicBezTo>
                      <a:pt x="56" y="23"/>
                      <a:pt x="10" y="3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70" name="Freeform 18"/>
              <p:cNvSpPr>
                <a:spLocks/>
              </p:cNvSpPr>
              <p:nvPr/>
            </p:nvSpPr>
            <p:spPr bwMode="auto">
              <a:xfrm>
                <a:off x="-1416" y="1754"/>
                <a:ext cx="9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4" y="1"/>
                  </a:cxn>
                  <a:cxn ang="0">
                    <a:pos x="3" y="0"/>
                  </a:cxn>
                </a:cxnLst>
                <a:rect l="0" t="0" r="r" b="b"/>
                <a:pathLst>
                  <a:path w="4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1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71" name="Freeform 19"/>
              <p:cNvSpPr>
                <a:spLocks/>
              </p:cNvSpPr>
              <p:nvPr/>
            </p:nvSpPr>
            <p:spPr bwMode="auto">
              <a:xfrm>
                <a:off x="-1499" y="1682"/>
                <a:ext cx="9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4" y="1"/>
                  </a:cxn>
                  <a:cxn ang="0">
                    <a:pos x="3" y="0"/>
                  </a:cxn>
                </a:cxnLst>
                <a:rect l="0" t="0" r="r" b="b"/>
                <a:pathLst>
                  <a:path w="4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72" name="Freeform 20"/>
              <p:cNvSpPr>
                <a:spLocks noEditPoints="1"/>
              </p:cNvSpPr>
              <p:nvPr/>
            </p:nvSpPr>
            <p:spPr bwMode="auto">
              <a:xfrm>
                <a:off x="-2620" y="2810"/>
                <a:ext cx="179" cy="2"/>
              </a:xfrm>
              <a:custGeom>
                <a:avLst/>
                <a:gdLst/>
                <a:ahLst/>
                <a:cxnLst>
                  <a:cxn ang="0">
                    <a:pos x="178" y="2"/>
                  </a:cxn>
                  <a:cxn ang="0">
                    <a:pos x="178" y="0"/>
                  </a:cxn>
                  <a:cxn ang="0">
                    <a:pos x="178" y="2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178" y="0"/>
                  </a:cxn>
                  <a:cxn ang="0">
                    <a:pos x="178" y="0"/>
                  </a:cxn>
                </a:cxnLst>
                <a:rect l="0" t="0" r="r" b="b"/>
                <a:pathLst>
                  <a:path w="178" h="2">
                    <a:moveTo>
                      <a:pt x="178" y="2"/>
                    </a:moveTo>
                    <a:lnTo>
                      <a:pt x="178" y="0"/>
                    </a:lnTo>
                    <a:lnTo>
                      <a:pt x="178" y="2"/>
                    </a:lnTo>
                    <a:close/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  <a:moveTo>
                      <a:pt x="178" y="0"/>
                    </a:moveTo>
                    <a:lnTo>
                      <a:pt x="17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73" name="Freeform 21"/>
              <p:cNvSpPr>
                <a:spLocks noEditPoints="1"/>
              </p:cNvSpPr>
              <p:nvPr/>
            </p:nvSpPr>
            <p:spPr bwMode="auto">
              <a:xfrm>
                <a:off x="-2620" y="2810"/>
                <a:ext cx="179" cy="2"/>
              </a:xfrm>
              <a:custGeom>
                <a:avLst/>
                <a:gdLst/>
                <a:ahLst/>
                <a:cxnLst>
                  <a:cxn ang="0">
                    <a:pos x="178" y="2"/>
                  </a:cxn>
                  <a:cxn ang="0">
                    <a:pos x="178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78" y="0"/>
                  </a:cxn>
                  <a:cxn ang="0">
                    <a:pos x="178" y="0"/>
                  </a:cxn>
                </a:cxnLst>
                <a:rect l="0" t="0" r="r" b="b"/>
                <a:pathLst>
                  <a:path w="178" h="2">
                    <a:moveTo>
                      <a:pt x="178" y="2"/>
                    </a:moveTo>
                    <a:lnTo>
                      <a:pt x="178" y="0"/>
                    </a:lnTo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moveTo>
                      <a:pt x="178" y="0"/>
                    </a:moveTo>
                    <a:lnTo>
                      <a:pt x="17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74" name="Freeform 22"/>
              <p:cNvSpPr>
                <a:spLocks/>
              </p:cNvSpPr>
              <p:nvPr/>
            </p:nvSpPr>
            <p:spPr bwMode="auto">
              <a:xfrm>
                <a:off x="-1032" y="2810"/>
                <a:ext cx="5" cy="2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5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5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75" name="Freeform 23"/>
              <p:cNvSpPr>
                <a:spLocks/>
              </p:cNvSpPr>
              <p:nvPr/>
            </p:nvSpPr>
            <p:spPr bwMode="auto">
              <a:xfrm>
                <a:off x="-938" y="3276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76" name="Freeform 24"/>
              <p:cNvSpPr>
                <a:spLocks noEditPoints="1"/>
              </p:cNvSpPr>
              <p:nvPr/>
            </p:nvSpPr>
            <p:spPr bwMode="auto">
              <a:xfrm>
                <a:off x="-3887" y="3352"/>
                <a:ext cx="396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15" y="0"/>
                  </a:cxn>
                  <a:cxn ang="0">
                    <a:pos x="10" y="0"/>
                  </a:cxn>
                  <a:cxn ang="0">
                    <a:pos x="15" y="0"/>
                  </a:cxn>
                  <a:cxn ang="0">
                    <a:pos x="20" y="0"/>
                  </a:cxn>
                  <a:cxn ang="0">
                    <a:pos x="25" y="0"/>
                  </a:cxn>
                  <a:cxn ang="0">
                    <a:pos x="36" y="0"/>
                  </a:cxn>
                  <a:cxn ang="0">
                    <a:pos x="30" y="0"/>
                  </a:cxn>
                  <a:cxn ang="0">
                    <a:pos x="36" y="0"/>
                  </a:cxn>
                  <a:cxn ang="0">
                    <a:pos x="43" y="0"/>
                  </a:cxn>
                  <a:cxn ang="0">
                    <a:pos x="46" y="0"/>
                  </a:cxn>
                  <a:cxn ang="0">
                    <a:pos x="56" y="0"/>
                  </a:cxn>
                  <a:cxn ang="0">
                    <a:pos x="51" y="0"/>
                  </a:cxn>
                  <a:cxn ang="0">
                    <a:pos x="56" y="0"/>
                  </a:cxn>
                  <a:cxn ang="0">
                    <a:pos x="62" y="0"/>
                  </a:cxn>
                  <a:cxn ang="0">
                    <a:pos x="67" y="0"/>
                  </a:cxn>
                  <a:cxn ang="0">
                    <a:pos x="77" y="0"/>
                  </a:cxn>
                  <a:cxn ang="0">
                    <a:pos x="72" y="0"/>
                  </a:cxn>
                  <a:cxn ang="0">
                    <a:pos x="77" y="0"/>
                  </a:cxn>
                  <a:cxn ang="0">
                    <a:pos x="82" y="0"/>
                  </a:cxn>
                  <a:cxn ang="0">
                    <a:pos x="84" y="0"/>
                  </a:cxn>
                  <a:cxn ang="0">
                    <a:pos x="88" y="0"/>
                  </a:cxn>
                  <a:cxn ang="0">
                    <a:pos x="86" y="0"/>
                  </a:cxn>
                  <a:cxn ang="0">
                    <a:pos x="88" y="0"/>
                  </a:cxn>
                  <a:cxn ang="0">
                    <a:pos x="93" y="0"/>
                  </a:cxn>
                  <a:cxn ang="0">
                    <a:pos x="98" y="0"/>
                  </a:cxn>
                  <a:cxn ang="0">
                    <a:pos x="108" y="0"/>
                  </a:cxn>
                  <a:cxn ang="0">
                    <a:pos x="103" y="0"/>
                  </a:cxn>
                  <a:cxn ang="0">
                    <a:pos x="108" y="0"/>
                  </a:cxn>
                  <a:cxn ang="0">
                    <a:pos x="114" y="0"/>
                  </a:cxn>
                  <a:cxn ang="0">
                    <a:pos x="119" y="0"/>
                  </a:cxn>
                  <a:cxn ang="0">
                    <a:pos x="126" y="0"/>
                  </a:cxn>
                  <a:cxn ang="0">
                    <a:pos x="124" y="0"/>
                  </a:cxn>
                  <a:cxn ang="0">
                    <a:pos x="126" y="0"/>
                  </a:cxn>
                  <a:cxn ang="0">
                    <a:pos x="128" y="0"/>
                  </a:cxn>
                  <a:cxn ang="0">
                    <a:pos x="129" y="0"/>
                  </a:cxn>
                  <a:cxn ang="0">
                    <a:pos x="140" y="0"/>
                  </a:cxn>
                  <a:cxn ang="0">
                    <a:pos x="134" y="0"/>
                  </a:cxn>
                  <a:cxn ang="0">
                    <a:pos x="140" y="0"/>
                  </a:cxn>
                  <a:cxn ang="0">
                    <a:pos x="145" y="0"/>
                  </a:cxn>
                  <a:cxn ang="0">
                    <a:pos x="150" y="0"/>
                  </a:cxn>
                  <a:cxn ang="0">
                    <a:pos x="160" y="0"/>
                  </a:cxn>
                  <a:cxn ang="0">
                    <a:pos x="155" y="0"/>
                  </a:cxn>
                  <a:cxn ang="0">
                    <a:pos x="160" y="0"/>
                  </a:cxn>
                  <a:cxn ang="0">
                    <a:pos x="166" y="0"/>
                  </a:cxn>
                  <a:cxn ang="0">
                    <a:pos x="167" y="0"/>
                  </a:cxn>
                </a:cxnLst>
                <a:rect l="0" t="0" r="r" b="b"/>
                <a:pathLst>
                  <a:path w="167">
                    <a:moveTo>
                      <a:pt x="4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moveTo>
                      <a:pt x="15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5" y="0"/>
                      <a:pt x="15" y="0"/>
                      <a:pt x="15" y="0"/>
                    </a:cubicBezTo>
                    <a:moveTo>
                      <a:pt x="25" y="0"/>
                    </a:moveTo>
                    <a:cubicBezTo>
                      <a:pt x="20" y="0"/>
                      <a:pt x="20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5" y="0"/>
                      <a:pt x="25" y="0"/>
                      <a:pt x="25" y="0"/>
                    </a:cubicBezTo>
                    <a:moveTo>
                      <a:pt x="36" y="0"/>
                    </a:moveTo>
                    <a:cubicBezTo>
                      <a:pt x="30" y="0"/>
                      <a:pt x="30" y="0"/>
                      <a:pt x="30" y="0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  <a:moveTo>
                      <a:pt x="46" y="0"/>
                    </a:moveTo>
                    <a:cubicBezTo>
                      <a:pt x="43" y="0"/>
                      <a:pt x="43" y="0"/>
                      <a:pt x="43" y="0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46" y="0"/>
                      <a:pt x="46" y="0"/>
                      <a:pt x="46" y="0"/>
                    </a:cubicBezTo>
                    <a:moveTo>
                      <a:pt x="56" y="0"/>
                    </a:moveTo>
                    <a:cubicBezTo>
                      <a:pt x="51" y="0"/>
                      <a:pt x="51" y="0"/>
                      <a:pt x="51" y="0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56" y="0"/>
                      <a:pt x="56" y="0"/>
                      <a:pt x="56" y="0"/>
                    </a:cubicBezTo>
                    <a:moveTo>
                      <a:pt x="67" y="0"/>
                    </a:moveTo>
                    <a:cubicBezTo>
                      <a:pt x="62" y="0"/>
                      <a:pt x="62" y="0"/>
                      <a:pt x="62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67" y="0"/>
                      <a:pt x="67" y="0"/>
                      <a:pt x="67" y="0"/>
                    </a:cubicBezTo>
                    <a:moveTo>
                      <a:pt x="77" y="0"/>
                    </a:moveTo>
                    <a:cubicBezTo>
                      <a:pt x="72" y="0"/>
                      <a:pt x="72" y="0"/>
                      <a:pt x="72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77" y="0"/>
                      <a:pt x="77" y="0"/>
                      <a:pt x="77" y="0"/>
                    </a:cubicBezTo>
                    <a:cubicBezTo>
                      <a:pt x="77" y="0"/>
                      <a:pt x="77" y="0"/>
                      <a:pt x="77" y="0"/>
                    </a:cubicBezTo>
                    <a:moveTo>
                      <a:pt x="84" y="0"/>
                    </a:moveTo>
                    <a:cubicBezTo>
                      <a:pt x="82" y="0"/>
                      <a:pt x="82" y="0"/>
                      <a:pt x="82" y="0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84" y="0"/>
                      <a:pt x="84" y="0"/>
                      <a:pt x="84" y="0"/>
                    </a:cubicBezTo>
                    <a:cubicBezTo>
                      <a:pt x="84" y="0"/>
                      <a:pt x="84" y="0"/>
                      <a:pt x="84" y="0"/>
                    </a:cubicBezTo>
                    <a:moveTo>
                      <a:pt x="88" y="0"/>
                    </a:moveTo>
                    <a:cubicBezTo>
                      <a:pt x="86" y="0"/>
                      <a:pt x="86" y="0"/>
                      <a:pt x="86" y="0"/>
                    </a:cubicBezTo>
                    <a:cubicBezTo>
                      <a:pt x="86" y="0"/>
                      <a:pt x="86" y="0"/>
                      <a:pt x="86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88" y="0"/>
                      <a:pt x="88" y="0"/>
                      <a:pt x="88" y="0"/>
                    </a:cubicBezTo>
                    <a:moveTo>
                      <a:pt x="98" y="0"/>
                    </a:moveTo>
                    <a:cubicBezTo>
                      <a:pt x="93" y="0"/>
                      <a:pt x="93" y="0"/>
                      <a:pt x="93" y="0"/>
                    </a:cubicBezTo>
                    <a:cubicBezTo>
                      <a:pt x="93" y="0"/>
                      <a:pt x="93" y="0"/>
                      <a:pt x="93" y="0"/>
                    </a:cubicBezTo>
                    <a:cubicBezTo>
                      <a:pt x="98" y="0"/>
                      <a:pt x="98" y="0"/>
                      <a:pt x="98" y="0"/>
                    </a:cubicBezTo>
                    <a:cubicBezTo>
                      <a:pt x="98" y="0"/>
                      <a:pt x="98" y="0"/>
                      <a:pt x="98" y="0"/>
                    </a:cubicBezTo>
                    <a:moveTo>
                      <a:pt x="108" y="0"/>
                    </a:moveTo>
                    <a:cubicBezTo>
                      <a:pt x="103" y="0"/>
                      <a:pt x="103" y="0"/>
                      <a:pt x="103" y="0"/>
                    </a:cubicBezTo>
                    <a:cubicBezTo>
                      <a:pt x="103" y="0"/>
                      <a:pt x="103" y="0"/>
                      <a:pt x="103" y="0"/>
                    </a:cubicBezTo>
                    <a:cubicBezTo>
                      <a:pt x="108" y="0"/>
                      <a:pt x="108" y="0"/>
                      <a:pt x="108" y="0"/>
                    </a:cubicBezTo>
                    <a:cubicBezTo>
                      <a:pt x="108" y="0"/>
                      <a:pt x="108" y="0"/>
                      <a:pt x="108" y="0"/>
                    </a:cubicBezTo>
                    <a:moveTo>
                      <a:pt x="119" y="0"/>
                    </a:moveTo>
                    <a:cubicBezTo>
                      <a:pt x="114" y="0"/>
                      <a:pt x="114" y="0"/>
                      <a:pt x="114" y="0"/>
                    </a:cubicBezTo>
                    <a:cubicBezTo>
                      <a:pt x="114" y="0"/>
                      <a:pt x="114" y="0"/>
                      <a:pt x="114" y="0"/>
                    </a:cubicBezTo>
                    <a:cubicBezTo>
                      <a:pt x="119" y="0"/>
                      <a:pt x="119" y="0"/>
                      <a:pt x="119" y="0"/>
                    </a:cubicBezTo>
                    <a:cubicBezTo>
                      <a:pt x="119" y="0"/>
                      <a:pt x="119" y="0"/>
                      <a:pt x="119" y="0"/>
                    </a:cubicBezTo>
                    <a:moveTo>
                      <a:pt x="126" y="0"/>
                    </a:moveTo>
                    <a:cubicBezTo>
                      <a:pt x="124" y="0"/>
                      <a:pt x="124" y="0"/>
                      <a:pt x="124" y="0"/>
                    </a:cubicBezTo>
                    <a:cubicBezTo>
                      <a:pt x="124" y="0"/>
                      <a:pt x="124" y="0"/>
                      <a:pt x="124" y="0"/>
                    </a:cubicBezTo>
                    <a:cubicBezTo>
                      <a:pt x="126" y="0"/>
                      <a:pt x="126" y="0"/>
                      <a:pt x="126" y="0"/>
                    </a:cubicBezTo>
                    <a:cubicBezTo>
                      <a:pt x="126" y="0"/>
                      <a:pt x="126" y="0"/>
                      <a:pt x="126" y="0"/>
                    </a:cubicBezTo>
                    <a:moveTo>
                      <a:pt x="129" y="0"/>
                    </a:moveTo>
                    <a:cubicBezTo>
                      <a:pt x="128" y="0"/>
                      <a:pt x="128" y="0"/>
                      <a:pt x="128" y="0"/>
                    </a:cubicBezTo>
                    <a:cubicBezTo>
                      <a:pt x="128" y="0"/>
                      <a:pt x="128" y="0"/>
                      <a:pt x="128" y="0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129" y="0"/>
                      <a:pt x="129" y="0"/>
                      <a:pt x="129" y="0"/>
                    </a:cubicBezTo>
                    <a:moveTo>
                      <a:pt x="140" y="0"/>
                    </a:moveTo>
                    <a:cubicBezTo>
                      <a:pt x="134" y="0"/>
                      <a:pt x="134" y="0"/>
                      <a:pt x="134" y="0"/>
                    </a:cubicBezTo>
                    <a:cubicBezTo>
                      <a:pt x="134" y="0"/>
                      <a:pt x="134" y="0"/>
                      <a:pt x="134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40" y="0"/>
                      <a:pt x="140" y="0"/>
                      <a:pt x="140" y="0"/>
                    </a:cubicBezTo>
                    <a:moveTo>
                      <a:pt x="150" y="0"/>
                    </a:moveTo>
                    <a:cubicBezTo>
                      <a:pt x="145" y="0"/>
                      <a:pt x="145" y="0"/>
                      <a:pt x="145" y="0"/>
                    </a:cubicBezTo>
                    <a:cubicBezTo>
                      <a:pt x="145" y="0"/>
                      <a:pt x="145" y="0"/>
                      <a:pt x="145" y="0"/>
                    </a:cubicBezTo>
                    <a:cubicBezTo>
                      <a:pt x="150" y="0"/>
                      <a:pt x="150" y="0"/>
                      <a:pt x="150" y="0"/>
                    </a:cubicBezTo>
                    <a:cubicBezTo>
                      <a:pt x="150" y="0"/>
                      <a:pt x="150" y="0"/>
                      <a:pt x="150" y="0"/>
                    </a:cubicBezTo>
                    <a:moveTo>
                      <a:pt x="160" y="0"/>
                    </a:moveTo>
                    <a:cubicBezTo>
                      <a:pt x="155" y="0"/>
                      <a:pt x="155" y="0"/>
                      <a:pt x="155" y="0"/>
                    </a:cubicBezTo>
                    <a:cubicBezTo>
                      <a:pt x="155" y="0"/>
                      <a:pt x="155" y="0"/>
                      <a:pt x="155" y="0"/>
                    </a:cubicBezTo>
                    <a:cubicBezTo>
                      <a:pt x="160" y="0"/>
                      <a:pt x="160" y="0"/>
                      <a:pt x="160" y="0"/>
                    </a:cubicBezTo>
                    <a:cubicBezTo>
                      <a:pt x="160" y="0"/>
                      <a:pt x="160" y="0"/>
                      <a:pt x="160" y="0"/>
                    </a:cubicBezTo>
                    <a:moveTo>
                      <a:pt x="167" y="0"/>
                    </a:moveTo>
                    <a:cubicBezTo>
                      <a:pt x="166" y="0"/>
                      <a:pt x="166" y="0"/>
                      <a:pt x="166" y="0"/>
                    </a:cubicBezTo>
                    <a:cubicBezTo>
                      <a:pt x="166" y="0"/>
                      <a:pt x="166" y="0"/>
                      <a:pt x="166" y="0"/>
                    </a:cubicBezTo>
                    <a:cubicBezTo>
                      <a:pt x="167" y="0"/>
                      <a:pt x="167" y="0"/>
                      <a:pt x="167" y="0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77" name="Freeform 25"/>
              <p:cNvSpPr>
                <a:spLocks noEditPoints="1"/>
              </p:cNvSpPr>
              <p:nvPr/>
            </p:nvSpPr>
            <p:spPr bwMode="auto">
              <a:xfrm>
                <a:off x="-2903" y="3355"/>
                <a:ext cx="287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21" y="0"/>
                  </a:cxn>
                  <a:cxn ang="0">
                    <a:pos x="120" y="0"/>
                  </a:cxn>
                  <a:cxn ang="0">
                    <a:pos x="120" y="1"/>
                  </a:cxn>
                  <a:cxn ang="0">
                    <a:pos x="120" y="1"/>
                  </a:cxn>
                  <a:cxn ang="0">
                    <a:pos x="121" y="0"/>
                  </a:cxn>
                </a:cxnLst>
                <a:rect l="0" t="0" r="r" b="b"/>
                <a:pathLst>
                  <a:path w="12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21" y="0"/>
                    </a:moveTo>
                    <a:cubicBezTo>
                      <a:pt x="120" y="0"/>
                      <a:pt x="120" y="0"/>
                      <a:pt x="120" y="0"/>
                    </a:cubicBezTo>
                    <a:cubicBezTo>
                      <a:pt x="120" y="1"/>
                      <a:pt x="120" y="1"/>
                      <a:pt x="120" y="1"/>
                    </a:cubicBezTo>
                    <a:cubicBezTo>
                      <a:pt x="120" y="1"/>
                      <a:pt x="120" y="1"/>
                      <a:pt x="120" y="1"/>
                    </a:cubicBezTo>
                    <a:cubicBezTo>
                      <a:pt x="120" y="1"/>
                      <a:pt x="120" y="1"/>
                      <a:pt x="12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78" name="Freeform 26"/>
              <p:cNvSpPr>
                <a:spLocks noEditPoints="1"/>
              </p:cNvSpPr>
              <p:nvPr/>
            </p:nvSpPr>
            <p:spPr bwMode="auto">
              <a:xfrm>
                <a:off x="-2019" y="3355"/>
                <a:ext cx="85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36" y="0"/>
                  </a:cxn>
                  <a:cxn ang="0">
                    <a:pos x="36" y="0"/>
                  </a:cxn>
                  <a:cxn ang="0">
                    <a:pos x="36" y="0"/>
                  </a:cxn>
                  <a:cxn ang="0">
                    <a:pos x="36" y="0"/>
                  </a:cxn>
                </a:cxnLst>
                <a:rect l="0" t="0" r="r" b="b"/>
                <a:pathLst>
                  <a:path w="36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36" y="0"/>
                    </a:moveTo>
                    <a:cubicBezTo>
                      <a:pt x="36" y="0"/>
                      <a:pt x="36" y="0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79" name="Freeform 27"/>
              <p:cNvSpPr>
                <a:spLocks/>
              </p:cNvSpPr>
              <p:nvPr/>
            </p:nvSpPr>
            <p:spPr bwMode="auto">
              <a:xfrm>
                <a:off x="-912" y="3355"/>
                <a:ext cx="3" cy="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80" name="Freeform 28"/>
              <p:cNvSpPr>
                <a:spLocks/>
              </p:cNvSpPr>
              <p:nvPr/>
            </p:nvSpPr>
            <p:spPr bwMode="auto">
              <a:xfrm>
                <a:off x="-808" y="3357"/>
                <a:ext cx="2" cy="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81" name="Freeform 29"/>
              <p:cNvSpPr>
                <a:spLocks/>
              </p:cNvSpPr>
              <p:nvPr/>
            </p:nvSpPr>
            <p:spPr bwMode="auto">
              <a:xfrm>
                <a:off x="-1049" y="2498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82" name="Freeform 30"/>
              <p:cNvSpPr>
                <a:spLocks/>
              </p:cNvSpPr>
              <p:nvPr/>
            </p:nvSpPr>
            <p:spPr bwMode="auto">
              <a:xfrm>
                <a:off x="-1103" y="2256"/>
                <a:ext cx="6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83" name="Freeform 31"/>
              <p:cNvSpPr>
                <a:spLocks/>
              </p:cNvSpPr>
              <p:nvPr/>
            </p:nvSpPr>
            <p:spPr bwMode="auto">
              <a:xfrm>
                <a:off x="-2382" y="1987"/>
                <a:ext cx="91" cy="270"/>
              </a:xfrm>
              <a:custGeom>
                <a:avLst/>
                <a:gdLst/>
                <a:ahLst/>
                <a:cxnLst>
                  <a:cxn ang="0">
                    <a:pos x="39" y="0"/>
                  </a:cxn>
                  <a:cxn ang="0">
                    <a:pos x="37" y="0"/>
                  </a:cxn>
                  <a:cxn ang="0">
                    <a:pos x="35" y="5"/>
                  </a:cxn>
                  <a:cxn ang="0">
                    <a:pos x="0" y="114"/>
                  </a:cxn>
                  <a:cxn ang="0">
                    <a:pos x="2" y="114"/>
                  </a:cxn>
                  <a:cxn ang="0">
                    <a:pos x="5" y="101"/>
                  </a:cxn>
                  <a:cxn ang="0">
                    <a:pos x="5" y="101"/>
                  </a:cxn>
                  <a:cxn ang="0">
                    <a:pos x="5" y="100"/>
                  </a:cxn>
                  <a:cxn ang="0">
                    <a:pos x="6" y="100"/>
                  </a:cxn>
                  <a:cxn ang="0">
                    <a:pos x="12" y="77"/>
                  </a:cxn>
                  <a:cxn ang="0">
                    <a:pos x="29" y="26"/>
                  </a:cxn>
                  <a:cxn ang="0">
                    <a:pos x="35" y="11"/>
                  </a:cxn>
                  <a:cxn ang="0">
                    <a:pos x="37" y="6"/>
                  </a:cxn>
                  <a:cxn ang="0">
                    <a:pos x="37" y="6"/>
                  </a:cxn>
                  <a:cxn ang="0">
                    <a:pos x="37" y="6"/>
                  </a:cxn>
                  <a:cxn ang="0">
                    <a:pos x="39" y="0"/>
                  </a:cxn>
                </a:cxnLst>
                <a:rect l="0" t="0" r="r" b="b"/>
                <a:pathLst>
                  <a:path w="39" h="114">
                    <a:moveTo>
                      <a:pt x="39" y="0"/>
                    </a:moveTo>
                    <a:cubicBezTo>
                      <a:pt x="37" y="0"/>
                      <a:pt x="37" y="0"/>
                      <a:pt x="37" y="0"/>
                    </a:cubicBezTo>
                    <a:cubicBezTo>
                      <a:pt x="36" y="1"/>
                      <a:pt x="36" y="3"/>
                      <a:pt x="35" y="5"/>
                    </a:cubicBezTo>
                    <a:cubicBezTo>
                      <a:pt x="34" y="6"/>
                      <a:pt x="15" y="54"/>
                      <a:pt x="0" y="114"/>
                    </a:cubicBezTo>
                    <a:cubicBezTo>
                      <a:pt x="2" y="114"/>
                      <a:pt x="2" y="114"/>
                      <a:pt x="2" y="114"/>
                    </a:cubicBezTo>
                    <a:cubicBezTo>
                      <a:pt x="3" y="109"/>
                      <a:pt x="4" y="105"/>
                      <a:pt x="5" y="101"/>
                    </a:cubicBezTo>
                    <a:cubicBezTo>
                      <a:pt x="5" y="101"/>
                      <a:pt x="5" y="101"/>
                      <a:pt x="5" y="101"/>
                    </a:cubicBezTo>
                    <a:cubicBezTo>
                      <a:pt x="5" y="100"/>
                      <a:pt x="5" y="100"/>
                      <a:pt x="5" y="100"/>
                    </a:cubicBezTo>
                    <a:cubicBezTo>
                      <a:pt x="6" y="100"/>
                      <a:pt x="6" y="100"/>
                      <a:pt x="6" y="100"/>
                    </a:cubicBezTo>
                    <a:cubicBezTo>
                      <a:pt x="8" y="92"/>
                      <a:pt x="10" y="85"/>
                      <a:pt x="12" y="77"/>
                    </a:cubicBezTo>
                    <a:cubicBezTo>
                      <a:pt x="18" y="56"/>
                      <a:pt x="24" y="38"/>
                      <a:pt x="29" y="26"/>
                    </a:cubicBezTo>
                    <a:cubicBezTo>
                      <a:pt x="31" y="19"/>
                      <a:pt x="33" y="14"/>
                      <a:pt x="35" y="11"/>
                    </a:cubicBezTo>
                    <a:cubicBezTo>
                      <a:pt x="36" y="7"/>
                      <a:pt x="37" y="6"/>
                      <a:pt x="37" y="6"/>
                    </a:cubicBezTo>
                    <a:cubicBezTo>
                      <a:pt x="37" y="6"/>
                      <a:pt x="37" y="6"/>
                      <a:pt x="37" y="6"/>
                    </a:cubicBezTo>
                    <a:cubicBezTo>
                      <a:pt x="37" y="6"/>
                      <a:pt x="37" y="6"/>
                      <a:pt x="37" y="6"/>
                    </a:cubicBezTo>
                    <a:cubicBezTo>
                      <a:pt x="38" y="3"/>
                      <a:pt x="38" y="2"/>
                      <a:pt x="39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84" name="Freeform 32"/>
              <p:cNvSpPr>
                <a:spLocks/>
              </p:cNvSpPr>
              <p:nvPr/>
            </p:nvSpPr>
            <p:spPr bwMode="auto">
              <a:xfrm>
                <a:off x="-2369" y="2222"/>
                <a:ext cx="2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85" name="Freeform 33"/>
              <p:cNvSpPr>
                <a:spLocks noEditPoints="1"/>
              </p:cNvSpPr>
              <p:nvPr/>
            </p:nvSpPr>
            <p:spPr bwMode="auto">
              <a:xfrm>
                <a:off x="-2417" y="1522"/>
                <a:ext cx="415" cy="1054"/>
              </a:xfrm>
              <a:custGeom>
                <a:avLst/>
                <a:gdLst/>
                <a:ahLst/>
                <a:cxnLst>
                  <a:cxn ang="0">
                    <a:pos x="2" y="413"/>
                  </a:cxn>
                  <a:cxn ang="0">
                    <a:pos x="0" y="413"/>
                  </a:cxn>
                  <a:cxn ang="0">
                    <a:pos x="0" y="421"/>
                  </a:cxn>
                  <a:cxn ang="0">
                    <a:pos x="1" y="445"/>
                  </a:cxn>
                  <a:cxn ang="0">
                    <a:pos x="1" y="445"/>
                  </a:cxn>
                  <a:cxn ang="0">
                    <a:pos x="1" y="445"/>
                  </a:cxn>
                  <a:cxn ang="0">
                    <a:pos x="2" y="445"/>
                  </a:cxn>
                  <a:cxn ang="0">
                    <a:pos x="3" y="445"/>
                  </a:cxn>
                  <a:cxn ang="0">
                    <a:pos x="2" y="421"/>
                  </a:cxn>
                  <a:cxn ang="0">
                    <a:pos x="2" y="413"/>
                  </a:cxn>
                  <a:cxn ang="0">
                    <a:pos x="17" y="311"/>
                  </a:cxn>
                  <a:cxn ang="0">
                    <a:pos x="15" y="311"/>
                  </a:cxn>
                  <a:cxn ang="0">
                    <a:pos x="0" y="412"/>
                  </a:cxn>
                  <a:cxn ang="0">
                    <a:pos x="2" y="412"/>
                  </a:cxn>
                  <a:cxn ang="0">
                    <a:pos x="17" y="311"/>
                  </a:cxn>
                  <a:cxn ang="0">
                    <a:pos x="89" y="99"/>
                  </a:cxn>
                  <a:cxn ang="0">
                    <a:pos x="87" y="99"/>
                  </a:cxn>
                  <a:cxn ang="0">
                    <a:pos x="68" y="147"/>
                  </a:cxn>
                  <a:cxn ang="0">
                    <a:pos x="52" y="195"/>
                  </a:cxn>
                  <a:cxn ang="0">
                    <a:pos x="54" y="195"/>
                  </a:cxn>
                  <a:cxn ang="0">
                    <a:pos x="70" y="147"/>
                  </a:cxn>
                  <a:cxn ang="0">
                    <a:pos x="89" y="99"/>
                  </a:cxn>
                  <a:cxn ang="0">
                    <a:pos x="175" y="0"/>
                  </a:cxn>
                  <a:cxn ang="0">
                    <a:pos x="175" y="0"/>
                  </a:cxn>
                  <a:cxn ang="0">
                    <a:pos x="88" y="97"/>
                  </a:cxn>
                  <a:cxn ang="0">
                    <a:pos x="87" y="98"/>
                  </a:cxn>
                  <a:cxn ang="0">
                    <a:pos x="90" y="98"/>
                  </a:cxn>
                  <a:cxn ang="0">
                    <a:pos x="90" y="98"/>
                  </a:cxn>
                  <a:cxn ang="0">
                    <a:pos x="141" y="29"/>
                  </a:cxn>
                  <a:cxn ang="0">
                    <a:pos x="165" y="9"/>
                  </a:cxn>
                  <a:cxn ang="0">
                    <a:pos x="173" y="4"/>
                  </a:cxn>
                  <a:cxn ang="0">
                    <a:pos x="176" y="2"/>
                  </a:cxn>
                  <a:cxn ang="0">
                    <a:pos x="175" y="0"/>
                  </a:cxn>
                </a:cxnLst>
                <a:rect l="0" t="0" r="r" b="b"/>
                <a:pathLst>
                  <a:path w="176" h="445">
                    <a:moveTo>
                      <a:pt x="2" y="413"/>
                    </a:moveTo>
                    <a:cubicBezTo>
                      <a:pt x="0" y="413"/>
                      <a:pt x="0" y="413"/>
                      <a:pt x="0" y="413"/>
                    </a:cubicBezTo>
                    <a:cubicBezTo>
                      <a:pt x="0" y="415"/>
                      <a:pt x="0" y="418"/>
                      <a:pt x="0" y="421"/>
                    </a:cubicBezTo>
                    <a:cubicBezTo>
                      <a:pt x="0" y="429"/>
                      <a:pt x="0" y="437"/>
                      <a:pt x="1" y="445"/>
                    </a:cubicBezTo>
                    <a:cubicBezTo>
                      <a:pt x="1" y="445"/>
                      <a:pt x="1" y="445"/>
                      <a:pt x="1" y="445"/>
                    </a:cubicBezTo>
                    <a:cubicBezTo>
                      <a:pt x="1" y="445"/>
                      <a:pt x="1" y="445"/>
                      <a:pt x="1" y="445"/>
                    </a:cubicBezTo>
                    <a:cubicBezTo>
                      <a:pt x="2" y="445"/>
                      <a:pt x="2" y="445"/>
                      <a:pt x="2" y="445"/>
                    </a:cubicBezTo>
                    <a:cubicBezTo>
                      <a:pt x="3" y="445"/>
                      <a:pt x="3" y="445"/>
                      <a:pt x="3" y="445"/>
                    </a:cubicBezTo>
                    <a:cubicBezTo>
                      <a:pt x="2" y="437"/>
                      <a:pt x="2" y="429"/>
                      <a:pt x="2" y="421"/>
                    </a:cubicBezTo>
                    <a:cubicBezTo>
                      <a:pt x="2" y="418"/>
                      <a:pt x="2" y="415"/>
                      <a:pt x="2" y="413"/>
                    </a:cubicBezTo>
                    <a:moveTo>
                      <a:pt x="17" y="311"/>
                    </a:moveTo>
                    <a:cubicBezTo>
                      <a:pt x="15" y="311"/>
                      <a:pt x="15" y="311"/>
                      <a:pt x="15" y="311"/>
                    </a:cubicBezTo>
                    <a:cubicBezTo>
                      <a:pt x="7" y="343"/>
                      <a:pt x="1" y="378"/>
                      <a:pt x="0" y="412"/>
                    </a:cubicBezTo>
                    <a:cubicBezTo>
                      <a:pt x="2" y="412"/>
                      <a:pt x="2" y="412"/>
                      <a:pt x="2" y="412"/>
                    </a:cubicBezTo>
                    <a:cubicBezTo>
                      <a:pt x="3" y="378"/>
                      <a:pt x="9" y="343"/>
                      <a:pt x="17" y="311"/>
                    </a:cubicBezTo>
                    <a:moveTo>
                      <a:pt x="89" y="99"/>
                    </a:moveTo>
                    <a:cubicBezTo>
                      <a:pt x="87" y="99"/>
                      <a:pt x="87" y="99"/>
                      <a:pt x="87" y="99"/>
                    </a:cubicBezTo>
                    <a:cubicBezTo>
                      <a:pt x="77" y="125"/>
                      <a:pt x="72" y="135"/>
                      <a:pt x="68" y="147"/>
                    </a:cubicBezTo>
                    <a:cubicBezTo>
                      <a:pt x="64" y="157"/>
                      <a:pt x="60" y="168"/>
                      <a:pt x="52" y="195"/>
                    </a:cubicBezTo>
                    <a:cubicBezTo>
                      <a:pt x="54" y="195"/>
                      <a:pt x="54" y="195"/>
                      <a:pt x="54" y="195"/>
                    </a:cubicBezTo>
                    <a:cubicBezTo>
                      <a:pt x="62" y="169"/>
                      <a:pt x="65" y="158"/>
                      <a:pt x="70" y="147"/>
                    </a:cubicBezTo>
                    <a:cubicBezTo>
                      <a:pt x="74" y="136"/>
                      <a:pt x="79" y="126"/>
                      <a:pt x="89" y="99"/>
                    </a:cubicBezTo>
                    <a:moveTo>
                      <a:pt x="175" y="0"/>
                    </a:moveTo>
                    <a:cubicBezTo>
                      <a:pt x="175" y="0"/>
                      <a:pt x="175" y="0"/>
                      <a:pt x="175" y="0"/>
                    </a:cubicBezTo>
                    <a:cubicBezTo>
                      <a:pt x="170" y="3"/>
                      <a:pt x="108" y="43"/>
                      <a:pt x="88" y="97"/>
                    </a:cubicBezTo>
                    <a:cubicBezTo>
                      <a:pt x="88" y="97"/>
                      <a:pt x="88" y="98"/>
                      <a:pt x="87" y="98"/>
                    </a:cubicBezTo>
                    <a:cubicBezTo>
                      <a:pt x="90" y="98"/>
                      <a:pt x="90" y="98"/>
                      <a:pt x="90" y="98"/>
                    </a:cubicBezTo>
                    <a:cubicBezTo>
                      <a:pt x="90" y="98"/>
                      <a:pt x="90" y="98"/>
                      <a:pt x="90" y="98"/>
                    </a:cubicBezTo>
                    <a:cubicBezTo>
                      <a:pt x="100" y="70"/>
                      <a:pt x="121" y="46"/>
                      <a:pt x="141" y="29"/>
                    </a:cubicBezTo>
                    <a:cubicBezTo>
                      <a:pt x="150" y="21"/>
                      <a:pt x="159" y="14"/>
                      <a:pt x="165" y="9"/>
                    </a:cubicBezTo>
                    <a:cubicBezTo>
                      <a:pt x="169" y="7"/>
                      <a:pt x="171" y="5"/>
                      <a:pt x="173" y="4"/>
                    </a:cubicBezTo>
                    <a:cubicBezTo>
                      <a:pt x="175" y="2"/>
                      <a:pt x="176" y="2"/>
                      <a:pt x="176" y="2"/>
                    </a:cubicBezTo>
                    <a:cubicBezTo>
                      <a:pt x="175" y="0"/>
                      <a:pt x="175" y="0"/>
                      <a:pt x="17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86" name="Freeform 34"/>
              <p:cNvSpPr>
                <a:spLocks/>
              </p:cNvSpPr>
              <p:nvPr/>
            </p:nvSpPr>
            <p:spPr bwMode="auto">
              <a:xfrm>
                <a:off x="-2210" y="1754"/>
                <a:ext cx="6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87" name="Freeform 35"/>
              <p:cNvSpPr>
                <a:spLocks/>
              </p:cNvSpPr>
              <p:nvPr/>
            </p:nvSpPr>
            <p:spPr bwMode="auto">
              <a:xfrm>
                <a:off x="-2417" y="2498"/>
                <a:ext cx="3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88" name="Freeform 36"/>
              <p:cNvSpPr>
                <a:spLocks/>
              </p:cNvSpPr>
              <p:nvPr/>
            </p:nvSpPr>
            <p:spPr bwMode="auto">
              <a:xfrm>
                <a:off x="-2382" y="2256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89" name="Freeform 37"/>
              <p:cNvSpPr>
                <a:spLocks noEditPoints="1"/>
              </p:cNvSpPr>
              <p:nvPr/>
            </p:nvSpPr>
            <p:spPr bwMode="auto">
              <a:xfrm>
                <a:off x="-2201" y="1987"/>
                <a:ext cx="53" cy="270"/>
              </a:xfrm>
              <a:custGeom>
                <a:avLst/>
                <a:gdLst/>
                <a:ahLst/>
                <a:cxnLst>
                  <a:cxn ang="0">
                    <a:pos x="2" y="101"/>
                  </a:cxn>
                  <a:cxn ang="0">
                    <a:pos x="0" y="114"/>
                  </a:cxn>
                  <a:cxn ang="0">
                    <a:pos x="2" y="114"/>
                  </a:cxn>
                  <a:cxn ang="0">
                    <a:pos x="3" y="101"/>
                  </a:cxn>
                  <a:cxn ang="0">
                    <a:pos x="2" y="101"/>
                  </a:cxn>
                  <a:cxn ang="0">
                    <a:pos x="2" y="101"/>
                  </a:cxn>
                  <a:cxn ang="0">
                    <a:pos x="23" y="0"/>
                  </a:cxn>
                  <a:cxn ang="0">
                    <a:pos x="20" y="0"/>
                  </a:cxn>
                  <a:cxn ang="0">
                    <a:pos x="2" y="100"/>
                  </a:cxn>
                  <a:cxn ang="0">
                    <a:pos x="4" y="100"/>
                  </a:cxn>
                  <a:cxn ang="0">
                    <a:pos x="23" y="0"/>
                  </a:cxn>
                </a:cxnLst>
                <a:rect l="0" t="0" r="r" b="b"/>
                <a:pathLst>
                  <a:path w="23" h="114">
                    <a:moveTo>
                      <a:pt x="2" y="101"/>
                    </a:moveTo>
                    <a:cubicBezTo>
                      <a:pt x="1" y="105"/>
                      <a:pt x="0" y="109"/>
                      <a:pt x="0" y="114"/>
                    </a:cubicBezTo>
                    <a:cubicBezTo>
                      <a:pt x="2" y="114"/>
                      <a:pt x="2" y="114"/>
                      <a:pt x="2" y="114"/>
                    </a:cubicBezTo>
                    <a:cubicBezTo>
                      <a:pt x="2" y="109"/>
                      <a:pt x="3" y="105"/>
                      <a:pt x="3" y="101"/>
                    </a:cubicBezTo>
                    <a:cubicBezTo>
                      <a:pt x="2" y="101"/>
                      <a:pt x="2" y="101"/>
                      <a:pt x="2" y="101"/>
                    </a:cubicBezTo>
                    <a:cubicBezTo>
                      <a:pt x="2" y="101"/>
                      <a:pt x="2" y="101"/>
                      <a:pt x="2" y="101"/>
                    </a:cubicBezTo>
                    <a:moveTo>
                      <a:pt x="23" y="0"/>
                    </a:moveTo>
                    <a:cubicBezTo>
                      <a:pt x="20" y="0"/>
                      <a:pt x="20" y="0"/>
                      <a:pt x="20" y="0"/>
                    </a:cubicBezTo>
                    <a:cubicBezTo>
                      <a:pt x="13" y="34"/>
                      <a:pt x="7" y="65"/>
                      <a:pt x="2" y="100"/>
                    </a:cubicBezTo>
                    <a:cubicBezTo>
                      <a:pt x="4" y="100"/>
                      <a:pt x="4" y="100"/>
                      <a:pt x="4" y="100"/>
                    </a:cubicBezTo>
                    <a:cubicBezTo>
                      <a:pt x="9" y="65"/>
                      <a:pt x="15" y="34"/>
                      <a:pt x="2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90" name="Freeform 38"/>
              <p:cNvSpPr>
                <a:spLocks/>
              </p:cNvSpPr>
              <p:nvPr/>
            </p:nvSpPr>
            <p:spPr bwMode="auto">
              <a:xfrm>
                <a:off x="-2197" y="2222"/>
                <a:ext cx="3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91" name="Freeform 39"/>
              <p:cNvSpPr>
                <a:spLocks noEditPoints="1"/>
              </p:cNvSpPr>
              <p:nvPr/>
            </p:nvSpPr>
            <p:spPr bwMode="auto">
              <a:xfrm>
                <a:off x="-2222" y="2260"/>
                <a:ext cx="85" cy="1016"/>
              </a:xfrm>
              <a:custGeom>
                <a:avLst/>
                <a:gdLst/>
                <a:ahLst/>
                <a:cxnLst>
                  <a:cxn ang="0">
                    <a:pos x="24" y="343"/>
                  </a:cxn>
                  <a:cxn ang="0">
                    <a:pos x="22" y="343"/>
                  </a:cxn>
                  <a:cxn ang="0">
                    <a:pos x="30" y="400"/>
                  </a:cxn>
                  <a:cxn ang="0">
                    <a:pos x="34" y="429"/>
                  </a:cxn>
                  <a:cxn ang="0">
                    <a:pos x="36" y="429"/>
                  </a:cxn>
                  <a:cxn ang="0">
                    <a:pos x="32" y="400"/>
                  </a:cxn>
                  <a:cxn ang="0">
                    <a:pos x="26" y="360"/>
                  </a:cxn>
                  <a:cxn ang="0">
                    <a:pos x="24" y="343"/>
                  </a:cxn>
                  <a:cxn ang="0">
                    <a:pos x="9" y="255"/>
                  </a:cxn>
                  <a:cxn ang="0">
                    <a:pos x="7" y="255"/>
                  </a:cxn>
                  <a:cxn ang="0">
                    <a:pos x="22" y="342"/>
                  </a:cxn>
                  <a:cxn ang="0">
                    <a:pos x="24" y="342"/>
                  </a:cxn>
                  <a:cxn ang="0">
                    <a:pos x="9" y="255"/>
                  </a:cxn>
                  <a:cxn ang="0">
                    <a:pos x="7" y="233"/>
                  </a:cxn>
                  <a:cxn ang="0">
                    <a:pos x="5" y="233"/>
                  </a:cxn>
                  <a:cxn ang="0">
                    <a:pos x="7" y="254"/>
                  </a:cxn>
                  <a:cxn ang="0">
                    <a:pos x="9" y="254"/>
                  </a:cxn>
                  <a:cxn ang="0">
                    <a:pos x="7" y="233"/>
                  </a:cxn>
                  <a:cxn ang="0">
                    <a:pos x="3" y="102"/>
                  </a:cxn>
                  <a:cxn ang="0">
                    <a:pos x="1" y="102"/>
                  </a:cxn>
                  <a:cxn ang="0">
                    <a:pos x="1" y="112"/>
                  </a:cxn>
                  <a:cxn ang="0">
                    <a:pos x="0" y="125"/>
                  </a:cxn>
                  <a:cxn ang="0">
                    <a:pos x="5" y="232"/>
                  </a:cxn>
                  <a:cxn ang="0">
                    <a:pos x="7" y="232"/>
                  </a:cxn>
                  <a:cxn ang="0">
                    <a:pos x="2" y="125"/>
                  </a:cxn>
                  <a:cxn ang="0">
                    <a:pos x="3" y="112"/>
                  </a:cxn>
                  <a:cxn ang="0">
                    <a:pos x="3" y="102"/>
                  </a:cxn>
                  <a:cxn ang="0">
                    <a:pos x="11" y="0"/>
                  </a:cxn>
                  <a:cxn ang="0">
                    <a:pos x="9" y="0"/>
                  </a:cxn>
                  <a:cxn ang="0">
                    <a:pos x="1" y="101"/>
                  </a:cxn>
                  <a:cxn ang="0">
                    <a:pos x="3" y="101"/>
                  </a:cxn>
                  <a:cxn ang="0">
                    <a:pos x="11" y="0"/>
                  </a:cxn>
                </a:cxnLst>
                <a:rect l="0" t="0" r="r" b="b"/>
                <a:pathLst>
                  <a:path w="36" h="429">
                    <a:moveTo>
                      <a:pt x="24" y="343"/>
                    </a:moveTo>
                    <a:cubicBezTo>
                      <a:pt x="22" y="343"/>
                      <a:pt x="22" y="343"/>
                      <a:pt x="22" y="343"/>
                    </a:cubicBezTo>
                    <a:cubicBezTo>
                      <a:pt x="23" y="347"/>
                      <a:pt x="26" y="372"/>
                      <a:pt x="30" y="400"/>
                    </a:cubicBezTo>
                    <a:cubicBezTo>
                      <a:pt x="31" y="410"/>
                      <a:pt x="32" y="420"/>
                      <a:pt x="34" y="429"/>
                    </a:cubicBezTo>
                    <a:cubicBezTo>
                      <a:pt x="36" y="429"/>
                      <a:pt x="36" y="429"/>
                      <a:pt x="36" y="429"/>
                    </a:cubicBezTo>
                    <a:cubicBezTo>
                      <a:pt x="34" y="420"/>
                      <a:pt x="33" y="410"/>
                      <a:pt x="32" y="400"/>
                    </a:cubicBezTo>
                    <a:cubicBezTo>
                      <a:pt x="30" y="385"/>
                      <a:pt x="28" y="370"/>
                      <a:pt x="26" y="360"/>
                    </a:cubicBezTo>
                    <a:cubicBezTo>
                      <a:pt x="25" y="351"/>
                      <a:pt x="24" y="345"/>
                      <a:pt x="24" y="343"/>
                    </a:cubicBezTo>
                    <a:moveTo>
                      <a:pt x="9" y="255"/>
                    </a:moveTo>
                    <a:cubicBezTo>
                      <a:pt x="7" y="255"/>
                      <a:pt x="7" y="255"/>
                      <a:pt x="7" y="255"/>
                    </a:cubicBezTo>
                    <a:cubicBezTo>
                      <a:pt x="10" y="285"/>
                      <a:pt x="15" y="315"/>
                      <a:pt x="22" y="342"/>
                    </a:cubicBezTo>
                    <a:cubicBezTo>
                      <a:pt x="24" y="342"/>
                      <a:pt x="24" y="342"/>
                      <a:pt x="24" y="342"/>
                    </a:cubicBezTo>
                    <a:cubicBezTo>
                      <a:pt x="17" y="315"/>
                      <a:pt x="12" y="285"/>
                      <a:pt x="9" y="255"/>
                    </a:cubicBezTo>
                    <a:moveTo>
                      <a:pt x="7" y="233"/>
                    </a:moveTo>
                    <a:cubicBezTo>
                      <a:pt x="5" y="233"/>
                      <a:pt x="5" y="233"/>
                      <a:pt x="5" y="233"/>
                    </a:cubicBezTo>
                    <a:cubicBezTo>
                      <a:pt x="6" y="240"/>
                      <a:pt x="6" y="247"/>
                      <a:pt x="7" y="254"/>
                    </a:cubicBezTo>
                    <a:cubicBezTo>
                      <a:pt x="9" y="254"/>
                      <a:pt x="9" y="254"/>
                      <a:pt x="9" y="254"/>
                    </a:cubicBezTo>
                    <a:cubicBezTo>
                      <a:pt x="8" y="247"/>
                      <a:pt x="8" y="240"/>
                      <a:pt x="7" y="233"/>
                    </a:cubicBezTo>
                    <a:moveTo>
                      <a:pt x="3" y="102"/>
                    </a:moveTo>
                    <a:cubicBezTo>
                      <a:pt x="1" y="102"/>
                      <a:pt x="1" y="102"/>
                      <a:pt x="1" y="102"/>
                    </a:cubicBezTo>
                    <a:cubicBezTo>
                      <a:pt x="1" y="105"/>
                      <a:pt x="1" y="109"/>
                      <a:pt x="1" y="112"/>
                    </a:cubicBezTo>
                    <a:cubicBezTo>
                      <a:pt x="1" y="112"/>
                      <a:pt x="0" y="117"/>
                      <a:pt x="0" y="125"/>
                    </a:cubicBezTo>
                    <a:cubicBezTo>
                      <a:pt x="0" y="145"/>
                      <a:pt x="1" y="186"/>
                      <a:pt x="5" y="232"/>
                    </a:cubicBezTo>
                    <a:cubicBezTo>
                      <a:pt x="7" y="232"/>
                      <a:pt x="7" y="232"/>
                      <a:pt x="7" y="232"/>
                    </a:cubicBezTo>
                    <a:cubicBezTo>
                      <a:pt x="3" y="186"/>
                      <a:pt x="2" y="145"/>
                      <a:pt x="2" y="125"/>
                    </a:cubicBezTo>
                    <a:cubicBezTo>
                      <a:pt x="2" y="117"/>
                      <a:pt x="3" y="112"/>
                      <a:pt x="3" y="112"/>
                    </a:cubicBezTo>
                    <a:cubicBezTo>
                      <a:pt x="3" y="109"/>
                      <a:pt x="3" y="105"/>
                      <a:pt x="3" y="102"/>
                    </a:cubicBezTo>
                    <a:moveTo>
                      <a:pt x="11" y="0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5" y="29"/>
                      <a:pt x="2" y="62"/>
                      <a:pt x="1" y="101"/>
                    </a:cubicBezTo>
                    <a:cubicBezTo>
                      <a:pt x="3" y="101"/>
                      <a:pt x="3" y="101"/>
                      <a:pt x="3" y="101"/>
                    </a:cubicBezTo>
                    <a:cubicBezTo>
                      <a:pt x="4" y="62"/>
                      <a:pt x="7" y="29"/>
                      <a:pt x="1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92" name="Freeform 40"/>
              <p:cNvSpPr>
                <a:spLocks/>
              </p:cNvSpPr>
              <p:nvPr/>
            </p:nvSpPr>
            <p:spPr bwMode="auto">
              <a:xfrm>
                <a:off x="-2171" y="307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93" name="Freeform 41"/>
              <p:cNvSpPr>
                <a:spLocks/>
              </p:cNvSpPr>
              <p:nvPr/>
            </p:nvSpPr>
            <p:spPr bwMode="auto">
              <a:xfrm>
                <a:off x="-2207" y="2861"/>
                <a:ext cx="6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94" name="Freeform 42"/>
              <p:cNvSpPr>
                <a:spLocks noEditPoints="1"/>
              </p:cNvSpPr>
              <p:nvPr/>
            </p:nvSpPr>
            <p:spPr bwMode="auto">
              <a:xfrm>
                <a:off x="-2151" y="1522"/>
                <a:ext cx="182" cy="1833"/>
              </a:xfrm>
              <a:custGeom>
                <a:avLst/>
                <a:gdLst/>
                <a:ahLst/>
                <a:cxnLst>
                  <a:cxn ang="0">
                    <a:pos x="6" y="741"/>
                  </a:cxn>
                  <a:cxn ang="0">
                    <a:pos x="4" y="741"/>
                  </a:cxn>
                  <a:cxn ang="0">
                    <a:pos x="10" y="773"/>
                  </a:cxn>
                  <a:cxn ang="0">
                    <a:pos x="12" y="773"/>
                  </a:cxn>
                  <a:cxn ang="0">
                    <a:pos x="6" y="741"/>
                  </a:cxn>
                  <a:cxn ang="0">
                    <a:pos x="23" y="99"/>
                  </a:cxn>
                  <a:cxn ang="0">
                    <a:pos x="21" y="99"/>
                  </a:cxn>
                  <a:cxn ang="0">
                    <a:pos x="9" y="147"/>
                  </a:cxn>
                  <a:cxn ang="0">
                    <a:pos x="0" y="195"/>
                  </a:cxn>
                  <a:cxn ang="0">
                    <a:pos x="2" y="195"/>
                  </a:cxn>
                  <a:cxn ang="0">
                    <a:pos x="11" y="147"/>
                  </a:cxn>
                  <a:cxn ang="0">
                    <a:pos x="23" y="99"/>
                  </a:cxn>
                  <a:cxn ang="0">
                    <a:pos x="75" y="0"/>
                  </a:cxn>
                  <a:cxn ang="0">
                    <a:pos x="75" y="0"/>
                  </a:cxn>
                  <a:cxn ang="0">
                    <a:pos x="22" y="98"/>
                  </a:cxn>
                  <a:cxn ang="0">
                    <a:pos x="24" y="98"/>
                  </a:cxn>
                  <a:cxn ang="0">
                    <a:pos x="51" y="38"/>
                  </a:cxn>
                  <a:cxn ang="0">
                    <a:pos x="69" y="11"/>
                  </a:cxn>
                  <a:cxn ang="0">
                    <a:pos x="75" y="4"/>
                  </a:cxn>
                  <a:cxn ang="0">
                    <a:pos x="76" y="2"/>
                  </a:cxn>
                  <a:cxn ang="0">
                    <a:pos x="77" y="2"/>
                  </a:cxn>
                  <a:cxn ang="0">
                    <a:pos x="75" y="0"/>
                  </a:cxn>
                </a:cxnLst>
                <a:rect l="0" t="0" r="r" b="b"/>
                <a:pathLst>
                  <a:path w="77" h="773">
                    <a:moveTo>
                      <a:pt x="6" y="741"/>
                    </a:moveTo>
                    <a:cubicBezTo>
                      <a:pt x="4" y="741"/>
                      <a:pt x="4" y="741"/>
                      <a:pt x="4" y="741"/>
                    </a:cubicBezTo>
                    <a:cubicBezTo>
                      <a:pt x="6" y="753"/>
                      <a:pt x="8" y="765"/>
                      <a:pt x="10" y="773"/>
                    </a:cubicBezTo>
                    <a:cubicBezTo>
                      <a:pt x="12" y="773"/>
                      <a:pt x="12" y="773"/>
                      <a:pt x="12" y="773"/>
                    </a:cubicBezTo>
                    <a:cubicBezTo>
                      <a:pt x="10" y="765"/>
                      <a:pt x="8" y="753"/>
                      <a:pt x="6" y="741"/>
                    </a:cubicBezTo>
                    <a:moveTo>
                      <a:pt x="23" y="99"/>
                    </a:moveTo>
                    <a:cubicBezTo>
                      <a:pt x="21" y="99"/>
                      <a:pt x="21" y="99"/>
                      <a:pt x="21" y="99"/>
                    </a:cubicBezTo>
                    <a:cubicBezTo>
                      <a:pt x="17" y="113"/>
                      <a:pt x="12" y="130"/>
                      <a:pt x="9" y="147"/>
                    </a:cubicBezTo>
                    <a:cubicBezTo>
                      <a:pt x="6" y="164"/>
                      <a:pt x="3" y="180"/>
                      <a:pt x="0" y="195"/>
                    </a:cubicBezTo>
                    <a:cubicBezTo>
                      <a:pt x="2" y="195"/>
                      <a:pt x="2" y="195"/>
                      <a:pt x="2" y="195"/>
                    </a:cubicBezTo>
                    <a:cubicBezTo>
                      <a:pt x="5" y="180"/>
                      <a:pt x="8" y="164"/>
                      <a:pt x="11" y="147"/>
                    </a:cubicBezTo>
                    <a:cubicBezTo>
                      <a:pt x="14" y="130"/>
                      <a:pt x="19" y="114"/>
                      <a:pt x="23" y="99"/>
                    </a:cubicBezTo>
                    <a:moveTo>
                      <a:pt x="75" y="0"/>
                    </a:moveTo>
                    <a:cubicBezTo>
                      <a:pt x="75" y="0"/>
                      <a:pt x="75" y="0"/>
                      <a:pt x="75" y="0"/>
                    </a:cubicBezTo>
                    <a:cubicBezTo>
                      <a:pt x="74" y="1"/>
                      <a:pt x="43" y="35"/>
                      <a:pt x="22" y="98"/>
                    </a:cubicBezTo>
                    <a:cubicBezTo>
                      <a:pt x="24" y="98"/>
                      <a:pt x="24" y="98"/>
                      <a:pt x="24" y="98"/>
                    </a:cubicBezTo>
                    <a:cubicBezTo>
                      <a:pt x="32" y="74"/>
                      <a:pt x="42" y="54"/>
                      <a:pt x="51" y="38"/>
                    </a:cubicBezTo>
                    <a:cubicBezTo>
                      <a:pt x="58" y="26"/>
                      <a:pt x="64" y="17"/>
                      <a:pt x="69" y="11"/>
                    </a:cubicBezTo>
                    <a:cubicBezTo>
                      <a:pt x="71" y="8"/>
                      <a:pt x="73" y="5"/>
                      <a:pt x="75" y="4"/>
                    </a:cubicBezTo>
                    <a:cubicBezTo>
                      <a:pt x="75" y="3"/>
                      <a:pt x="76" y="3"/>
                      <a:pt x="76" y="2"/>
                    </a:cubicBezTo>
                    <a:cubicBezTo>
                      <a:pt x="77" y="2"/>
                      <a:pt x="77" y="2"/>
                      <a:pt x="77" y="2"/>
                    </a:cubicBezTo>
                    <a:cubicBezTo>
                      <a:pt x="75" y="0"/>
                      <a:pt x="75" y="0"/>
                      <a:pt x="7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95" name="Freeform 43"/>
              <p:cNvSpPr>
                <a:spLocks/>
              </p:cNvSpPr>
              <p:nvPr/>
            </p:nvSpPr>
            <p:spPr bwMode="auto">
              <a:xfrm>
                <a:off x="-2103" y="1754"/>
                <a:ext cx="8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96" name="Freeform 44"/>
              <p:cNvSpPr>
                <a:spLocks/>
              </p:cNvSpPr>
              <p:nvPr/>
            </p:nvSpPr>
            <p:spPr bwMode="auto">
              <a:xfrm>
                <a:off x="-2210" y="2810"/>
                <a:ext cx="3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97" name="Freeform 45"/>
              <p:cNvSpPr>
                <a:spLocks/>
              </p:cNvSpPr>
              <p:nvPr/>
            </p:nvSpPr>
            <p:spPr bwMode="auto">
              <a:xfrm>
                <a:off x="-2144" y="3276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98" name="Freeform 46"/>
              <p:cNvSpPr>
                <a:spLocks/>
              </p:cNvSpPr>
              <p:nvPr/>
            </p:nvSpPr>
            <p:spPr bwMode="auto">
              <a:xfrm>
                <a:off x="-2128" y="3357"/>
                <a:ext cx="12" cy="26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3" y="11"/>
                  </a:cxn>
                  <a:cxn ang="0">
                    <a:pos x="5" y="11"/>
                  </a:cxn>
                  <a:cxn ang="0">
                    <a:pos x="2" y="0"/>
                  </a:cxn>
                </a:cxnLst>
                <a:rect l="0" t="0" r="r" b="b"/>
                <a:pathLst>
                  <a:path w="5" h="1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5"/>
                      <a:pt x="2" y="9"/>
                      <a:pt x="3" y="11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4" y="8"/>
                      <a:pt x="3" y="5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99" name="Freeform 47"/>
              <p:cNvSpPr>
                <a:spLocks/>
              </p:cNvSpPr>
              <p:nvPr/>
            </p:nvSpPr>
            <p:spPr bwMode="auto">
              <a:xfrm>
                <a:off x="-2128" y="3355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00" name="Freeform 48"/>
              <p:cNvSpPr>
                <a:spLocks/>
              </p:cNvSpPr>
              <p:nvPr/>
            </p:nvSpPr>
            <p:spPr bwMode="auto">
              <a:xfrm>
                <a:off x="-2221" y="2498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01" name="Freeform 49"/>
              <p:cNvSpPr>
                <a:spLocks/>
              </p:cNvSpPr>
              <p:nvPr/>
            </p:nvSpPr>
            <p:spPr bwMode="auto">
              <a:xfrm>
                <a:off x="-2201" y="2256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02" name="Freeform 50"/>
              <p:cNvSpPr>
                <a:spLocks/>
              </p:cNvSpPr>
              <p:nvPr/>
            </p:nvSpPr>
            <p:spPr bwMode="auto">
              <a:xfrm>
                <a:off x="-2019" y="1987"/>
                <a:ext cx="26" cy="270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9" y="0"/>
                  </a:cxn>
                  <a:cxn ang="0">
                    <a:pos x="8" y="9"/>
                  </a:cxn>
                  <a:cxn ang="0">
                    <a:pos x="8" y="9"/>
                  </a:cxn>
                  <a:cxn ang="0">
                    <a:pos x="1" y="100"/>
                  </a:cxn>
                  <a:cxn ang="0">
                    <a:pos x="3" y="100"/>
                  </a:cxn>
                  <a:cxn ang="0">
                    <a:pos x="3" y="101"/>
                  </a:cxn>
                  <a:cxn ang="0">
                    <a:pos x="1" y="101"/>
                  </a:cxn>
                  <a:cxn ang="0">
                    <a:pos x="0" y="114"/>
                  </a:cxn>
                  <a:cxn ang="0">
                    <a:pos x="2" y="114"/>
                  </a:cxn>
                  <a:cxn ang="0">
                    <a:pos x="10" y="9"/>
                  </a:cxn>
                  <a:cxn ang="0">
                    <a:pos x="11" y="0"/>
                  </a:cxn>
                </a:cxnLst>
                <a:rect l="0" t="0" r="r" b="b"/>
                <a:pathLst>
                  <a:path w="11" h="114">
                    <a:moveTo>
                      <a:pt x="11" y="0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5" y="37"/>
                      <a:pt x="3" y="68"/>
                      <a:pt x="1" y="100"/>
                    </a:cubicBezTo>
                    <a:cubicBezTo>
                      <a:pt x="3" y="100"/>
                      <a:pt x="3" y="100"/>
                      <a:pt x="3" y="100"/>
                    </a:cubicBezTo>
                    <a:cubicBezTo>
                      <a:pt x="3" y="101"/>
                      <a:pt x="3" y="101"/>
                      <a:pt x="3" y="101"/>
                    </a:cubicBezTo>
                    <a:cubicBezTo>
                      <a:pt x="1" y="101"/>
                      <a:pt x="1" y="101"/>
                      <a:pt x="1" y="101"/>
                    </a:cubicBezTo>
                    <a:cubicBezTo>
                      <a:pt x="1" y="105"/>
                      <a:pt x="1" y="109"/>
                      <a:pt x="0" y="114"/>
                    </a:cubicBezTo>
                    <a:cubicBezTo>
                      <a:pt x="2" y="114"/>
                      <a:pt x="2" y="114"/>
                      <a:pt x="2" y="114"/>
                    </a:cubicBezTo>
                    <a:cubicBezTo>
                      <a:pt x="4" y="77"/>
                      <a:pt x="7" y="42"/>
                      <a:pt x="10" y="9"/>
                    </a:cubicBezTo>
                    <a:cubicBezTo>
                      <a:pt x="11" y="0"/>
                      <a:pt x="11" y="0"/>
                      <a:pt x="1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03" name="Freeform 51"/>
              <p:cNvSpPr>
                <a:spLocks/>
              </p:cNvSpPr>
              <p:nvPr/>
            </p:nvSpPr>
            <p:spPr bwMode="auto">
              <a:xfrm>
                <a:off x="-2016" y="2222"/>
                <a:ext cx="3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04" name="Freeform 52"/>
              <p:cNvSpPr>
                <a:spLocks noEditPoints="1"/>
              </p:cNvSpPr>
              <p:nvPr/>
            </p:nvSpPr>
            <p:spPr bwMode="auto">
              <a:xfrm>
                <a:off x="-2028" y="2260"/>
                <a:ext cx="14" cy="1016"/>
              </a:xfrm>
              <a:custGeom>
                <a:avLst/>
                <a:gdLst/>
                <a:ahLst/>
                <a:cxnLst>
                  <a:cxn ang="0">
                    <a:pos x="5" y="343"/>
                  </a:cxn>
                  <a:cxn ang="0">
                    <a:pos x="3" y="343"/>
                  </a:cxn>
                  <a:cxn ang="0">
                    <a:pos x="2" y="429"/>
                  </a:cxn>
                  <a:cxn ang="0">
                    <a:pos x="4" y="429"/>
                  </a:cxn>
                  <a:cxn ang="0">
                    <a:pos x="5" y="343"/>
                  </a:cxn>
                  <a:cxn ang="0">
                    <a:pos x="4" y="339"/>
                  </a:cxn>
                  <a:cxn ang="0">
                    <a:pos x="4" y="339"/>
                  </a:cxn>
                  <a:cxn ang="0">
                    <a:pos x="3" y="233"/>
                  </a:cxn>
                  <a:cxn ang="0">
                    <a:pos x="1" y="233"/>
                  </a:cxn>
                  <a:cxn ang="0">
                    <a:pos x="1" y="254"/>
                  </a:cxn>
                  <a:cxn ang="0">
                    <a:pos x="2" y="254"/>
                  </a:cxn>
                  <a:cxn ang="0">
                    <a:pos x="2" y="255"/>
                  </a:cxn>
                  <a:cxn ang="0">
                    <a:pos x="1" y="255"/>
                  </a:cxn>
                  <a:cxn ang="0">
                    <a:pos x="3" y="339"/>
                  </a:cxn>
                  <a:cxn ang="0">
                    <a:pos x="3" y="342"/>
                  </a:cxn>
                  <a:cxn ang="0">
                    <a:pos x="5" y="342"/>
                  </a:cxn>
                  <a:cxn ang="0">
                    <a:pos x="5" y="339"/>
                  </a:cxn>
                  <a:cxn ang="0">
                    <a:pos x="5" y="339"/>
                  </a:cxn>
                  <a:cxn ang="0">
                    <a:pos x="4" y="327"/>
                  </a:cxn>
                  <a:cxn ang="0">
                    <a:pos x="3" y="233"/>
                  </a:cxn>
                  <a:cxn ang="0">
                    <a:pos x="3" y="102"/>
                  </a:cxn>
                  <a:cxn ang="0">
                    <a:pos x="1" y="102"/>
                  </a:cxn>
                  <a:cxn ang="0">
                    <a:pos x="0" y="184"/>
                  </a:cxn>
                  <a:cxn ang="0">
                    <a:pos x="1" y="232"/>
                  </a:cxn>
                  <a:cxn ang="0">
                    <a:pos x="3" y="232"/>
                  </a:cxn>
                  <a:cxn ang="0">
                    <a:pos x="2" y="184"/>
                  </a:cxn>
                  <a:cxn ang="0">
                    <a:pos x="3" y="102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1" y="101"/>
                  </a:cxn>
                  <a:cxn ang="0">
                    <a:pos x="3" y="101"/>
                  </a:cxn>
                  <a:cxn ang="0">
                    <a:pos x="6" y="0"/>
                  </a:cxn>
                </a:cxnLst>
                <a:rect l="0" t="0" r="r" b="b"/>
                <a:pathLst>
                  <a:path w="6" h="429">
                    <a:moveTo>
                      <a:pt x="5" y="343"/>
                    </a:moveTo>
                    <a:cubicBezTo>
                      <a:pt x="3" y="343"/>
                      <a:pt x="3" y="343"/>
                      <a:pt x="3" y="343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4" y="429"/>
                      <a:pt x="4" y="429"/>
                      <a:pt x="4" y="429"/>
                    </a:cubicBezTo>
                    <a:cubicBezTo>
                      <a:pt x="5" y="343"/>
                      <a:pt x="5" y="343"/>
                      <a:pt x="5" y="343"/>
                    </a:cubicBezTo>
                    <a:moveTo>
                      <a:pt x="4" y="339"/>
                    </a:moveTo>
                    <a:cubicBezTo>
                      <a:pt x="4" y="339"/>
                      <a:pt x="4" y="339"/>
                      <a:pt x="4" y="339"/>
                    </a:cubicBezTo>
                    <a:moveTo>
                      <a:pt x="3" y="233"/>
                    </a:moveTo>
                    <a:cubicBezTo>
                      <a:pt x="1" y="233"/>
                      <a:pt x="1" y="233"/>
                      <a:pt x="1" y="233"/>
                    </a:cubicBezTo>
                    <a:cubicBezTo>
                      <a:pt x="1" y="240"/>
                      <a:pt x="1" y="247"/>
                      <a:pt x="1" y="254"/>
                    </a:cubicBezTo>
                    <a:cubicBezTo>
                      <a:pt x="2" y="254"/>
                      <a:pt x="2" y="254"/>
                      <a:pt x="2" y="254"/>
                    </a:cubicBezTo>
                    <a:cubicBezTo>
                      <a:pt x="2" y="255"/>
                      <a:pt x="2" y="255"/>
                      <a:pt x="2" y="255"/>
                    </a:cubicBezTo>
                    <a:cubicBezTo>
                      <a:pt x="1" y="255"/>
                      <a:pt x="1" y="255"/>
                      <a:pt x="1" y="255"/>
                    </a:cubicBezTo>
                    <a:cubicBezTo>
                      <a:pt x="2" y="306"/>
                      <a:pt x="3" y="338"/>
                      <a:pt x="3" y="339"/>
                    </a:cubicBezTo>
                    <a:cubicBezTo>
                      <a:pt x="3" y="342"/>
                      <a:pt x="3" y="342"/>
                      <a:pt x="3" y="342"/>
                    </a:cubicBezTo>
                    <a:cubicBezTo>
                      <a:pt x="5" y="342"/>
                      <a:pt x="5" y="342"/>
                      <a:pt x="5" y="342"/>
                    </a:cubicBezTo>
                    <a:cubicBezTo>
                      <a:pt x="5" y="339"/>
                      <a:pt x="5" y="339"/>
                      <a:pt x="5" y="339"/>
                    </a:cubicBezTo>
                    <a:cubicBezTo>
                      <a:pt x="5" y="339"/>
                      <a:pt x="5" y="339"/>
                      <a:pt x="5" y="339"/>
                    </a:cubicBezTo>
                    <a:cubicBezTo>
                      <a:pt x="5" y="339"/>
                      <a:pt x="5" y="335"/>
                      <a:pt x="4" y="327"/>
                    </a:cubicBezTo>
                    <a:cubicBezTo>
                      <a:pt x="4" y="310"/>
                      <a:pt x="3" y="277"/>
                      <a:pt x="3" y="233"/>
                    </a:cubicBezTo>
                    <a:moveTo>
                      <a:pt x="3" y="102"/>
                    </a:moveTo>
                    <a:cubicBezTo>
                      <a:pt x="1" y="102"/>
                      <a:pt x="1" y="102"/>
                      <a:pt x="1" y="102"/>
                    </a:cubicBezTo>
                    <a:cubicBezTo>
                      <a:pt x="1" y="130"/>
                      <a:pt x="0" y="158"/>
                      <a:pt x="0" y="184"/>
                    </a:cubicBezTo>
                    <a:cubicBezTo>
                      <a:pt x="0" y="201"/>
                      <a:pt x="0" y="217"/>
                      <a:pt x="1" y="232"/>
                    </a:cubicBezTo>
                    <a:cubicBezTo>
                      <a:pt x="3" y="232"/>
                      <a:pt x="3" y="232"/>
                      <a:pt x="3" y="232"/>
                    </a:cubicBezTo>
                    <a:cubicBezTo>
                      <a:pt x="2" y="217"/>
                      <a:pt x="2" y="201"/>
                      <a:pt x="2" y="184"/>
                    </a:cubicBezTo>
                    <a:cubicBezTo>
                      <a:pt x="2" y="158"/>
                      <a:pt x="3" y="130"/>
                      <a:pt x="3" y="102"/>
                    </a:cubicBezTo>
                    <a:moveTo>
                      <a:pt x="6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3" y="33"/>
                      <a:pt x="2" y="68"/>
                      <a:pt x="1" y="101"/>
                    </a:cubicBezTo>
                    <a:cubicBezTo>
                      <a:pt x="3" y="101"/>
                      <a:pt x="3" y="101"/>
                      <a:pt x="3" y="101"/>
                    </a:cubicBezTo>
                    <a:cubicBezTo>
                      <a:pt x="4" y="68"/>
                      <a:pt x="5" y="33"/>
                      <a:pt x="6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05" name="Freeform 53"/>
              <p:cNvSpPr>
                <a:spLocks/>
              </p:cNvSpPr>
              <p:nvPr/>
            </p:nvSpPr>
            <p:spPr bwMode="auto">
              <a:xfrm>
                <a:off x="-2022" y="3070"/>
                <a:ext cx="6" cy="2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5" y="3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06" name="Freeform 54"/>
              <p:cNvSpPr>
                <a:spLocks/>
              </p:cNvSpPr>
              <p:nvPr/>
            </p:nvSpPr>
            <p:spPr bwMode="auto">
              <a:xfrm>
                <a:off x="-2027" y="2861"/>
                <a:ext cx="3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07" name="Freeform 55"/>
              <p:cNvSpPr>
                <a:spLocks noEditPoints="1"/>
              </p:cNvSpPr>
              <p:nvPr/>
            </p:nvSpPr>
            <p:spPr bwMode="auto">
              <a:xfrm>
                <a:off x="-2024" y="1522"/>
                <a:ext cx="92" cy="1833"/>
              </a:xfrm>
              <a:custGeom>
                <a:avLst/>
                <a:gdLst/>
                <a:ahLst/>
                <a:cxnLst>
                  <a:cxn ang="0">
                    <a:pos x="2" y="741"/>
                  </a:cxn>
                  <a:cxn ang="0">
                    <a:pos x="0" y="741"/>
                  </a:cxn>
                  <a:cxn ang="0">
                    <a:pos x="0" y="773"/>
                  </a:cxn>
                  <a:cxn ang="0">
                    <a:pos x="2" y="773"/>
                  </a:cxn>
                  <a:cxn ang="0">
                    <a:pos x="2" y="741"/>
                  </a:cxn>
                  <a:cxn ang="0">
                    <a:pos x="19" y="99"/>
                  </a:cxn>
                  <a:cxn ang="0">
                    <a:pos x="17" y="99"/>
                  </a:cxn>
                  <a:cxn ang="0">
                    <a:pos x="16" y="123"/>
                  </a:cxn>
                  <a:cxn ang="0">
                    <a:pos x="16" y="123"/>
                  </a:cxn>
                  <a:cxn ang="0">
                    <a:pos x="11" y="195"/>
                  </a:cxn>
                  <a:cxn ang="0">
                    <a:pos x="13" y="195"/>
                  </a:cxn>
                  <a:cxn ang="0">
                    <a:pos x="18" y="123"/>
                  </a:cxn>
                  <a:cxn ang="0">
                    <a:pos x="18" y="123"/>
                  </a:cxn>
                  <a:cxn ang="0">
                    <a:pos x="19" y="99"/>
                  </a:cxn>
                  <a:cxn ang="0">
                    <a:pos x="38" y="0"/>
                  </a:cxn>
                  <a:cxn ang="0">
                    <a:pos x="37" y="0"/>
                  </a:cxn>
                  <a:cxn ang="0">
                    <a:pos x="17" y="98"/>
                  </a:cxn>
                  <a:cxn ang="0">
                    <a:pos x="19" y="98"/>
                  </a:cxn>
                  <a:cxn ang="0">
                    <a:pos x="29" y="32"/>
                  </a:cxn>
                  <a:cxn ang="0">
                    <a:pos x="36" y="9"/>
                  </a:cxn>
                  <a:cxn ang="0">
                    <a:pos x="38" y="3"/>
                  </a:cxn>
                  <a:cxn ang="0">
                    <a:pos x="39" y="1"/>
                  </a:cxn>
                  <a:cxn ang="0">
                    <a:pos x="38" y="0"/>
                  </a:cxn>
                </a:cxnLst>
                <a:rect l="0" t="0" r="r" b="b"/>
                <a:pathLst>
                  <a:path w="39" h="773">
                    <a:moveTo>
                      <a:pt x="2" y="741"/>
                    </a:moveTo>
                    <a:cubicBezTo>
                      <a:pt x="0" y="741"/>
                      <a:pt x="0" y="741"/>
                      <a:pt x="0" y="741"/>
                    </a:cubicBezTo>
                    <a:cubicBezTo>
                      <a:pt x="0" y="773"/>
                      <a:pt x="0" y="773"/>
                      <a:pt x="0" y="773"/>
                    </a:cubicBezTo>
                    <a:cubicBezTo>
                      <a:pt x="2" y="773"/>
                      <a:pt x="2" y="773"/>
                      <a:pt x="2" y="773"/>
                    </a:cubicBezTo>
                    <a:cubicBezTo>
                      <a:pt x="2" y="741"/>
                      <a:pt x="2" y="741"/>
                      <a:pt x="2" y="741"/>
                    </a:cubicBezTo>
                    <a:moveTo>
                      <a:pt x="19" y="99"/>
                    </a:moveTo>
                    <a:cubicBezTo>
                      <a:pt x="17" y="99"/>
                      <a:pt x="17" y="99"/>
                      <a:pt x="17" y="99"/>
                    </a:cubicBezTo>
                    <a:cubicBezTo>
                      <a:pt x="17" y="107"/>
                      <a:pt x="16" y="114"/>
                      <a:pt x="16" y="123"/>
                    </a:cubicBezTo>
                    <a:cubicBezTo>
                      <a:pt x="16" y="123"/>
                      <a:pt x="16" y="123"/>
                      <a:pt x="16" y="123"/>
                    </a:cubicBezTo>
                    <a:cubicBezTo>
                      <a:pt x="11" y="195"/>
                      <a:pt x="11" y="195"/>
                      <a:pt x="11" y="195"/>
                    </a:cubicBezTo>
                    <a:cubicBezTo>
                      <a:pt x="13" y="195"/>
                      <a:pt x="13" y="195"/>
                      <a:pt x="13" y="195"/>
                    </a:cubicBezTo>
                    <a:cubicBezTo>
                      <a:pt x="18" y="123"/>
                      <a:pt x="18" y="123"/>
                      <a:pt x="18" y="123"/>
                    </a:cubicBezTo>
                    <a:cubicBezTo>
                      <a:pt x="18" y="123"/>
                      <a:pt x="18" y="123"/>
                      <a:pt x="18" y="123"/>
                    </a:cubicBezTo>
                    <a:cubicBezTo>
                      <a:pt x="18" y="115"/>
                      <a:pt x="19" y="107"/>
                      <a:pt x="19" y="99"/>
                    </a:cubicBezTo>
                    <a:moveTo>
                      <a:pt x="38" y="0"/>
                    </a:moveTo>
                    <a:cubicBezTo>
                      <a:pt x="37" y="0"/>
                      <a:pt x="37" y="0"/>
                      <a:pt x="37" y="0"/>
                    </a:cubicBezTo>
                    <a:cubicBezTo>
                      <a:pt x="36" y="3"/>
                      <a:pt x="21" y="37"/>
                      <a:pt x="17" y="98"/>
                    </a:cubicBezTo>
                    <a:cubicBezTo>
                      <a:pt x="19" y="98"/>
                      <a:pt x="19" y="98"/>
                      <a:pt x="19" y="98"/>
                    </a:cubicBezTo>
                    <a:cubicBezTo>
                      <a:pt x="21" y="70"/>
                      <a:pt x="25" y="48"/>
                      <a:pt x="29" y="32"/>
                    </a:cubicBezTo>
                    <a:cubicBezTo>
                      <a:pt x="32" y="22"/>
                      <a:pt x="34" y="14"/>
                      <a:pt x="36" y="9"/>
                    </a:cubicBezTo>
                    <a:cubicBezTo>
                      <a:pt x="37" y="6"/>
                      <a:pt x="38" y="4"/>
                      <a:pt x="38" y="3"/>
                    </a:cubicBezTo>
                    <a:cubicBezTo>
                      <a:pt x="39" y="1"/>
                      <a:pt x="39" y="1"/>
                      <a:pt x="39" y="1"/>
                    </a:cubicBezTo>
                    <a:cubicBezTo>
                      <a:pt x="38" y="0"/>
                      <a:pt x="38" y="0"/>
                      <a:pt x="3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08" name="Freeform 56"/>
              <p:cNvSpPr>
                <a:spLocks/>
              </p:cNvSpPr>
              <p:nvPr/>
            </p:nvSpPr>
            <p:spPr bwMode="auto">
              <a:xfrm>
                <a:off x="-1984" y="1754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09" name="Freeform 57"/>
              <p:cNvSpPr>
                <a:spLocks/>
              </p:cNvSpPr>
              <p:nvPr/>
            </p:nvSpPr>
            <p:spPr bwMode="auto">
              <a:xfrm>
                <a:off x="-2027" y="281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10" name="Freeform 58"/>
              <p:cNvSpPr>
                <a:spLocks/>
              </p:cNvSpPr>
              <p:nvPr/>
            </p:nvSpPr>
            <p:spPr bwMode="auto">
              <a:xfrm>
                <a:off x="-2024" y="3276"/>
                <a:ext cx="5" cy="2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11" name="Freeform 59"/>
              <p:cNvSpPr>
                <a:spLocks/>
              </p:cNvSpPr>
              <p:nvPr/>
            </p:nvSpPr>
            <p:spPr bwMode="auto">
              <a:xfrm>
                <a:off x="-2027" y="3357"/>
                <a:ext cx="8" cy="36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3" y="0"/>
                  </a:cxn>
                  <a:cxn ang="0">
                    <a:pos x="0" y="36"/>
                  </a:cxn>
                  <a:cxn ang="0">
                    <a:pos x="5" y="36"/>
                  </a:cxn>
                  <a:cxn ang="0">
                    <a:pos x="7" y="0"/>
                  </a:cxn>
                  <a:cxn ang="0">
                    <a:pos x="7" y="0"/>
                  </a:cxn>
                </a:cxnLst>
                <a:rect l="0" t="0" r="r" b="b"/>
                <a:pathLst>
                  <a:path w="7" h="36">
                    <a:moveTo>
                      <a:pt x="7" y="0"/>
                    </a:moveTo>
                    <a:lnTo>
                      <a:pt x="3" y="0"/>
                    </a:lnTo>
                    <a:lnTo>
                      <a:pt x="0" y="36"/>
                    </a:lnTo>
                    <a:lnTo>
                      <a:pt x="5" y="36"/>
                    </a:lnTo>
                    <a:lnTo>
                      <a:pt x="7" y="0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12" name="Freeform 60"/>
              <p:cNvSpPr>
                <a:spLocks/>
              </p:cNvSpPr>
              <p:nvPr/>
            </p:nvSpPr>
            <p:spPr bwMode="auto">
              <a:xfrm>
                <a:off x="-2024" y="3355"/>
                <a:ext cx="5" cy="2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13" name="Freeform 61"/>
              <p:cNvSpPr>
                <a:spLocks/>
              </p:cNvSpPr>
              <p:nvPr/>
            </p:nvSpPr>
            <p:spPr bwMode="auto">
              <a:xfrm>
                <a:off x="-2027" y="2498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14" name="Freeform 62"/>
              <p:cNvSpPr>
                <a:spLocks/>
              </p:cNvSpPr>
              <p:nvPr/>
            </p:nvSpPr>
            <p:spPr bwMode="auto">
              <a:xfrm>
                <a:off x="-2019" y="2256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15" name="Freeform 63"/>
              <p:cNvSpPr>
                <a:spLocks/>
              </p:cNvSpPr>
              <p:nvPr/>
            </p:nvSpPr>
            <p:spPr bwMode="auto">
              <a:xfrm>
                <a:off x="-1840" y="1987"/>
                <a:ext cx="12" cy="27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4"/>
                  </a:cxn>
                  <a:cxn ang="0">
                    <a:pos x="3" y="114"/>
                  </a:cxn>
                  <a:cxn ang="0">
                    <a:pos x="5" y="114"/>
                  </a:cxn>
                  <a:cxn ang="0">
                    <a:pos x="5" y="101"/>
                  </a:cxn>
                  <a:cxn ang="0">
                    <a:pos x="4" y="101"/>
                  </a:cxn>
                  <a:cxn ang="0">
                    <a:pos x="4" y="100"/>
                  </a:cxn>
                  <a:cxn ang="0">
                    <a:pos x="5" y="100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5" h="114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3"/>
                      <a:pt x="0" y="4"/>
                    </a:cubicBezTo>
                    <a:cubicBezTo>
                      <a:pt x="2" y="25"/>
                      <a:pt x="2" y="67"/>
                      <a:pt x="3" y="114"/>
                    </a:cubicBezTo>
                    <a:cubicBezTo>
                      <a:pt x="5" y="114"/>
                      <a:pt x="5" y="114"/>
                      <a:pt x="5" y="114"/>
                    </a:cubicBezTo>
                    <a:cubicBezTo>
                      <a:pt x="5" y="109"/>
                      <a:pt x="5" y="105"/>
                      <a:pt x="5" y="101"/>
                    </a:cubicBezTo>
                    <a:cubicBezTo>
                      <a:pt x="4" y="101"/>
                      <a:pt x="4" y="101"/>
                      <a:pt x="4" y="101"/>
                    </a:cubicBezTo>
                    <a:cubicBezTo>
                      <a:pt x="4" y="100"/>
                      <a:pt x="4" y="100"/>
                      <a:pt x="4" y="100"/>
                    </a:cubicBezTo>
                    <a:cubicBezTo>
                      <a:pt x="5" y="100"/>
                      <a:pt x="5" y="100"/>
                      <a:pt x="5" y="100"/>
                    </a:cubicBezTo>
                    <a:cubicBezTo>
                      <a:pt x="4" y="59"/>
                      <a:pt x="4" y="23"/>
                      <a:pt x="2" y="4"/>
                    </a:cubicBezTo>
                    <a:cubicBezTo>
                      <a:pt x="2" y="3"/>
                      <a:pt x="2" y="1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16" name="Freeform 64"/>
              <p:cNvSpPr>
                <a:spLocks/>
              </p:cNvSpPr>
              <p:nvPr/>
            </p:nvSpPr>
            <p:spPr bwMode="auto">
              <a:xfrm>
                <a:off x="-1830" y="2222"/>
                <a:ext cx="2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17" name="Freeform 65"/>
              <p:cNvSpPr>
                <a:spLocks noEditPoints="1"/>
              </p:cNvSpPr>
              <p:nvPr/>
            </p:nvSpPr>
            <p:spPr bwMode="auto">
              <a:xfrm>
                <a:off x="-1912" y="2260"/>
                <a:ext cx="83" cy="1016"/>
              </a:xfrm>
              <a:custGeom>
                <a:avLst/>
                <a:gdLst/>
                <a:ahLst/>
                <a:cxnLst>
                  <a:cxn ang="0">
                    <a:pos x="15" y="343"/>
                  </a:cxn>
                  <a:cxn ang="0">
                    <a:pos x="13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15" y="343"/>
                  </a:cxn>
                  <a:cxn ang="0">
                    <a:pos x="31" y="233"/>
                  </a:cxn>
                  <a:cxn ang="0">
                    <a:pos x="29" y="233"/>
                  </a:cxn>
                  <a:cxn ang="0">
                    <a:pos x="22" y="285"/>
                  </a:cxn>
                  <a:cxn ang="0">
                    <a:pos x="16" y="323"/>
                  </a:cxn>
                  <a:cxn ang="0">
                    <a:pos x="13" y="339"/>
                  </a:cxn>
                  <a:cxn ang="0">
                    <a:pos x="13" y="339"/>
                  </a:cxn>
                  <a:cxn ang="0">
                    <a:pos x="13" y="339"/>
                  </a:cxn>
                  <a:cxn ang="0">
                    <a:pos x="13" y="342"/>
                  </a:cxn>
                  <a:cxn ang="0">
                    <a:pos x="15" y="342"/>
                  </a:cxn>
                  <a:cxn ang="0">
                    <a:pos x="15" y="339"/>
                  </a:cxn>
                  <a:cxn ang="0">
                    <a:pos x="15" y="339"/>
                  </a:cxn>
                  <a:cxn ang="0">
                    <a:pos x="31" y="233"/>
                  </a:cxn>
                  <a:cxn ang="0">
                    <a:pos x="35" y="102"/>
                  </a:cxn>
                  <a:cxn ang="0">
                    <a:pos x="33" y="102"/>
                  </a:cxn>
                  <a:cxn ang="0">
                    <a:pos x="33" y="111"/>
                  </a:cxn>
                  <a:cxn ang="0">
                    <a:pos x="33" y="176"/>
                  </a:cxn>
                  <a:cxn ang="0">
                    <a:pos x="33" y="195"/>
                  </a:cxn>
                  <a:cxn ang="0">
                    <a:pos x="33" y="202"/>
                  </a:cxn>
                  <a:cxn ang="0">
                    <a:pos x="29" y="232"/>
                  </a:cxn>
                  <a:cxn ang="0">
                    <a:pos x="31" y="232"/>
                  </a:cxn>
                  <a:cxn ang="0">
                    <a:pos x="35" y="202"/>
                  </a:cxn>
                  <a:cxn ang="0">
                    <a:pos x="35" y="202"/>
                  </a:cxn>
                  <a:cxn ang="0">
                    <a:pos x="35" y="202"/>
                  </a:cxn>
                  <a:cxn ang="0">
                    <a:pos x="35" y="111"/>
                  </a:cxn>
                  <a:cxn ang="0">
                    <a:pos x="35" y="102"/>
                  </a:cxn>
                  <a:cxn ang="0">
                    <a:pos x="35" y="0"/>
                  </a:cxn>
                  <a:cxn ang="0">
                    <a:pos x="33" y="0"/>
                  </a:cxn>
                  <a:cxn ang="0">
                    <a:pos x="33" y="101"/>
                  </a:cxn>
                  <a:cxn ang="0">
                    <a:pos x="35" y="101"/>
                  </a:cxn>
                  <a:cxn ang="0">
                    <a:pos x="35" y="0"/>
                  </a:cxn>
                </a:cxnLst>
                <a:rect l="0" t="0" r="r" b="b"/>
                <a:pathLst>
                  <a:path w="35" h="429">
                    <a:moveTo>
                      <a:pt x="15" y="343"/>
                    </a:moveTo>
                    <a:cubicBezTo>
                      <a:pt x="13" y="343"/>
                      <a:pt x="13" y="343"/>
                      <a:pt x="13" y="343"/>
                    </a:cubicBezTo>
                    <a:cubicBezTo>
                      <a:pt x="11" y="377"/>
                      <a:pt x="6" y="406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8" y="406"/>
                      <a:pt x="13" y="377"/>
                      <a:pt x="15" y="343"/>
                    </a:cubicBezTo>
                    <a:moveTo>
                      <a:pt x="31" y="233"/>
                    </a:moveTo>
                    <a:cubicBezTo>
                      <a:pt x="29" y="233"/>
                      <a:pt x="29" y="233"/>
                      <a:pt x="29" y="233"/>
                    </a:cubicBezTo>
                    <a:cubicBezTo>
                      <a:pt x="27" y="250"/>
                      <a:pt x="24" y="268"/>
                      <a:pt x="22" y="285"/>
                    </a:cubicBezTo>
                    <a:cubicBezTo>
                      <a:pt x="20" y="300"/>
                      <a:pt x="17" y="313"/>
                      <a:pt x="16" y="323"/>
                    </a:cubicBezTo>
                    <a:cubicBezTo>
                      <a:pt x="14" y="333"/>
                      <a:pt x="13" y="339"/>
                      <a:pt x="13" y="339"/>
                    </a:cubicBezTo>
                    <a:cubicBezTo>
                      <a:pt x="13" y="339"/>
                      <a:pt x="13" y="339"/>
                      <a:pt x="13" y="339"/>
                    </a:cubicBezTo>
                    <a:cubicBezTo>
                      <a:pt x="13" y="339"/>
                      <a:pt x="13" y="339"/>
                      <a:pt x="13" y="339"/>
                    </a:cubicBezTo>
                    <a:cubicBezTo>
                      <a:pt x="13" y="340"/>
                      <a:pt x="13" y="341"/>
                      <a:pt x="13" y="342"/>
                    </a:cubicBezTo>
                    <a:cubicBezTo>
                      <a:pt x="15" y="342"/>
                      <a:pt x="15" y="342"/>
                      <a:pt x="15" y="342"/>
                    </a:cubicBezTo>
                    <a:cubicBezTo>
                      <a:pt x="15" y="341"/>
                      <a:pt x="15" y="340"/>
                      <a:pt x="15" y="339"/>
                    </a:cubicBezTo>
                    <a:cubicBezTo>
                      <a:pt x="15" y="339"/>
                      <a:pt x="15" y="339"/>
                      <a:pt x="15" y="339"/>
                    </a:cubicBezTo>
                    <a:cubicBezTo>
                      <a:pt x="15" y="339"/>
                      <a:pt x="25" y="279"/>
                      <a:pt x="31" y="233"/>
                    </a:cubicBezTo>
                    <a:moveTo>
                      <a:pt x="35" y="102"/>
                    </a:moveTo>
                    <a:cubicBezTo>
                      <a:pt x="33" y="102"/>
                      <a:pt x="33" y="102"/>
                      <a:pt x="33" y="102"/>
                    </a:cubicBezTo>
                    <a:cubicBezTo>
                      <a:pt x="33" y="105"/>
                      <a:pt x="33" y="108"/>
                      <a:pt x="33" y="111"/>
                    </a:cubicBezTo>
                    <a:cubicBezTo>
                      <a:pt x="33" y="137"/>
                      <a:pt x="33" y="160"/>
                      <a:pt x="33" y="176"/>
                    </a:cubicBezTo>
                    <a:cubicBezTo>
                      <a:pt x="33" y="184"/>
                      <a:pt x="33" y="190"/>
                      <a:pt x="33" y="195"/>
                    </a:cubicBezTo>
                    <a:cubicBezTo>
                      <a:pt x="33" y="199"/>
                      <a:pt x="33" y="201"/>
                      <a:pt x="33" y="202"/>
                    </a:cubicBezTo>
                    <a:cubicBezTo>
                      <a:pt x="32" y="210"/>
                      <a:pt x="31" y="220"/>
                      <a:pt x="29" y="232"/>
                    </a:cubicBezTo>
                    <a:cubicBezTo>
                      <a:pt x="31" y="232"/>
                      <a:pt x="31" y="232"/>
                      <a:pt x="31" y="232"/>
                    </a:cubicBezTo>
                    <a:cubicBezTo>
                      <a:pt x="33" y="220"/>
                      <a:pt x="34" y="210"/>
                      <a:pt x="35" y="202"/>
                    </a:cubicBezTo>
                    <a:cubicBezTo>
                      <a:pt x="35" y="202"/>
                      <a:pt x="35" y="202"/>
                      <a:pt x="35" y="202"/>
                    </a:cubicBezTo>
                    <a:cubicBezTo>
                      <a:pt x="35" y="202"/>
                      <a:pt x="35" y="202"/>
                      <a:pt x="35" y="202"/>
                    </a:cubicBezTo>
                    <a:cubicBezTo>
                      <a:pt x="35" y="202"/>
                      <a:pt x="35" y="163"/>
                      <a:pt x="35" y="111"/>
                    </a:cubicBezTo>
                    <a:cubicBezTo>
                      <a:pt x="35" y="108"/>
                      <a:pt x="35" y="105"/>
                      <a:pt x="35" y="102"/>
                    </a:cubicBezTo>
                    <a:moveTo>
                      <a:pt x="35" y="0"/>
                    </a:moveTo>
                    <a:cubicBezTo>
                      <a:pt x="33" y="0"/>
                      <a:pt x="33" y="0"/>
                      <a:pt x="33" y="0"/>
                    </a:cubicBezTo>
                    <a:cubicBezTo>
                      <a:pt x="33" y="33"/>
                      <a:pt x="33" y="69"/>
                      <a:pt x="33" y="101"/>
                    </a:cubicBezTo>
                    <a:cubicBezTo>
                      <a:pt x="35" y="101"/>
                      <a:pt x="35" y="101"/>
                      <a:pt x="35" y="101"/>
                    </a:cubicBezTo>
                    <a:cubicBezTo>
                      <a:pt x="35" y="69"/>
                      <a:pt x="35" y="33"/>
                      <a:pt x="3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18" name="Freeform 66"/>
              <p:cNvSpPr>
                <a:spLocks/>
              </p:cNvSpPr>
              <p:nvPr/>
            </p:nvSpPr>
            <p:spPr bwMode="auto">
              <a:xfrm>
                <a:off x="-1880" y="307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19" name="Freeform 67"/>
              <p:cNvSpPr>
                <a:spLocks noEditPoints="1"/>
              </p:cNvSpPr>
              <p:nvPr/>
            </p:nvSpPr>
            <p:spPr bwMode="auto">
              <a:xfrm>
                <a:off x="-1934" y="1522"/>
                <a:ext cx="100" cy="1833"/>
              </a:xfrm>
              <a:custGeom>
                <a:avLst/>
                <a:gdLst/>
                <a:ahLst/>
                <a:cxnLst>
                  <a:cxn ang="0">
                    <a:pos x="12" y="741"/>
                  </a:cxn>
                  <a:cxn ang="0">
                    <a:pos x="10" y="741"/>
                  </a:cxn>
                  <a:cxn ang="0">
                    <a:pos x="8" y="750"/>
                  </a:cxn>
                  <a:cxn ang="0">
                    <a:pos x="0" y="773"/>
                  </a:cxn>
                  <a:cxn ang="0">
                    <a:pos x="3" y="773"/>
                  </a:cxn>
                  <a:cxn ang="0">
                    <a:pos x="12" y="741"/>
                  </a:cxn>
                  <a:cxn ang="0">
                    <a:pos x="34" y="99"/>
                  </a:cxn>
                  <a:cxn ang="0">
                    <a:pos x="32" y="99"/>
                  </a:cxn>
                  <a:cxn ang="0">
                    <a:pos x="33" y="106"/>
                  </a:cxn>
                  <a:cxn ang="0">
                    <a:pos x="40" y="195"/>
                  </a:cxn>
                  <a:cxn ang="0">
                    <a:pos x="42" y="195"/>
                  </a:cxn>
                  <a:cxn ang="0">
                    <a:pos x="34" y="99"/>
                  </a:cxn>
                  <a:cxn ang="0">
                    <a:pos x="30" y="68"/>
                  </a:cxn>
                  <a:cxn ang="0">
                    <a:pos x="28" y="68"/>
                  </a:cxn>
                  <a:cxn ang="0">
                    <a:pos x="32" y="98"/>
                  </a:cxn>
                  <a:cxn ang="0">
                    <a:pos x="34" y="98"/>
                  </a:cxn>
                  <a:cxn ang="0">
                    <a:pos x="30" y="68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13" y="1"/>
                  </a:cxn>
                  <a:cxn ang="0">
                    <a:pos x="14" y="2"/>
                  </a:cxn>
                  <a:cxn ang="0">
                    <a:pos x="28" y="67"/>
                  </a:cxn>
                  <a:cxn ang="0">
                    <a:pos x="30" y="67"/>
                  </a:cxn>
                  <a:cxn ang="0">
                    <a:pos x="15" y="0"/>
                  </a:cxn>
                </a:cxnLst>
                <a:rect l="0" t="0" r="r" b="b"/>
                <a:pathLst>
                  <a:path w="42" h="773">
                    <a:moveTo>
                      <a:pt x="12" y="741"/>
                    </a:moveTo>
                    <a:cubicBezTo>
                      <a:pt x="10" y="741"/>
                      <a:pt x="10" y="741"/>
                      <a:pt x="10" y="741"/>
                    </a:cubicBezTo>
                    <a:cubicBezTo>
                      <a:pt x="9" y="744"/>
                      <a:pt x="8" y="747"/>
                      <a:pt x="8" y="750"/>
                    </a:cubicBezTo>
                    <a:cubicBezTo>
                      <a:pt x="5" y="759"/>
                      <a:pt x="3" y="767"/>
                      <a:pt x="0" y="773"/>
                    </a:cubicBezTo>
                    <a:cubicBezTo>
                      <a:pt x="3" y="773"/>
                      <a:pt x="3" y="773"/>
                      <a:pt x="3" y="773"/>
                    </a:cubicBezTo>
                    <a:cubicBezTo>
                      <a:pt x="5" y="765"/>
                      <a:pt x="9" y="754"/>
                      <a:pt x="12" y="741"/>
                    </a:cubicBezTo>
                    <a:moveTo>
                      <a:pt x="34" y="99"/>
                    </a:moveTo>
                    <a:cubicBezTo>
                      <a:pt x="32" y="99"/>
                      <a:pt x="32" y="99"/>
                      <a:pt x="32" y="99"/>
                    </a:cubicBezTo>
                    <a:cubicBezTo>
                      <a:pt x="32" y="100"/>
                      <a:pt x="33" y="102"/>
                      <a:pt x="33" y="106"/>
                    </a:cubicBezTo>
                    <a:cubicBezTo>
                      <a:pt x="34" y="120"/>
                      <a:pt x="37" y="152"/>
                      <a:pt x="40" y="195"/>
                    </a:cubicBezTo>
                    <a:cubicBezTo>
                      <a:pt x="42" y="195"/>
                      <a:pt x="42" y="195"/>
                      <a:pt x="42" y="195"/>
                    </a:cubicBezTo>
                    <a:cubicBezTo>
                      <a:pt x="39" y="142"/>
                      <a:pt x="35" y="105"/>
                      <a:pt x="34" y="99"/>
                    </a:cubicBezTo>
                    <a:moveTo>
                      <a:pt x="30" y="68"/>
                    </a:moveTo>
                    <a:cubicBezTo>
                      <a:pt x="28" y="68"/>
                      <a:pt x="28" y="68"/>
                      <a:pt x="28" y="68"/>
                    </a:cubicBezTo>
                    <a:cubicBezTo>
                      <a:pt x="30" y="77"/>
                      <a:pt x="31" y="87"/>
                      <a:pt x="32" y="98"/>
                    </a:cubicBezTo>
                    <a:cubicBezTo>
                      <a:pt x="34" y="98"/>
                      <a:pt x="34" y="98"/>
                      <a:pt x="34" y="98"/>
                    </a:cubicBezTo>
                    <a:cubicBezTo>
                      <a:pt x="33" y="87"/>
                      <a:pt x="32" y="77"/>
                      <a:pt x="30" y="68"/>
                    </a:cubicBezTo>
                    <a:moveTo>
                      <a:pt x="1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4" y="2"/>
                    </a:cubicBezTo>
                    <a:cubicBezTo>
                      <a:pt x="16" y="8"/>
                      <a:pt x="23" y="31"/>
                      <a:pt x="28" y="67"/>
                    </a:cubicBezTo>
                    <a:cubicBezTo>
                      <a:pt x="30" y="67"/>
                      <a:pt x="30" y="67"/>
                      <a:pt x="30" y="67"/>
                    </a:cubicBezTo>
                    <a:cubicBezTo>
                      <a:pt x="24" y="26"/>
                      <a:pt x="16" y="3"/>
                      <a:pt x="1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20" name="Freeform 68"/>
              <p:cNvSpPr>
                <a:spLocks/>
              </p:cNvSpPr>
              <p:nvPr/>
            </p:nvSpPr>
            <p:spPr bwMode="auto">
              <a:xfrm>
                <a:off x="-1859" y="1754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21" name="Freeform 69"/>
              <p:cNvSpPr>
                <a:spLocks/>
              </p:cNvSpPr>
              <p:nvPr/>
            </p:nvSpPr>
            <p:spPr bwMode="auto">
              <a:xfrm>
                <a:off x="-1868" y="1682"/>
                <a:ext cx="3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22" name="Freeform 70"/>
              <p:cNvSpPr>
                <a:spLocks/>
              </p:cNvSpPr>
              <p:nvPr/>
            </p:nvSpPr>
            <p:spPr bwMode="auto">
              <a:xfrm>
                <a:off x="-1842" y="281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23" name="Freeform 71"/>
              <p:cNvSpPr>
                <a:spLocks/>
              </p:cNvSpPr>
              <p:nvPr/>
            </p:nvSpPr>
            <p:spPr bwMode="auto">
              <a:xfrm>
                <a:off x="-1912" y="3276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24" name="Freeform 72"/>
              <p:cNvSpPr>
                <a:spLocks/>
              </p:cNvSpPr>
              <p:nvPr/>
            </p:nvSpPr>
            <p:spPr bwMode="auto">
              <a:xfrm>
                <a:off x="-1946" y="3355"/>
                <a:ext cx="17" cy="37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4" y="5"/>
                  </a:cxn>
                  <a:cxn ang="0">
                    <a:pos x="1" y="12"/>
                  </a:cxn>
                  <a:cxn ang="0">
                    <a:pos x="0" y="15"/>
                  </a:cxn>
                  <a:cxn ang="0">
                    <a:pos x="2" y="16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5" y="0"/>
                  </a:cxn>
                </a:cxnLst>
                <a:rect l="0" t="0" r="r" b="b"/>
                <a:pathLst>
                  <a:path w="7" h="16">
                    <a:moveTo>
                      <a:pt x="5" y="0"/>
                    </a:moveTo>
                    <a:cubicBezTo>
                      <a:pt x="5" y="2"/>
                      <a:pt x="4" y="4"/>
                      <a:pt x="4" y="5"/>
                    </a:cubicBezTo>
                    <a:cubicBezTo>
                      <a:pt x="3" y="8"/>
                      <a:pt x="2" y="11"/>
                      <a:pt x="1" y="12"/>
                    </a:cubicBezTo>
                    <a:cubicBezTo>
                      <a:pt x="0" y="14"/>
                      <a:pt x="0" y="15"/>
                      <a:pt x="0" y="15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2" y="16"/>
                      <a:pt x="4" y="11"/>
                      <a:pt x="7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0"/>
                      <a:pt x="5" y="0"/>
                      <a:pt x="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25" name="Freeform 73"/>
              <p:cNvSpPr>
                <a:spLocks/>
              </p:cNvSpPr>
              <p:nvPr/>
            </p:nvSpPr>
            <p:spPr bwMode="auto">
              <a:xfrm>
                <a:off x="-1934" y="3355"/>
                <a:ext cx="8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26" name="Freeform 74"/>
              <p:cNvSpPr>
                <a:spLocks/>
              </p:cNvSpPr>
              <p:nvPr/>
            </p:nvSpPr>
            <p:spPr bwMode="auto">
              <a:xfrm>
                <a:off x="-1833" y="2498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27" name="Freeform 75"/>
              <p:cNvSpPr>
                <a:spLocks/>
              </p:cNvSpPr>
              <p:nvPr/>
            </p:nvSpPr>
            <p:spPr bwMode="auto">
              <a:xfrm>
                <a:off x="-1833" y="2256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28" name="Freeform 76"/>
              <p:cNvSpPr>
                <a:spLocks noEditPoints="1"/>
              </p:cNvSpPr>
              <p:nvPr/>
            </p:nvSpPr>
            <p:spPr bwMode="auto">
              <a:xfrm>
                <a:off x="-1664" y="1683"/>
                <a:ext cx="237" cy="865"/>
              </a:xfrm>
              <a:custGeom>
                <a:avLst/>
                <a:gdLst/>
                <a:ahLst/>
                <a:cxnLst>
                  <a:cxn ang="0">
                    <a:pos x="100" y="345"/>
                  </a:cxn>
                  <a:cxn ang="0">
                    <a:pos x="99" y="345"/>
                  </a:cxn>
                  <a:cxn ang="0">
                    <a:pos x="99" y="365"/>
                  </a:cxn>
                  <a:cxn ang="0">
                    <a:pos x="99" y="365"/>
                  </a:cxn>
                  <a:cxn ang="0">
                    <a:pos x="100" y="365"/>
                  </a:cxn>
                  <a:cxn ang="0">
                    <a:pos x="100" y="365"/>
                  </a:cxn>
                  <a:cxn ang="0">
                    <a:pos x="100" y="345"/>
                  </a:cxn>
                  <a:cxn ang="0">
                    <a:pos x="88" y="243"/>
                  </a:cxn>
                  <a:cxn ang="0">
                    <a:pos x="87" y="243"/>
                  </a:cxn>
                  <a:cxn ang="0">
                    <a:pos x="99" y="344"/>
                  </a:cxn>
                  <a:cxn ang="0">
                    <a:pos x="100" y="344"/>
                  </a:cxn>
                  <a:cxn ang="0">
                    <a:pos x="88" y="243"/>
                  </a:cxn>
                  <a:cxn ang="0">
                    <a:pos x="66" y="128"/>
                  </a:cxn>
                  <a:cxn ang="0">
                    <a:pos x="65" y="128"/>
                  </a:cxn>
                  <a:cxn ang="0">
                    <a:pos x="66" y="131"/>
                  </a:cxn>
                  <a:cxn ang="0">
                    <a:pos x="66" y="131"/>
                  </a:cxn>
                  <a:cxn ang="0">
                    <a:pos x="68" y="138"/>
                  </a:cxn>
                  <a:cxn ang="0">
                    <a:pos x="87" y="242"/>
                  </a:cxn>
                  <a:cxn ang="0">
                    <a:pos x="88" y="242"/>
                  </a:cxn>
                  <a:cxn ang="0">
                    <a:pos x="67" y="131"/>
                  </a:cxn>
                  <a:cxn ang="0">
                    <a:pos x="67" y="131"/>
                  </a:cxn>
                  <a:cxn ang="0">
                    <a:pos x="67" y="131"/>
                  </a:cxn>
                  <a:cxn ang="0">
                    <a:pos x="66" y="128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1" y="30"/>
                  </a:cxn>
                  <a:cxn ang="0">
                    <a:pos x="22" y="30"/>
                  </a:cxn>
                  <a:cxn ang="0">
                    <a:pos x="1" y="0"/>
                  </a:cxn>
                </a:cxnLst>
                <a:rect l="0" t="0" r="r" b="b"/>
                <a:pathLst>
                  <a:path w="100" h="365">
                    <a:moveTo>
                      <a:pt x="100" y="345"/>
                    </a:moveTo>
                    <a:cubicBezTo>
                      <a:pt x="99" y="345"/>
                      <a:pt x="99" y="345"/>
                      <a:pt x="99" y="345"/>
                    </a:cubicBezTo>
                    <a:cubicBezTo>
                      <a:pt x="99" y="352"/>
                      <a:pt x="99" y="358"/>
                      <a:pt x="99" y="365"/>
                    </a:cubicBezTo>
                    <a:cubicBezTo>
                      <a:pt x="99" y="365"/>
                      <a:pt x="99" y="365"/>
                      <a:pt x="99" y="365"/>
                    </a:cubicBezTo>
                    <a:cubicBezTo>
                      <a:pt x="100" y="365"/>
                      <a:pt x="100" y="365"/>
                      <a:pt x="100" y="365"/>
                    </a:cubicBezTo>
                    <a:cubicBezTo>
                      <a:pt x="100" y="365"/>
                      <a:pt x="100" y="365"/>
                      <a:pt x="100" y="365"/>
                    </a:cubicBezTo>
                    <a:cubicBezTo>
                      <a:pt x="100" y="358"/>
                      <a:pt x="100" y="352"/>
                      <a:pt x="100" y="345"/>
                    </a:cubicBezTo>
                    <a:moveTo>
                      <a:pt x="88" y="243"/>
                    </a:moveTo>
                    <a:cubicBezTo>
                      <a:pt x="87" y="243"/>
                      <a:pt x="87" y="243"/>
                      <a:pt x="87" y="243"/>
                    </a:cubicBezTo>
                    <a:cubicBezTo>
                      <a:pt x="92" y="277"/>
                      <a:pt x="97" y="314"/>
                      <a:pt x="99" y="344"/>
                    </a:cubicBezTo>
                    <a:cubicBezTo>
                      <a:pt x="100" y="344"/>
                      <a:pt x="100" y="344"/>
                      <a:pt x="100" y="344"/>
                    </a:cubicBezTo>
                    <a:cubicBezTo>
                      <a:pt x="98" y="314"/>
                      <a:pt x="93" y="277"/>
                      <a:pt x="88" y="243"/>
                    </a:cubicBezTo>
                    <a:moveTo>
                      <a:pt x="66" y="128"/>
                    </a:moveTo>
                    <a:cubicBezTo>
                      <a:pt x="65" y="128"/>
                      <a:pt x="65" y="128"/>
                      <a:pt x="65" y="128"/>
                    </a:cubicBezTo>
                    <a:cubicBezTo>
                      <a:pt x="66" y="129"/>
                      <a:pt x="66" y="130"/>
                      <a:pt x="66" y="131"/>
                    </a:cubicBezTo>
                    <a:cubicBezTo>
                      <a:pt x="66" y="131"/>
                      <a:pt x="66" y="131"/>
                      <a:pt x="66" y="131"/>
                    </a:cubicBezTo>
                    <a:cubicBezTo>
                      <a:pt x="67" y="132"/>
                      <a:pt x="67" y="134"/>
                      <a:pt x="68" y="138"/>
                    </a:cubicBezTo>
                    <a:cubicBezTo>
                      <a:pt x="71" y="154"/>
                      <a:pt x="79" y="195"/>
                      <a:pt x="87" y="242"/>
                    </a:cubicBezTo>
                    <a:cubicBezTo>
                      <a:pt x="88" y="242"/>
                      <a:pt x="88" y="242"/>
                      <a:pt x="88" y="242"/>
                    </a:cubicBezTo>
                    <a:cubicBezTo>
                      <a:pt x="78" y="183"/>
                      <a:pt x="67" y="131"/>
                      <a:pt x="67" y="131"/>
                    </a:cubicBezTo>
                    <a:cubicBezTo>
                      <a:pt x="67" y="131"/>
                      <a:pt x="67" y="131"/>
                      <a:pt x="67" y="131"/>
                    </a:cubicBezTo>
                    <a:cubicBezTo>
                      <a:pt x="67" y="131"/>
                      <a:pt x="67" y="131"/>
                      <a:pt x="67" y="131"/>
                    </a:cubicBezTo>
                    <a:cubicBezTo>
                      <a:pt x="67" y="130"/>
                      <a:pt x="67" y="129"/>
                      <a:pt x="66" y="128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7" y="9"/>
                      <a:pt x="14" y="19"/>
                      <a:pt x="21" y="30"/>
                    </a:cubicBezTo>
                    <a:cubicBezTo>
                      <a:pt x="22" y="30"/>
                      <a:pt x="22" y="30"/>
                      <a:pt x="22" y="30"/>
                    </a:cubicBezTo>
                    <a:cubicBezTo>
                      <a:pt x="15" y="19"/>
                      <a:pt x="8" y="9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29" name="Freeform 77"/>
              <p:cNvSpPr>
                <a:spLocks/>
              </p:cNvSpPr>
              <p:nvPr/>
            </p:nvSpPr>
            <p:spPr bwMode="auto">
              <a:xfrm>
                <a:off x="-1614" y="1754"/>
                <a:ext cx="5" cy="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30" name="Freeform 78"/>
              <p:cNvSpPr>
                <a:spLocks/>
              </p:cNvSpPr>
              <p:nvPr/>
            </p:nvSpPr>
            <p:spPr bwMode="auto">
              <a:xfrm>
                <a:off x="-1667" y="1682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31" name="Freeform 79"/>
              <p:cNvSpPr>
                <a:spLocks/>
              </p:cNvSpPr>
              <p:nvPr/>
            </p:nvSpPr>
            <p:spPr bwMode="auto">
              <a:xfrm>
                <a:off x="-1429" y="2498"/>
                <a:ext cx="2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32" name="Freeform 80"/>
              <p:cNvSpPr>
                <a:spLocks/>
              </p:cNvSpPr>
              <p:nvPr/>
            </p:nvSpPr>
            <p:spPr bwMode="auto">
              <a:xfrm>
                <a:off x="-1458" y="2256"/>
                <a:ext cx="3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33" name="Freeform 81"/>
              <p:cNvSpPr>
                <a:spLocks/>
              </p:cNvSpPr>
              <p:nvPr/>
            </p:nvSpPr>
            <p:spPr bwMode="auto">
              <a:xfrm>
                <a:off x="-1376" y="1987"/>
                <a:ext cx="100" cy="27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2" y="84"/>
                  </a:cxn>
                  <a:cxn ang="0">
                    <a:pos x="39" y="109"/>
                  </a:cxn>
                  <a:cxn ang="0">
                    <a:pos x="40" y="114"/>
                  </a:cxn>
                  <a:cxn ang="0">
                    <a:pos x="42" y="114"/>
                  </a:cxn>
                  <a:cxn ang="0">
                    <a:pos x="39" y="101"/>
                  </a:cxn>
                  <a:cxn ang="0">
                    <a:pos x="37" y="101"/>
                  </a:cxn>
                  <a:cxn ang="0">
                    <a:pos x="37" y="100"/>
                  </a:cxn>
                  <a:cxn ang="0">
                    <a:pos x="39" y="100"/>
                  </a:cxn>
                  <a:cxn ang="0">
                    <a:pos x="2" y="0"/>
                  </a:cxn>
                </a:cxnLst>
                <a:rect l="0" t="0" r="r" b="b"/>
                <a:pathLst>
                  <a:path w="42" h="114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1" y="1"/>
                    </a:cubicBezTo>
                    <a:cubicBezTo>
                      <a:pt x="16" y="34"/>
                      <a:pt x="26" y="63"/>
                      <a:pt x="32" y="84"/>
                    </a:cubicBezTo>
                    <a:cubicBezTo>
                      <a:pt x="36" y="94"/>
                      <a:pt x="38" y="103"/>
                      <a:pt x="39" y="109"/>
                    </a:cubicBezTo>
                    <a:cubicBezTo>
                      <a:pt x="40" y="111"/>
                      <a:pt x="40" y="112"/>
                      <a:pt x="40" y="114"/>
                    </a:cubicBezTo>
                    <a:cubicBezTo>
                      <a:pt x="42" y="114"/>
                      <a:pt x="42" y="114"/>
                      <a:pt x="42" y="114"/>
                    </a:cubicBezTo>
                    <a:cubicBezTo>
                      <a:pt x="42" y="111"/>
                      <a:pt x="41" y="106"/>
                      <a:pt x="39" y="101"/>
                    </a:cubicBezTo>
                    <a:cubicBezTo>
                      <a:pt x="37" y="101"/>
                      <a:pt x="37" y="101"/>
                      <a:pt x="37" y="101"/>
                    </a:cubicBezTo>
                    <a:cubicBezTo>
                      <a:pt x="37" y="100"/>
                      <a:pt x="37" y="100"/>
                      <a:pt x="37" y="100"/>
                    </a:cubicBezTo>
                    <a:cubicBezTo>
                      <a:pt x="39" y="100"/>
                      <a:pt x="39" y="100"/>
                      <a:pt x="39" y="100"/>
                    </a:cubicBezTo>
                    <a:cubicBezTo>
                      <a:pt x="34" y="79"/>
                      <a:pt x="22" y="42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34" name="Freeform 82"/>
              <p:cNvSpPr>
                <a:spLocks/>
              </p:cNvSpPr>
              <p:nvPr/>
            </p:nvSpPr>
            <p:spPr bwMode="auto">
              <a:xfrm>
                <a:off x="-1288" y="2222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35" name="Freeform 83"/>
              <p:cNvSpPr>
                <a:spLocks noEditPoints="1"/>
              </p:cNvSpPr>
              <p:nvPr/>
            </p:nvSpPr>
            <p:spPr bwMode="auto">
              <a:xfrm>
                <a:off x="-1281" y="2260"/>
                <a:ext cx="232" cy="1016"/>
              </a:xfrm>
              <a:custGeom>
                <a:avLst/>
                <a:gdLst/>
                <a:ahLst/>
                <a:cxnLst>
                  <a:cxn ang="0">
                    <a:pos x="70" y="343"/>
                  </a:cxn>
                  <a:cxn ang="0">
                    <a:pos x="68" y="343"/>
                  </a:cxn>
                  <a:cxn ang="0">
                    <a:pos x="95" y="429"/>
                  </a:cxn>
                  <a:cxn ang="0">
                    <a:pos x="98" y="429"/>
                  </a:cxn>
                  <a:cxn ang="0">
                    <a:pos x="70" y="343"/>
                  </a:cxn>
                  <a:cxn ang="0">
                    <a:pos x="39" y="255"/>
                  </a:cxn>
                  <a:cxn ang="0">
                    <a:pos x="36" y="255"/>
                  </a:cxn>
                  <a:cxn ang="0">
                    <a:pos x="68" y="342"/>
                  </a:cxn>
                  <a:cxn ang="0">
                    <a:pos x="70" y="342"/>
                  </a:cxn>
                  <a:cxn ang="0">
                    <a:pos x="70" y="342"/>
                  </a:cxn>
                  <a:cxn ang="0">
                    <a:pos x="70" y="342"/>
                  </a:cxn>
                  <a:cxn ang="0">
                    <a:pos x="70" y="342"/>
                  </a:cxn>
                  <a:cxn ang="0">
                    <a:pos x="68" y="337"/>
                  </a:cxn>
                  <a:cxn ang="0">
                    <a:pos x="39" y="255"/>
                  </a:cxn>
                  <a:cxn ang="0">
                    <a:pos x="32" y="233"/>
                  </a:cxn>
                  <a:cxn ang="0">
                    <a:pos x="30" y="233"/>
                  </a:cxn>
                  <a:cxn ang="0">
                    <a:pos x="36" y="254"/>
                  </a:cxn>
                  <a:cxn ang="0">
                    <a:pos x="38" y="254"/>
                  </a:cxn>
                  <a:cxn ang="0">
                    <a:pos x="32" y="233"/>
                  </a:cxn>
                  <a:cxn ang="0">
                    <a:pos x="17" y="102"/>
                  </a:cxn>
                  <a:cxn ang="0">
                    <a:pos x="15" y="102"/>
                  </a:cxn>
                  <a:cxn ang="0">
                    <a:pos x="17" y="117"/>
                  </a:cxn>
                  <a:cxn ang="0">
                    <a:pos x="16" y="137"/>
                  </a:cxn>
                  <a:cxn ang="0">
                    <a:pos x="30" y="232"/>
                  </a:cxn>
                  <a:cxn ang="0">
                    <a:pos x="32" y="232"/>
                  </a:cxn>
                  <a:cxn ang="0">
                    <a:pos x="18" y="137"/>
                  </a:cxn>
                  <a:cxn ang="0">
                    <a:pos x="19" y="117"/>
                  </a:cxn>
                  <a:cxn ang="0">
                    <a:pos x="19" y="117"/>
                  </a:cxn>
                  <a:cxn ang="0">
                    <a:pos x="17" y="10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5" y="101"/>
                  </a:cxn>
                  <a:cxn ang="0">
                    <a:pos x="17" y="101"/>
                  </a:cxn>
                  <a:cxn ang="0">
                    <a:pos x="3" y="3"/>
                  </a:cxn>
                  <a:cxn ang="0">
                    <a:pos x="2" y="0"/>
                  </a:cxn>
                </a:cxnLst>
                <a:rect l="0" t="0" r="r" b="b"/>
                <a:pathLst>
                  <a:path w="98" h="429">
                    <a:moveTo>
                      <a:pt x="70" y="343"/>
                    </a:moveTo>
                    <a:cubicBezTo>
                      <a:pt x="68" y="343"/>
                      <a:pt x="68" y="343"/>
                      <a:pt x="68" y="343"/>
                    </a:cubicBezTo>
                    <a:cubicBezTo>
                      <a:pt x="73" y="375"/>
                      <a:pt x="85" y="405"/>
                      <a:pt x="95" y="429"/>
                    </a:cubicBezTo>
                    <a:cubicBezTo>
                      <a:pt x="98" y="429"/>
                      <a:pt x="98" y="429"/>
                      <a:pt x="98" y="429"/>
                    </a:cubicBezTo>
                    <a:cubicBezTo>
                      <a:pt x="87" y="405"/>
                      <a:pt x="75" y="375"/>
                      <a:pt x="70" y="343"/>
                    </a:cubicBezTo>
                    <a:moveTo>
                      <a:pt x="39" y="255"/>
                    </a:moveTo>
                    <a:cubicBezTo>
                      <a:pt x="36" y="255"/>
                      <a:pt x="36" y="255"/>
                      <a:pt x="36" y="255"/>
                    </a:cubicBezTo>
                    <a:cubicBezTo>
                      <a:pt x="50" y="301"/>
                      <a:pt x="66" y="337"/>
                      <a:pt x="68" y="342"/>
                    </a:cubicBezTo>
                    <a:cubicBezTo>
                      <a:pt x="70" y="342"/>
                      <a:pt x="70" y="342"/>
                      <a:pt x="70" y="342"/>
                    </a:cubicBezTo>
                    <a:cubicBezTo>
                      <a:pt x="70" y="342"/>
                      <a:pt x="70" y="342"/>
                      <a:pt x="70" y="342"/>
                    </a:cubicBezTo>
                    <a:cubicBezTo>
                      <a:pt x="70" y="342"/>
                      <a:pt x="70" y="342"/>
                      <a:pt x="70" y="342"/>
                    </a:cubicBezTo>
                    <a:cubicBezTo>
                      <a:pt x="70" y="342"/>
                      <a:pt x="70" y="342"/>
                      <a:pt x="70" y="342"/>
                    </a:cubicBezTo>
                    <a:cubicBezTo>
                      <a:pt x="70" y="342"/>
                      <a:pt x="69" y="340"/>
                      <a:pt x="68" y="337"/>
                    </a:cubicBezTo>
                    <a:cubicBezTo>
                      <a:pt x="63" y="325"/>
                      <a:pt x="50" y="293"/>
                      <a:pt x="39" y="255"/>
                    </a:cubicBezTo>
                    <a:moveTo>
                      <a:pt x="32" y="233"/>
                    </a:moveTo>
                    <a:cubicBezTo>
                      <a:pt x="30" y="233"/>
                      <a:pt x="30" y="233"/>
                      <a:pt x="30" y="233"/>
                    </a:cubicBezTo>
                    <a:cubicBezTo>
                      <a:pt x="32" y="240"/>
                      <a:pt x="34" y="247"/>
                      <a:pt x="36" y="254"/>
                    </a:cubicBezTo>
                    <a:cubicBezTo>
                      <a:pt x="38" y="254"/>
                      <a:pt x="38" y="254"/>
                      <a:pt x="38" y="254"/>
                    </a:cubicBezTo>
                    <a:cubicBezTo>
                      <a:pt x="36" y="247"/>
                      <a:pt x="34" y="240"/>
                      <a:pt x="32" y="233"/>
                    </a:cubicBezTo>
                    <a:moveTo>
                      <a:pt x="17" y="102"/>
                    </a:moveTo>
                    <a:cubicBezTo>
                      <a:pt x="15" y="102"/>
                      <a:pt x="15" y="102"/>
                      <a:pt x="15" y="102"/>
                    </a:cubicBezTo>
                    <a:cubicBezTo>
                      <a:pt x="17" y="117"/>
                      <a:pt x="17" y="117"/>
                      <a:pt x="17" y="117"/>
                    </a:cubicBezTo>
                    <a:cubicBezTo>
                      <a:pt x="16" y="123"/>
                      <a:pt x="16" y="130"/>
                      <a:pt x="16" y="137"/>
                    </a:cubicBezTo>
                    <a:cubicBezTo>
                      <a:pt x="16" y="167"/>
                      <a:pt x="22" y="201"/>
                      <a:pt x="30" y="232"/>
                    </a:cubicBezTo>
                    <a:cubicBezTo>
                      <a:pt x="32" y="232"/>
                      <a:pt x="32" y="232"/>
                      <a:pt x="32" y="232"/>
                    </a:cubicBezTo>
                    <a:cubicBezTo>
                      <a:pt x="24" y="201"/>
                      <a:pt x="18" y="167"/>
                      <a:pt x="18" y="137"/>
                    </a:cubicBezTo>
                    <a:cubicBezTo>
                      <a:pt x="18" y="130"/>
                      <a:pt x="18" y="123"/>
                      <a:pt x="19" y="117"/>
                    </a:cubicBezTo>
                    <a:cubicBezTo>
                      <a:pt x="19" y="117"/>
                      <a:pt x="19" y="117"/>
                      <a:pt x="19" y="117"/>
                    </a:cubicBezTo>
                    <a:cubicBezTo>
                      <a:pt x="17" y="102"/>
                      <a:pt x="17" y="102"/>
                      <a:pt x="17" y="102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1" y="2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5" y="101"/>
                      <a:pt x="15" y="101"/>
                      <a:pt x="15" y="101"/>
                    </a:cubicBezTo>
                    <a:cubicBezTo>
                      <a:pt x="17" y="101"/>
                      <a:pt x="17" y="101"/>
                      <a:pt x="17" y="101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1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36" name="Freeform 84"/>
              <p:cNvSpPr>
                <a:spLocks/>
              </p:cNvSpPr>
              <p:nvPr/>
            </p:nvSpPr>
            <p:spPr bwMode="auto">
              <a:xfrm>
                <a:off x="-1120" y="307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37" name="Freeform 85"/>
              <p:cNvSpPr>
                <a:spLocks/>
              </p:cNvSpPr>
              <p:nvPr/>
            </p:nvSpPr>
            <p:spPr bwMode="auto">
              <a:xfrm>
                <a:off x="-1196" y="2861"/>
                <a:ext cx="8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2" y="1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38" name="Freeform 86"/>
              <p:cNvSpPr>
                <a:spLocks noEditPoints="1"/>
              </p:cNvSpPr>
              <p:nvPr/>
            </p:nvSpPr>
            <p:spPr bwMode="auto">
              <a:xfrm>
                <a:off x="-1774" y="1524"/>
                <a:ext cx="766" cy="1831"/>
              </a:xfrm>
              <a:custGeom>
                <a:avLst/>
                <a:gdLst/>
                <a:ahLst/>
                <a:cxnLst>
                  <a:cxn ang="0">
                    <a:pos x="306" y="740"/>
                  </a:cxn>
                  <a:cxn ang="0">
                    <a:pos x="304" y="740"/>
                  </a:cxn>
                  <a:cxn ang="0">
                    <a:pos x="321" y="772"/>
                  </a:cxn>
                  <a:cxn ang="0">
                    <a:pos x="323" y="772"/>
                  </a:cxn>
                  <a:cxn ang="0">
                    <a:pos x="306" y="740"/>
                  </a:cxn>
                  <a:cxn ang="0">
                    <a:pos x="111" y="98"/>
                  </a:cxn>
                  <a:cxn ang="0">
                    <a:pos x="108" y="98"/>
                  </a:cxn>
                  <a:cxn ang="0">
                    <a:pos x="167" y="194"/>
                  </a:cxn>
                  <a:cxn ang="0">
                    <a:pos x="170" y="194"/>
                  </a:cxn>
                  <a:cxn ang="0">
                    <a:pos x="111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07" y="97"/>
                  </a:cxn>
                  <a:cxn ang="0">
                    <a:pos x="110" y="97"/>
                  </a:cxn>
                  <a:cxn ang="0">
                    <a:pos x="84" y="67"/>
                  </a:cxn>
                  <a:cxn ang="0">
                    <a:pos x="84" y="67"/>
                  </a:cxn>
                  <a:cxn ang="0">
                    <a:pos x="84" y="67"/>
                  </a:cxn>
                  <a:cxn ang="0">
                    <a:pos x="1" y="0"/>
                  </a:cxn>
                </a:cxnLst>
                <a:rect l="0" t="0" r="r" b="b"/>
                <a:pathLst>
                  <a:path w="323" h="772">
                    <a:moveTo>
                      <a:pt x="306" y="740"/>
                    </a:moveTo>
                    <a:cubicBezTo>
                      <a:pt x="304" y="740"/>
                      <a:pt x="304" y="740"/>
                      <a:pt x="304" y="740"/>
                    </a:cubicBezTo>
                    <a:cubicBezTo>
                      <a:pt x="310" y="753"/>
                      <a:pt x="316" y="765"/>
                      <a:pt x="321" y="772"/>
                    </a:cubicBezTo>
                    <a:cubicBezTo>
                      <a:pt x="323" y="772"/>
                      <a:pt x="323" y="772"/>
                      <a:pt x="323" y="772"/>
                    </a:cubicBezTo>
                    <a:cubicBezTo>
                      <a:pt x="319" y="765"/>
                      <a:pt x="312" y="754"/>
                      <a:pt x="306" y="740"/>
                    </a:cubicBezTo>
                    <a:moveTo>
                      <a:pt x="111" y="98"/>
                    </a:moveTo>
                    <a:cubicBezTo>
                      <a:pt x="108" y="98"/>
                      <a:pt x="108" y="98"/>
                      <a:pt x="108" y="98"/>
                    </a:cubicBezTo>
                    <a:cubicBezTo>
                      <a:pt x="133" y="130"/>
                      <a:pt x="153" y="163"/>
                      <a:pt x="167" y="194"/>
                    </a:cubicBezTo>
                    <a:cubicBezTo>
                      <a:pt x="170" y="194"/>
                      <a:pt x="170" y="194"/>
                      <a:pt x="170" y="194"/>
                    </a:cubicBezTo>
                    <a:cubicBezTo>
                      <a:pt x="155" y="163"/>
                      <a:pt x="136" y="130"/>
                      <a:pt x="111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44" y="28"/>
                      <a:pt x="79" y="62"/>
                      <a:pt x="107" y="97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102" y="87"/>
                      <a:pt x="93" y="77"/>
                      <a:pt x="84" y="67"/>
                    </a:cubicBezTo>
                    <a:cubicBezTo>
                      <a:pt x="84" y="67"/>
                      <a:pt x="84" y="67"/>
                      <a:pt x="84" y="67"/>
                    </a:cubicBezTo>
                    <a:cubicBezTo>
                      <a:pt x="84" y="67"/>
                      <a:pt x="84" y="67"/>
                      <a:pt x="84" y="67"/>
                    </a:cubicBezTo>
                    <a:cubicBezTo>
                      <a:pt x="61" y="42"/>
                      <a:pt x="33" y="19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39" name="Freeform 87"/>
              <p:cNvSpPr>
                <a:spLocks/>
              </p:cNvSpPr>
              <p:nvPr/>
            </p:nvSpPr>
            <p:spPr bwMode="auto">
              <a:xfrm>
                <a:off x="-1520" y="1754"/>
                <a:ext cx="9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4" y="1"/>
                  </a:cxn>
                  <a:cxn ang="0">
                    <a:pos x="3" y="0"/>
                  </a:cxn>
                </a:cxnLst>
                <a:rect l="0" t="0" r="r" b="b"/>
                <a:pathLst>
                  <a:path w="4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1"/>
                      <a:pt x="1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40" name="Rectangle 88"/>
              <p:cNvSpPr>
                <a:spLocks noChangeArrowheads="1"/>
              </p:cNvSpPr>
              <p:nvPr/>
            </p:nvSpPr>
            <p:spPr bwMode="auto">
              <a:xfrm>
                <a:off x="-1575" y="1683"/>
                <a:ext cx="2" cy="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/>
                <a:endParaRPr lang="en-US" sz="1800" baseline="-2500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241" name="Freeform 89"/>
              <p:cNvSpPr>
                <a:spLocks/>
              </p:cNvSpPr>
              <p:nvPr/>
            </p:nvSpPr>
            <p:spPr bwMode="auto">
              <a:xfrm>
                <a:off x="-1575" y="1683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42" name="Freeform 90"/>
              <p:cNvSpPr>
                <a:spLocks/>
              </p:cNvSpPr>
              <p:nvPr/>
            </p:nvSpPr>
            <p:spPr bwMode="auto">
              <a:xfrm>
                <a:off x="-1210" y="281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43" name="Freeform 91"/>
              <p:cNvSpPr>
                <a:spLocks/>
              </p:cNvSpPr>
              <p:nvPr/>
            </p:nvSpPr>
            <p:spPr bwMode="auto">
              <a:xfrm>
                <a:off x="-1056" y="3276"/>
                <a:ext cx="8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1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44" name="Freeform 92"/>
              <p:cNvSpPr>
                <a:spLocks/>
              </p:cNvSpPr>
              <p:nvPr/>
            </p:nvSpPr>
            <p:spPr bwMode="auto">
              <a:xfrm>
                <a:off x="-1014" y="3357"/>
                <a:ext cx="21" cy="31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8" y="13"/>
                  </a:cxn>
                  <a:cxn ang="0">
                    <a:pos x="9" y="12"/>
                  </a:cxn>
                  <a:cxn ang="0">
                    <a:pos x="8" y="9"/>
                  </a:cxn>
                  <a:cxn ang="0">
                    <a:pos x="3" y="0"/>
                  </a:cxn>
                </a:cxnLst>
                <a:rect l="0" t="0" r="r" b="b"/>
                <a:pathLst>
                  <a:path w="9" h="13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5" y="8"/>
                      <a:pt x="8" y="13"/>
                      <a:pt x="8" y="13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9" y="12"/>
                      <a:pt x="9" y="11"/>
                      <a:pt x="8" y="9"/>
                    </a:cubicBezTo>
                    <a:cubicBezTo>
                      <a:pt x="6" y="7"/>
                      <a:pt x="5" y="4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45" name="Freeform 93"/>
              <p:cNvSpPr>
                <a:spLocks/>
              </p:cNvSpPr>
              <p:nvPr/>
            </p:nvSpPr>
            <p:spPr bwMode="auto">
              <a:xfrm>
                <a:off x="-1014" y="3355"/>
                <a:ext cx="8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2" y="1"/>
                      <a:pt x="2" y="1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46" name="Freeform 94"/>
              <p:cNvSpPr>
                <a:spLocks/>
              </p:cNvSpPr>
              <p:nvPr/>
            </p:nvSpPr>
            <p:spPr bwMode="auto">
              <a:xfrm>
                <a:off x="-1246" y="2498"/>
                <a:ext cx="5" cy="3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5" y="3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47" name="Freeform 95"/>
              <p:cNvSpPr>
                <a:spLocks/>
              </p:cNvSpPr>
              <p:nvPr/>
            </p:nvSpPr>
            <p:spPr bwMode="auto">
              <a:xfrm>
                <a:off x="-1281" y="2256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48" name="Freeform 96"/>
              <p:cNvSpPr>
                <a:spLocks noEditPoints="1"/>
              </p:cNvSpPr>
              <p:nvPr/>
            </p:nvSpPr>
            <p:spPr bwMode="auto">
              <a:xfrm>
                <a:off x="-1636" y="1524"/>
                <a:ext cx="819" cy="459"/>
              </a:xfrm>
              <a:custGeom>
                <a:avLst/>
                <a:gdLst/>
                <a:ahLst/>
                <a:cxnLst>
                  <a:cxn ang="0">
                    <a:pos x="243" y="98"/>
                  </a:cxn>
                  <a:cxn ang="0">
                    <a:pos x="241" y="98"/>
                  </a:cxn>
                  <a:cxn ang="0">
                    <a:pos x="345" y="193"/>
                  </a:cxn>
                  <a:cxn ang="0">
                    <a:pos x="346" y="193"/>
                  </a:cxn>
                  <a:cxn ang="0">
                    <a:pos x="243" y="98"/>
                  </a:cxn>
                  <a:cxn ang="0">
                    <a:pos x="186" y="67"/>
                  </a:cxn>
                  <a:cxn ang="0">
                    <a:pos x="184" y="67"/>
                  </a:cxn>
                  <a:cxn ang="0">
                    <a:pos x="239" y="97"/>
                  </a:cxn>
                  <a:cxn ang="0">
                    <a:pos x="241" y="97"/>
                  </a:cxn>
                  <a:cxn ang="0">
                    <a:pos x="186" y="67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1" y="4"/>
                  </a:cxn>
                  <a:cxn ang="0">
                    <a:pos x="182" y="66"/>
                  </a:cxn>
                  <a:cxn ang="0">
                    <a:pos x="185" y="66"/>
                  </a:cxn>
                  <a:cxn ang="0">
                    <a:pos x="0" y="0"/>
                  </a:cxn>
                </a:cxnLst>
                <a:rect l="0" t="0" r="r" b="b"/>
                <a:pathLst>
                  <a:path w="346" h="193">
                    <a:moveTo>
                      <a:pt x="243" y="98"/>
                    </a:moveTo>
                    <a:cubicBezTo>
                      <a:pt x="241" y="98"/>
                      <a:pt x="241" y="98"/>
                      <a:pt x="241" y="98"/>
                    </a:cubicBezTo>
                    <a:cubicBezTo>
                      <a:pt x="283" y="124"/>
                      <a:pt x="322" y="156"/>
                      <a:pt x="345" y="193"/>
                    </a:cubicBezTo>
                    <a:cubicBezTo>
                      <a:pt x="346" y="193"/>
                      <a:pt x="346" y="193"/>
                      <a:pt x="346" y="193"/>
                    </a:cubicBezTo>
                    <a:cubicBezTo>
                      <a:pt x="323" y="156"/>
                      <a:pt x="285" y="124"/>
                      <a:pt x="243" y="98"/>
                    </a:cubicBezTo>
                    <a:moveTo>
                      <a:pt x="186" y="67"/>
                    </a:moveTo>
                    <a:cubicBezTo>
                      <a:pt x="184" y="67"/>
                      <a:pt x="184" y="67"/>
                      <a:pt x="184" y="67"/>
                    </a:cubicBezTo>
                    <a:cubicBezTo>
                      <a:pt x="203" y="76"/>
                      <a:pt x="221" y="86"/>
                      <a:pt x="239" y="97"/>
                    </a:cubicBezTo>
                    <a:cubicBezTo>
                      <a:pt x="241" y="97"/>
                      <a:pt x="241" y="97"/>
                      <a:pt x="241" y="97"/>
                    </a:cubicBezTo>
                    <a:cubicBezTo>
                      <a:pt x="223" y="86"/>
                      <a:pt x="205" y="76"/>
                      <a:pt x="186" y="67"/>
                    </a:cubicBezTo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4" y="2"/>
                      <a:pt x="11" y="4"/>
                    </a:cubicBezTo>
                    <a:cubicBezTo>
                      <a:pt x="38" y="11"/>
                      <a:pt x="110" y="32"/>
                      <a:pt x="182" y="66"/>
                    </a:cubicBezTo>
                    <a:cubicBezTo>
                      <a:pt x="185" y="66"/>
                      <a:pt x="185" y="66"/>
                      <a:pt x="185" y="66"/>
                    </a:cubicBezTo>
                    <a:cubicBezTo>
                      <a:pt x="92" y="22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49" name="Freeform 97"/>
              <p:cNvSpPr>
                <a:spLocks/>
              </p:cNvSpPr>
              <p:nvPr/>
            </p:nvSpPr>
            <p:spPr bwMode="auto">
              <a:xfrm>
                <a:off x="-1070" y="1754"/>
                <a:ext cx="9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2" y="1"/>
                  </a:cxn>
                  <a:cxn ang="0">
                    <a:pos x="4" y="1"/>
                  </a:cxn>
                  <a:cxn ang="0">
                    <a:pos x="2" y="0"/>
                  </a:cxn>
                </a:cxnLst>
                <a:rect l="0" t="0" r="r" b="b"/>
                <a:pathLst>
                  <a:path w="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1"/>
                      <a:pt x="2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3" y="1"/>
                      <a:pt x="3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50" name="Freeform 98"/>
              <p:cNvSpPr>
                <a:spLocks/>
              </p:cNvSpPr>
              <p:nvPr/>
            </p:nvSpPr>
            <p:spPr bwMode="auto">
              <a:xfrm>
                <a:off x="-1205" y="1682"/>
                <a:ext cx="9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2" y="1"/>
                  </a:cxn>
                  <a:cxn ang="0">
                    <a:pos x="4" y="1"/>
                  </a:cxn>
                  <a:cxn ang="0">
                    <a:pos x="3" y="0"/>
                  </a:cxn>
                </a:cxnLst>
                <a:rect l="0" t="0" r="r" b="b"/>
                <a:pathLst>
                  <a:path w="4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2" y="1"/>
                      <a:pt x="2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3" y="1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51" name="Freeform 99"/>
              <p:cNvSpPr>
                <a:spLocks/>
              </p:cNvSpPr>
              <p:nvPr/>
            </p:nvSpPr>
            <p:spPr bwMode="auto">
              <a:xfrm>
                <a:off x="-955" y="1987"/>
                <a:ext cx="217" cy="270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2" y="1"/>
                  </a:cxn>
                  <a:cxn ang="0">
                    <a:pos x="82" y="100"/>
                  </a:cxn>
                  <a:cxn ang="0">
                    <a:pos x="83" y="100"/>
                  </a:cxn>
                  <a:cxn ang="0">
                    <a:pos x="83" y="101"/>
                  </a:cxn>
                  <a:cxn ang="0">
                    <a:pos x="83" y="101"/>
                  </a:cxn>
                  <a:cxn ang="0">
                    <a:pos x="89" y="114"/>
                  </a:cxn>
                  <a:cxn ang="0">
                    <a:pos x="91" y="114"/>
                  </a:cxn>
                  <a:cxn ang="0">
                    <a:pos x="3" y="0"/>
                  </a:cxn>
                </a:cxnLst>
                <a:rect l="0" t="0" r="r" b="b"/>
                <a:pathLst>
                  <a:path w="91" h="114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2" y="1"/>
                    </a:cubicBezTo>
                    <a:cubicBezTo>
                      <a:pt x="9" y="6"/>
                      <a:pt x="49" y="37"/>
                      <a:pt x="82" y="100"/>
                    </a:cubicBezTo>
                    <a:cubicBezTo>
                      <a:pt x="83" y="100"/>
                      <a:pt x="83" y="100"/>
                      <a:pt x="83" y="100"/>
                    </a:cubicBezTo>
                    <a:cubicBezTo>
                      <a:pt x="83" y="101"/>
                      <a:pt x="83" y="101"/>
                      <a:pt x="83" y="101"/>
                    </a:cubicBezTo>
                    <a:cubicBezTo>
                      <a:pt x="83" y="101"/>
                      <a:pt x="83" y="101"/>
                      <a:pt x="83" y="101"/>
                    </a:cubicBezTo>
                    <a:cubicBezTo>
                      <a:pt x="85" y="105"/>
                      <a:pt x="87" y="109"/>
                      <a:pt x="89" y="114"/>
                    </a:cubicBezTo>
                    <a:cubicBezTo>
                      <a:pt x="91" y="114"/>
                      <a:pt x="91" y="114"/>
                      <a:pt x="91" y="114"/>
                    </a:cubicBezTo>
                    <a:cubicBezTo>
                      <a:pt x="57" y="42"/>
                      <a:pt x="12" y="6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52" name="Freeform 100"/>
              <p:cNvSpPr>
                <a:spLocks/>
              </p:cNvSpPr>
              <p:nvPr/>
            </p:nvSpPr>
            <p:spPr bwMode="auto">
              <a:xfrm>
                <a:off x="-761" y="2222"/>
                <a:ext cx="3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53" name="Freeform 101"/>
              <p:cNvSpPr>
                <a:spLocks noEditPoints="1"/>
              </p:cNvSpPr>
              <p:nvPr/>
            </p:nvSpPr>
            <p:spPr bwMode="auto">
              <a:xfrm>
                <a:off x="-741" y="2260"/>
                <a:ext cx="89" cy="1016"/>
              </a:xfrm>
              <a:custGeom>
                <a:avLst/>
                <a:gdLst/>
                <a:ahLst/>
                <a:cxnLst>
                  <a:cxn ang="0">
                    <a:pos x="26" y="343"/>
                  </a:cxn>
                  <a:cxn ang="0">
                    <a:pos x="24" y="343"/>
                  </a:cxn>
                  <a:cxn ang="0">
                    <a:pos x="24" y="352"/>
                  </a:cxn>
                  <a:cxn ang="0">
                    <a:pos x="20" y="417"/>
                  </a:cxn>
                  <a:cxn ang="0">
                    <a:pos x="19" y="429"/>
                  </a:cxn>
                  <a:cxn ang="0">
                    <a:pos x="21" y="429"/>
                  </a:cxn>
                  <a:cxn ang="0">
                    <a:pos x="24" y="393"/>
                  </a:cxn>
                  <a:cxn ang="0">
                    <a:pos x="26" y="343"/>
                  </a:cxn>
                  <a:cxn ang="0">
                    <a:pos x="38" y="233"/>
                  </a:cxn>
                  <a:cxn ang="0">
                    <a:pos x="36" y="233"/>
                  </a:cxn>
                  <a:cxn ang="0">
                    <a:pos x="24" y="334"/>
                  </a:cxn>
                  <a:cxn ang="0">
                    <a:pos x="24" y="335"/>
                  </a:cxn>
                  <a:cxn ang="0">
                    <a:pos x="24" y="335"/>
                  </a:cxn>
                  <a:cxn ang="0">
                    <a:pos x="24" y="342"/>
                  </a:cxn>
                  <a:cxn ang="0">
                    <a:pos x="26" y="342"/>
                  </a:cxn>
                  <a:cxn ang="0">
                    <a:pos x="26" y="335"/>
                  </a:cxn>
                  <a:cxn ang="0">
                    <a:pos x="37" y="255"/>
                  </a:cxn>
                  <a:cxn ang="0">
                    <a:pos x="35" y="255"/>
                  </a:cxn>
                  <a:cxn ang="0">
                    <a:pos x="35" y="254"/>
                  </a:cxn>
                  <a:cxn ang="0">
                    <a:pos x="37" y="254"/>
                  </a:cxn>
                  <a:cxn ang="0">
                    <a:pos x="38" y="233"/>
                  </a:cxn>
                  <a:cxn ang="0">
                    <a:pos x="35" y="102"/>
                  </a:cxn>
                  <a:cxn ang="0">
                    <a:pos x="33" y="102"/>
                  </a:cxn>
                  <a:cxn ang="0">
                    <a:pos x="35" y="115"/>
                  </a:cxn>
                  <a:cxn ang="0">
                    <a:pos x="35" y="115"/>
                  </a:cxn>
                  <a:cxn ang="0">
                    <a:pos x="35" y="120"/>
                  </a:cxn>
                  <a:cxn ang="0">
                    <a:pos x="37" y="187"/>
                  </a:cxn>
                  <a:cxn ang="0">
                    <a:pos x="36" y="232"/>
                  </a:cxn>
                  <a:cxn ang="0">
                    <a:pos x="38" y="232"/>
                  </a:cxn>
                  <a:cxn ang="0">
                    <a:pos x="38" y="224"/>
                  </a:cxn>
                  <a:cxn ang="0">
                    <a:pos x="38" y="149"/>
                  </a:cxn>
                  <a:cxn ang="0">
                    <a:pos x="37" y="115"/>
                  </a:cxn>
                  <a:cxn ang="0">
                    <a:pos x="37" y="115"/>
                  </a:cxn>
                  <a:cxn ang="0">
                    <a:pos x="37" y="115"/>
                  </a:cxn>
                  <a:cxn ang="0">
                    <a:pos x="35" y="10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33" y="101"/>
                  </a:cxn>
                  <a:cxn ang="0">
                    <a:pos x="35" y="101"/>
                  </a:cxn>
                  <a:cxn ang="0">
                    <a:pos x="2" y="0"/>
                  </a:cxn>
                </a:cxnLst>
                <a:rect l="0" t="0" r="r" b="b"/>
                <a:pathLst>
                  <a:path w="38" h="429">
                    <a:moveTo>
                      <a:pt x="26" y="343"/>
                    </a:moveTo>
                    <a:cubicBezTo>
                      <a:pt x="24" y="343"/>
                      <a:pt x="24" y="343"/>
                      <a:pt x="24" y="343"/>
                    </a:cubicBezTo>
                    <a:cubicBezTo>
                      <a:pt x="24" y="345"/>
                      <a:pt x="24" y="348"/>
                      <a:pt x="24" y="352"/>
                    </a:cubicBezTo>
                    <a:cubicBezTo>
                      <a:pt x="24" y="368"/>
                      <a:pt x="23" y="392"/>
                      <a:pt x="20" y="417"/>
                    </a:cubicBezTo>
                    <a:cubicBezTo>
                      <a:pt x="20" y="421"/>
                      <a:pt x="20" y="425"/>
                      <a:pt x="19" y="429"/>
                    </a:cubicBezTo>
                    <a:cubicBezTo>
                      <a:pt x="21" y="429"/>
                      <a:pt x="21" y="429"/>
                      <a:pt x="21" y="429"/>
                    </a:cubicBezTo>
                    <a:cubicBezTo>
                      <a:pt x="22" y="417"/>
                      <a:pt x="23" y="405"/>
                      <a:pt x="24" y="393"/>
                    </a:cubicBezTo>
                    <a:cubicBezTo>
                      <a:pt x="26" y="372"/>
                      <a:pt x="26" y="353"/>
                      <a:pt x="26" y="343"/>
                    </a:cubicBezTo>
                    <a:moveTo>
                      <a:pt x="38" y="233"/>
                    </a:moveTo>
                    <a:cubicBezTo>
                      <a:pt x="36" y="233"/>
                      <a:pt x="36" y="233"/>
                      <a:pt x="36" y="233"/>
                    </a:cubicBezTo>
                    <a:cubicBezTo>
                      <a:pt x="35" y="268"/>
                      <a:pt x="31" y="304"/>
                      <a:pt x="24" y="334"/>
                    </a:cubicBezTo>
                    <a:cubicBezTo>
                      <a:pt x="24" y="335"/>
                      <a:pt x="24" y="335"/>
                      <a:pt x="24" y="335"/>
                    </a:cubicBezTo>
                    <a:cubicBezTo>
                      <a:pt x="24" y="335"/>
                      <a:pt x="24" y="335"/>
                      <a:pt x="24" y="335"/>
                    </a:cubicBezTo>
                    <a:cubicBezTo>
                      <a:pt x="24" y="335"/>
                      <a:pt x="24" y="337"/>
                      <a:pt x="24" y="342"/>
                    </a:cubicBezTo>
                    <a:cubicBezTo>
                      <a:pt x="26" y="342"/>
                      <a:pt x="26" y="342"/>
                      <a:pt x="26" y="342"/>
                    </a:cubicBezTo>
                    <a:cubicBezTo>
                      <a:pt x="26" y="338"/>
                      <a:pt x="26" y="335"/>
                      <a:pt x="26" y="335"/>
                    </a:cubicBezTo>
                    <a:cubicBezTo>
                      <a:pt x="32" y="311"/>
                      <a:pt x="35" y="283"/>
                      <a:pt x="37" y="255"/>
                    </a:cubicBezTo>
                    <a:cubicBezTo>
                      <a:pt x="35" y="255"/>
                      <a:pt x="35" y="255"/>
                      <a:pt x="35" y="255"/>
                    </a:cubicBezTo>
                    <a:cubicBezTo>
                      <a:pt x="35" y="254"/>
                      <a:pt x="35" y="254"/>
                      <a:pt x="35" y="254"/>
                    </a:cubicBezTo>
                    <a:cubicBezTo>
                      <a:pt x="37" y="254"/>
                      <a:pt x="37" y="254"/>
                      <a:pt x="37" y="254"/>
                    </a:cubicBezTo>
                    <a:cubicBezTo>
                      <a:pt x="37" y="247"/>
                      <a:pt x="38" y="240"/>
                      <a:pt x="38" y="233"/>
                    </a:cubicBezTo>
                    <a:moveTo>
                      <a:pt x="35" y="102"/>
                    </a:moveTo>
                    <a:cubicBezTo>
                      <a:pt x="33" y="102"/>
                      <a:pt x="33" y="102"/>
                      <a:pt x="33" y="102"/>
                    </a:cubicBezTo>
                    <a:cubicBezTo>
                      <a:pt x="34" y="106"/>
                      <a:pt x="34" y="111"/>
                      <a:pt x="35" y="115"/>
                    </a:cubicBezTo>
                    <a:cubicBezTo>
                      <a:pt x="35" y="115"/>
                      <a:pt x="35" y="115"/>
                      <a:pt x="35" y="115"/>
                    </a:cubicBezTo>
                    <a:cubicBezTo>
                      <a:pt x="35" y="115"/>
                      <a:pt x="35" y="117"/>
                      <a:pt x="35" y="120"/>
                    </a:cubicBezTo>
                    <a:cubicBezTo>
                      <a:pt x="36" y="131"/>
                      <a:pt x="37" y="156"/>
                      <a:pt x="37" y="187"/>
                    </a:cubicBezTo>
                    <a:cubicBezTo>
                      <a:pt x="37" y="201"/>
                      <a:pt x="37" y="216"/>
                      <a:pt x="36" y="232"/>
                    </a:cubicBezTo>
                    <a:cubicBezTo>
                      <a:pt x="38" y="232"/>
                      <a:pt x="38" y="232"/>
                      <a:pt x="38" y="232"/>
                    </a:cubicBezTo>
                    <a:cubicBezTo>
                      <a:pt x="38" y="229"/>
                      <a:pt x="38" y="226"/>
                      <a:pt x="38" y="224"/>
                    </a:cubicBezTo>
                    <a:cubicBezTo>
                      <a:pt x="38" y="149"/>
                      <a:pt x="38" y="149"/>
                      <a:pt x="38" y="149"/>
                    </a:cubicBezTo>
                    <a:cubicBezTo>
                      <a:pt x="38" y="128"/>
                      <a:pt x="37" y="115"/>
                      <a:pt x="37" y="115"/>
                    </a:cubicBezTo>
                    <a:cubicBezTo>
                      <a:pt x="37" y="115"/>
                      <a:pt x="37" y="115"/>
                      <a:pt x="37" y="115"/>
                    </a:cubicBezTo>
                    <a:cubicBezTo>
                      <a:pt x="37" y="115"/>
                      <a:pt x="37" y="115"/>
                      <a:pt x="37" y="115"/>
                    </a:cubicBezTo>
                    <a:cubicBezTo>
                      <a:pt x="36" y="110"/>
                      <a:pt x="36" y="106"/>
                      <a:pt x="35" y="102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3" y="28"/>
                      <a:pt x="25" y="61"/>
                      <a:pt x="33" y="101"/>
                    </a:cubicBezTo>
                    <a:cubicBezTo>
                      <a:pt x="35" y="101"/>
                      <a:pt x="35" y="101"/>
                      <a:pt x="35" y="101"/>
                    </a:cubicBezTo>
                    <a:cubicBezTo>
                      <a:pt x="27" y="61"/>
                      <a:pt x="15" y="28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54" name="Freeform 102"/>
              <p:cNvSpPr>
                <a:spLocks/>
              </p:cNvSpPr>
              <p:nvPr/>
            </p:nvSpPr>
            <p:spPr bwMode="auto">
              <a:xfrm>
                <a:off x="-685" y="3070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55" name="Freeform 103"/>
              <p:cNvSpPr>
                <a:spLocks/>
              </p:cNvSpPr>
              <p:nvPr/>
            </p:nvSpPr>
            <p:spPr bwMode="auto">
              <a:xfrm>
                <a:off x="-659" y="2861"/>
                <a:ext cx="6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56" name="Freeform 104"/>
              <p:cNvSpPr>
                <a:spLocks noEditPoints="1"/>
              </p:cNvSpPr>
              <p:nvPr/>
            </p:nvSpPr>
            <p:spPr bwMode="auto">
              <a:xfrm>
                <a:off x="-1681" y="1524"/>
                <a:ext cx="990" cy="1876"/>
              </a:xfrm>
              <a:custGeom>
                <a:avLst/>
                <a:gdLst/>
                <a:ahLst/>
                <a:cxnLst>
                  <a:cxn ang="0">
                    <a:pos x="418" y="740"/>
                  </a:cxn>
                  <a:cxn ang="0">
                    <a:pos x="416" y="740"/>
                  </a:cxn>
                  <a:cxn ang="0">
                    <a:pos x="411" y="772"/>
                  </a:cxn>
                  <a:cxn ang="0">
                    <a:pos x="411" y="772"/>
                  </a:cxn>
                  <a:cxn ang="0">
                    <a:pos x="411" y="773"/>
                  </a:cxn>
                  <a:cxn ang="0">
                    <a:pos x="410" y="773"/>
                  </a:cxn>
                  <a:cxn ang="0">
                    <a:pos x="406" y="790"/>
                  </a:cxn>
                  <a:cxn ang="0">
                    <a:pos x="407" y="791"/>
                  </a:cxn>
                  <a:cxn ang="0">
                    <a:pos x="418" y="740"/>
                  </a:cxn>
                  <a:cxn ang="0">
                    <a:pos x="215" y="98"/>
                  </a:cxn>
                  <a:cxn ang="0">
                    <a:pos x="211" y="98"/>
                  </a:cxn>
                  <a:cxn ang="0">
                    <a:pos x="307" y="194"/>
                  </a:cxn>
                  <a:cxn ang="0">
                    <a:pos x="309" y="194"/>
                  </a:cxn>
                  <a:cxn ang="0">
                    <a:pos x="309" y="194"/>
                  </a:cxn>
                  <a:cxn ang="0">
                    <a:pos x="215" y="98"/>
                  </a:cxn>
                  <a:cxn ang="0">
                    <a:pos x="1" y="0"/>
                  </a:cxn>
                  <a:cxn ang="0">
                    <a:pos x="0" y="2"/>
                  </a:cxn>
                  <a:cxn ang="0">
                    <a:pos x="9" y="4"/>
                  </a:cxn>
                  <a:cxn ang="0">
                    <a:pos x="162" y="66"/>
                  </a:cxn>
                  <a:cxn ang="0">
                    <a:pos x="165" y="66"/>
                  </a:cxn>
                  <a:cxn ang="0">
                    <a:pos x="165" y="67"/>
                  </a:cxn>
                  <a:cxn ang="0">
                    <a:pos x="163" y="67"/>
                  </a:cxn>
                  <a:cxn ang="0">
                    <a:pos x="210" y="97"/>
                  </a:cxn>
                  <a:cxn ang="0">
                    <a:pos x="213" y="97"/>
                  </a:cxn>
                  <a:cxn ang="0">
                    <a:pos x="1" y="0"/>
                  </a:cxn>
                </a:cxnLst>
                <a:rect l="0" t="0" r="r" b="b"/>
                <a:pathLst>
                  <a:path w="418" h="791">
                    <a:moveTo>
                      <a:pt x="418" y="740"/>
                    </a:moveTo>
                    <a:cubicBezTo>
                      <a:pt x="416" y="740"/>
                      <a:pt x="416" y="740"/>
                      <a:pt x="416" y="740"/>
                    </a:cubicBezTo>
                    <a:cubicBezTo>
                      <a:pt x="415" y="752"/>
                      <a:pt x="413" y="763"/>
                      <a:pt x="411" y="772"/>
                    </a:cubicBezTo>
                    <a:cubicBezTo>
                      <a:pt x="411" y="772"/>
                      <a:pt x="411" y="772"/>
                      <a:pt x="411" y="772"/>
                    </a:cubicBezTo>
                    <a:cubicBezTo>
                      <a:pt x="411" y="773"/>
                      <a:pt x="411" y="773"/>
                      <a:pt x="411" y="773"/>
                    </a:cubicBezTo>
                    <a:cubicBezTo>
                      <a:pt x="410" y="773"/>
                      <a:pt x="410" y="773"/>
                      <a:pt x="410" y="773"/>
                    </a:cubicBezTo>
                    <a:cubicBezTo>
                      <a:pt x="409" y="780"/>
                      <a:pt x="407" y="786"/>
                      <a:pt x="406" y="790"/>
                    </a:cubicBezTo>
                    <a:cubicBezTo>
                      <a:pt x="407" y="791"/>
                      <a:pt x="407" y="791"/>
                      <a:pt x="407" y="791"/>
                    </a:cubicBezTo>
                    <a:cubicBezTo>
                      <a:pt x="412" y="779"/>
                      <a:pt x="416" y="760"/>
                      <a:pt x="418" y="740"/>
                    </a:cubicBezTo>
                    <a:moveTo>
                      <a:pt x="215" y="98"/>
                    </a:moveTo>
                    <a:cubicBezTo>
                      <a:pt x="211" y="98"/>
                      <a:pt x="211" y="98"/>
                      <a:pt x="211" y="98"/>
                    </a:cubicBezTo>
                    <a:cubicBezTo>
                      <a:pt x="247" y="124"/>
                      <a:pt x="281" y="155"/>
                      <a:pt x="307" y="194"/>
                    </a:cubicBezTo>
                    <a:cubicBezTo>
                      <a:pt x="309" y="194"/>
                      <a:pt x="309" y="194"/>
                      <a:pt x="309" y="194"/>
                    </a:cubicBezTo>
                    <a:cubicBezTo>
                      <a:pt x="309" y="194"/>
                      <a:pt x="309" y="194"/>
                      <a:pt x="309" y="194"/>
                    </a:cubicBezTo>
                    <a:cubicBezTo>
                      <a:pt x="283" y="155"/>
                      <a:pt x="250" y="124"/>
                      <a:pt x="215" y="98"/>
                    </a:cubicBezTo>
                    <a:moveTo>
                      <a:pt x="1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3" y="3"/>
                      <a:pt x="9" y="4"/>
                    </a:cubicBezTo>
                    <a:cubicBezTo>
                      <a:pt x="32" y="10"/>
                      <a:pt x="96" y="29"/>
                      <a:pt x="162" y="66"/>
                    </a:cubicBezTo>
                    <a:cubicBezTo>
                      <a:pt x="165" y="66"/>
                      <a:pt x="165" y="66"/>
                      <a:pt x="165" y="66"/>
                    </a:cubicBezTo>
                    <a:cubicBezTo>
                      <a:pt x="165" y="67"/>
                      <a:pt x="165" y="67"/>
                      <a:pt x="165" y="67"/>
                    </a:cubicBezTo>
                    <a:cubicBezTo>
                      <a:pt x="163" y="67"/>
                      <a:pt x="163" y="67"/>
                      <a:pt x="163" y="67"/>
                    </a:cubicBezTo>
                    <a:cubicBezTo>
                      <a:pt x="179" y="76"/>
                      <a:pt x="195" y="86"/>
                      <a:pt x="210" y="97"/>
                    </a:cubicBezTo>
                    <a:cubicBezTo>
                      <a:pt x="213" y="97"/>
                      <a:pt x="213" y="97"/>
                      <a:pt x="213" y="97"/>
                    </a:cubicBezTo>
                    <a:cubicBezTo>
                      <a:pt x="114" y="25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57" name="Freeform 105"/>
              <p:cNvSpPr>
                <a:spLocks/>
              </p:cNvSpPr>
              <p:nvPr/>
            </p:nvSpPr>
            <p:spPr bwMode="auto">
              <a:xfrm>
                <a:off x="-1184" y="1754"/>
                <a:ext cx="12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5" y="1"/>
                  </a:cxn>
                  <a:cxn ang="0">
                    <a:pos x="3" y="0"/>
                  </a:cxn>
                </a:cxnLst>
                <a:rect l="0" t="0" r="r" b="b"/>
                <a:pathLst>
                  <a:path w="5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1"/>
                      <a:pt x="1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1"/>
                      <a:pt x="4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58" name="Freeform 106"/>
              <p:cNvSpPr>
                <a:spLocks/>
              </p:cNvSpPr>
              <p:nvPr/>
            </p:nvSpPr>
            <p:spPr bwMode="auto">
              <a:xfrm>
                <a:off x="-1297" y="1682"/>
                <a:ext cx="6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59" name="Freeform 107"/>
              <p:cNvSpPr>
                <a:spLocks/>
              </p:cNvSpPr>
              <p:nvPr/>
            </p:nvSpPr>
            <p:spPr bwMode="auto">
              <a:xfrm>
                <a:off x="-656" y="281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60" name="Freeform 108"/>
              <p:cNvSpPr>
                <a:spLocks/>
              </p:cNvSpPr>
              <p:nvPr/>
            </p:nvSpPr>
            <p:spPr bwMode="auto">
              <a:xfrm>
                <a:off x="-697" y="3276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61" name="Freeform 109"/>
              <p:cNvSpPr>
                <a:spLocks/>
              </p:cNvSpPr>
              <p:nvPr/>
            </p:nvSpPr>
            <p:spPr bwMode="auto">
              <a:xfrm>
                <a:off x="-711" y="3355"/>
                <a:ext cx="3" cy="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1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62" name="Freeform 110"/>
              <p:cNvSpPr>
                <a:spLocks/>
              </p:cNvSpPr>
              <p:nvPr/>
            </p:nvSpPr>
            <p:spPr bwMode="auto">
              <a:xfrm>
                <a:off x="-664" y="2498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63" name="Freeform 111"/>
              <p:cNvSpPr>
                <a:spLocks/>
              </p:cNvSpPr>
              <p:nvPr/>
            </p:nvSpPr>
            <p:spPr bwMode="auto">
              <a:xfrm>
                <a:off x="-744" y="2256"/>
                <a:ext cx="8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64" name="Freeform 112"/>
              <p:cNvSpPr>
                <a:spLocks noEditPoints="1"/>
              </p:cNvSpPr>
              <p:nvPr/>
            </p:nvSpPr>
            <p:spPr bwMode="auto">
              <a:xfrm>
                <a:off x="-1099" y="1987"/>
                <a:ext cx="180" cy="270"/>
              </a:xfrm>
              <a:custGeom>
                <a:avLst/>
                <a:gdLst/>
                <a:ahLst/>
                <a:cxnLst>
                  <a:cxn ang="0">
                    <a:pos x="69" y="101"/>
                  </a:cxn>
                  <a:cxn ang="0">
                    <a:pos x="67" y="101"/>
                  </a:cxn>
                  <a:cxn ang="0">
                    <a:pos x="74" y="114"/>
                  </a:cxn>
                  <a:cxn ang="0">
                    <a:pos x="76" y="114"/>
                  </a:cxn>
                  <a:cxn ang="0">
                    <a:pos x="69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8" y="11"/>
                  </a:cxn>
                  <a:cxn ang="0">
                    <a:pos x="66" y="100"/>
                  </a:cxn>
                  <a:cxn ang="0">
                    <a:pos x="68" y="100"/>
                  </a:cxn>
                  <a:cxn ang="0">
                    <a:pos x="10" y="10"/>
                  </a:cxn>
                  <a:cxn ang="0">
                    <a:pos x="2" y="0"/>
                  </a:cxn>
                </a:cxnLst>
                <a:rect l="0" t="0" r="r" b="b"/>
                <a:pathLst>
                  <a:path w="76" h="114">
                    <a:moveTo>
                      <a:pt x="69" y="101"/>
                    </a:moveTo>
                    <a:cubicBezTo>
                      <a:pt x="67" y="101"/>
                      <a:pt x="67" y="101"/>
                      <a:pt x="67" y="101"/>
                    </a:cubicBezTo>
                    <a:cubicBezTo>
                      <a:pt x="69" y="106"/>
                      <a:pt x="72" y="110"/>
                      <a:pt x="74" y="114"/>
                    </a:cubicBezTo>
                    <a:cubicBezTo>
                      <a:pt x="76" y="114"/>
                      <a:pt x="76" y="114"/>
                      <a:pt x="76" y="114"/>
                    </a:cubicBezTo>
                    <a:cubicBezTo>
                      <a:pt x="74" y="110"/>
                      <a:pt x="72" y="106"/>
                      <a:pt x="69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3" y="3"/>
                      <a:pt x="5" y="7"/>
                      <a:pt x="8" y="11"/>
                    </a:cubicBezTo>
                    <a:cubicBezTo>
                      <a:pt x="31" y="44"/>
                      <a:pt x="53" y="77"/>
                      <a:pt x="66" y="100"/>
                    </a:cubicBezTo>
                    <a:cubicBezTo>
                      <a:pt x="68" y="100"/>
                      <a:pt x="68" y="100"/>
                      <a:pt x="68" y="100"/>
                    </a:cubicBezTo>
                    <a:cubicBezTo>
                      <a:pt x="55" y="77"/>
                      <a:pt x="33" y="43"/>
                      <a:pt x="10" y="10"/>
                    </a:cubicBezTo>
                    <a:cubicBezTo>
                      <a:pt x="7" y="7"/>
                      <a:pt x="5" y="3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65" name="Freeform 113"/>
              <p:cNvSpPr>
                <a:spLocks/>
              </p:cNvSpPr>
              <p:nvPr/>
            </p:nvSpPr>
            <p:spPr bwMode="auto">
              <a:xfrm>
                <a:off x="-943" y="2222"/>
                <a:ext cx="8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66" name="Freeform 114"/>
              <p:cNvSpPr>
                <a:spLocks noEditPoints="1"/>
              </p:cNvSpPr>
              <p:nvPr/>
            </p:nvSpPr>
            <p:spPr bwMode="auto">
              <a:xfrm>
                <a:off x="-923" y="2260"/>
                <a:ext cx="108" cy="1016"/>
              </a:xfrm>
              <a:custGeom>
                <a:avLst/>
                <a:gdLst/>
                <a:ahLst/>
                <a:cxnLst>
                  <a:cxn ang="0">
                    <a:pos x="39" y="343"/>
                  </a:cxn>
                  <a:cxn ang="0">
                    <a:pos x="37" y="343"/>
                  </a:cxn>
                  <a:cxn ang="0">
                    <a:pos x="44" y="429"/>
                  </a:cxn>
                  <a:cxn ang="0">
                    <a:pos x="46" y="429"/>
                  </a:cxn>
                  <a:cxn ang="0">
                    <a:pos x="39" y="343"/>
                  </a:cxn>
                  <a:cxn ang="0">
                    <a:pos x="36" y="233"/>
                  </a:cxn>
                  <a:cxn ang="0">
                    <a:pos x="34" y="233"/>
                  </a:cxn>
                  <a:cxn ang="0">
                    <a:pos x="37" y="335"/>
                  </a:cxn>
                  <a:cxn ang="0">
                    <a:pos x="37" y="335"/>
                  </a:cxn>
                  <a:cxn ang="0">
                    <a:pos x="37" y="337"/>
                  </a:cxn>
                  <a:cxn ang="0">
                    <a:pos x="37" y="342"/>
                  </a:cxn>
                  <a:cxn ang="0">
                    <a:pos x="39" y="342"/>
                  </a:cxn>
                  <a:cxn ang="0">
                    <a:pos x="39" y="337"/>
                  </a:cxn>
                  <a:cxn ang="0">
                    <a:pos x="39" y="335"/>
                  </a:cxn>
                  <a:cxn ang="0">
                    <a:pos x="39" y="335"/>
                  </a:cxn>
                  <a:cxn ang="0">
                    <a:pos x="39" y="335"/>
                  </a:cxn>
                  <a:cxn ang="0">
                    <a:pos x="36" y="233"/>
                  </a:cxn>
                  <a:cxn ang="0">
                    <a:pos x="30" y="102"/>
                  </a:cxn>
                  <a:cxn ang="0">
                    <a:pos x="28" y="102"/>
                  </a:cxn>
                  <a:cxn ang="0">
                    <a:pos x="30" y="113"/>
                  </a:cxn>
                  <a:cxn ang="0">
                    <a:pos x="34" y="229"/>
                  </a:cxn>
                  <a:cxn ang="0">
                    <a:pos x="34" y="232"/>
                  </a:cxn>
                  <a:cxn ang="0">
                    <a:pos x="36" y="232"/>
                  </a:cxn>
                  <a:cxn ang="0">
                    <a:pos x="32" y="113"/>
                  </a:cxn>
                  <a:cxn ang="0">
                    <a:pos x="30" y="102"/>
                  </a:cxn>
                  <a:cxn ang="0">
                    <a:pos x="3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28" y="101"/>
                  </a:cxn>
                  <a:cxn ang="0">
                    <a:pos x="30" y="101"/>
                  </a:cxn>
                  <a:cxn ang="0">
                    <a:pos x="4" y="2"/>
                  </a:cxn>
                  <a:cxn ang="0">
                    <a:pos x="3" y="0"/>
                  </a:cxn>
                </a:cxnLst>
                <a:rect l="0" t="0" r="r" b="b"/>
                <a:pathLst>
                  <a:path w="46" h="429">
                    <a:moveTo>
                      <a:pt x="39" y="343"/>
                    </a:moveTo>
                    <a:cubicBezTo>
                      <a:pt x="37" y="343"/>
                      <a:pt x="37" y="343"/>
                      <a:pt x="37" y="343"/>
                    </a:cubicBezTo>
                    <a:cubicBezTo>
                      <a:pt x="38" y="370"/>
                      <a:pt x="41" y="404"/>
                      <a:pt x="44" y="429"/>
                    </a:cubicBezTo>
                    <a:cubicBezTo>
                      <a:pt x="46" y="429"/>
                      <a:pt x="46" y="429"/>
                      <a:pt x="46" y="429"/>
                    </a:cubicBezTo>
                    <a:cubicBezTo>
                      <a:pt x="43" y="404"/>
                      <a:pt x="40" y="370"/>
                      <a:pt x="39" y="343"/>
                    </a:cubicBezTo>
                    <a:moveTo>
                      <a:pt x="36" y="233"/>
                    </a:moveTo>
                    <a:cubicBezTo>
                      <a:pt x="34" y="233"/>
                      <a:pt x="34" y="233"/>
                      <a:pt x="34" y="233"/>
                    </a:cubicBezTo>
                    <a:cubicBezTo>
                      <a:pt x="36" y="286"/>
                      <a:pt x="37" y="335"/>
                      <a:pt x="37" y="335"/>
                    </a:cubicBezTo>
                    <a:cubicBezTo>
                      <a:pt x="37" y="335"/>
                      <a:pt x="37" y="335"/>
                      <a:pt x="37" y="335"/>
                    </a:cubicBezTo>
                    <a:cubicBezTo>
                      <a:pt x="37" y="336"/>
                      <a:pt x="37" y="336"/>
                      <a:pt x="37" y="337"/>
                    </a:cubicBezTo>
                    <a:cubicBezTo>
                      <a:pt x="37" y="338"/>
                      <a:pt x="37" y="340"/>
                      <a:pt x="37" y="342"/>
                    </a:cubicBezTo>
                    <a:cubicBezTo>
                      <a:pt x="39" y="342"/>
                      <a:pt x="39" y="342"/>
                      <a:pt x="39" y="342"/>
                    </a:cubicBezTo>
                    <a:cubicBezTo>
                      <a:pt x="39" y="340"/>
                      <a:pt x="39" y="338"/>
                      <a:pt x="39" y="337"/>
                    </a:cubicBezTo>
                    <a:cubicBezTo>
                      <a:pt x="39" y="336"/>
                      <a:pt x="39" y="336"/>
                      <a:pt x="39" y="335"/>
                    </a:cubicBezTo>
                    <a:cubicBezTo>
                      <a:pt x="39" y="335"/>
                      <a:pt x="39" y="335"/>
                      <a:pt x="39" y="335"/>
                    </a:cubicBezTo>
                    <a:cubicBezTo>
                      <a:pt x="39" y="335"/>
                      <a:pt x="39" y="335"/>
                      <a:pt x="39" y="335"/>
                    </a:cubicBezTo>
                    <a:cubicBezTo>
                      <a:pt x="39" y="335"/>
                      <a:pt x="38" y="286"/>
                      <a:pt x="36" y="233"/>
                    </a:cubicBezTo>
                    <a:moveTo>
                      <a:pt x="30" y="102"/>
                    </a:moveTo>
                    <a:cubicBezTo>
                      <a:pt x="28" y="102"/>
                      <a:pt x="28" y="102"/>
                      <a:pt x="28" y="102"/>
                    </a:cubicBezTo>
                    <a:cubicBezTo>
                      <a:pt x="29" y="107"/>
                      <a:pt x="29" y="111"/>
                      <a:pt x="30" y="113"/>
                    </a:cubicBezTo>
                    <a:cubicBezTo>
                      <a:pt x="30" y="119"/>
                      <a:pt x="32" y="175"/>
                      <a:pt x="34" y="229"/>
                    </a:cubicBezTo>
                    <a:cubicBezTo>
                      <a:pt x="34" y="230"/>
                      <a:pt x="34" y="231"/>
                      <a:pt x="34" y="232"/>
                    </a:cubicBezTo>
                    <a:cubicBezTo>
                      <a:pt x="36" y="232"/>
                      <a:pt x="36" y="232"/>
                      <a:pt x="36" y="232"/>
                    </a:cubicBezTo>
                    <a:cubicBezTo>
                      <a:pt x="34" y="177"/>
                      <a:pt x="32" y="119"/>
                      <a:pt x="32" y="113"/>
                    </a:cubicBezTo>
                    <a:cubicBezTo>
                      <a:pt x="31" y="111"/>
                      <a:pt x="31" y="107"/>
                      <a:pt x="30" y="102"/>
                    </a:cubicBezTo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2"/>
                      <a:pt x="2" y="2"/>
                    </a:cubicBezTo>
                    <a:cubicBezTo>
                      <a:pt x="14" y="28"/>
                      <a:pt x="24" y="77"/>
                      <a:pt x="28" y="101"/>
                    </a:cubicBezTo>
                    <a:cubicBezTo>
                      <a:pt x="30" y="101"/>
                      <a:pt x="30" y="101"/>
                      <a:pt x="30" y="101"/>
                    </a:cubicBezTo>
                    <a:cubicBezTo>
                      <a:pt x="26" y="77"/>
                      <a:pt x="16" y="28"/>
                      <a:pt x="4" y="2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67" name="Freeform 115"/>
              <p:cNvSpPr>
                <a:spLocks/>
              </p:cNvSpPr>
              <p:nvPr/>
            </p:nvSpPr>
            <p:spPr bwMode="auto">
              <a:xfrm>
                <a:off x="-835" y="3070"/>
                <a:ext cx="3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68" name="Freeform 116"/>
              <p:cNvSpPr>
                <a:spLocks noEditPoints="1"/>
              </p:cNvSpPr>
              <p:nvPr/>
            </p:nvSpPr>
            <p:spPr bwMode="auto">
              <a:xfrm>
                <a:off x="-1711" y="1524"/>
                <a:ext cx="905" cy="1833"/>
              </a:xfrm>
              <a:custGeom>
                <a:avLst/>
                <a:gdLst/>
                <a:ahLst/>
                <a:cxnLst>
                  <a:cxn ang="0">
                    <a:pos x="379" y="740"/>
                  </a:cxn>
                  <a:cxn ang="0">
                    <a:pos x="377" y="740"/>
                  </a:cxn>
                  <a:cxn ang="0">
                    <a:pos x="381" y="772"/>
                  </a:cxn>
                  <a:cxn ang="0">
                    <a:pos x="383" y="772"/>
                  </a:cxn>
                  <a:cxn ang="0">
                    <a:pos x="383" y="773"/>
                  </a:cxn>
                  <a:cxn ang="0">
                    <a:pos x="383" y="773"/>
                  </a:cxn>
                  <a:cxn ang="0">
                    <a:pos x="382" y="760"/>
                  </a:cxn>
                  <a:cxn ang="0">
                    <a:pos x="379" y="740"/>
                  </a:cxn>
                  <a:cxn ang="0">
                    <a:pos x="179" y="98"/>
                  </a:cxn>
                  <a:cxn ang="0">
                    <a:pos x="176" y="98"/>
                  </a:cxn>
                  <a:cxn ang="0">
                    <a:pos x="189" y="109"/>
                  </a:cxn>
                  <a:cxn ang="0">
                    <a:pos x="258" y="194"/>
                  </a:cxn>
                  <a:cxn ang="0">
                    <a:pos x="261" y="194"/>
                  </a:cxn>
                  <a:cxn ang="0">
                    <a:pos x="190" y="107"/>
                  </a:cxn>
                  <a:cxn ang="0">
                    <a:pos x="179" y="98"/>
                  </a:cxn>
                  <a:cxn ang="0">
                    <a:pos x="1" y="0"/>
                  </a:cxn>
                  <a:cxn ang="0">
                    <a:pos x="0" y="2"/>
                  </a:cxn>
                  <a:cxn ang="0">
                    <a:pos x="175" y="97"/>
                  </a:cxn>
                  <a:cxn ang="0">
                    <a:pos x="178" y="97"/>
                  </a:cxn>
                  <a:cxn ang="0">
                    <a:pos x="1" y="0"/>
                  </a:cxn>
                </a:cxnLst>
                <a:rect l="0" t="0" r="r" b="b"/>
                <a:pathLst>
                  <a:path w="383" h="773">
                    <a:moveTo>
                      <a:pt x="379" y="740"/>
                    </a:moveTo>
                    <a:cubicBezTo>
                      <a:pt x="377" y="740"/>
                      <a:pt x="377" y="740"/>
                      <a:pt x="377" y="740"/>
                    </a:cubicBezTo>
                    <a:cubicBezTo>
                      <a:pt x="379" y="757"/>
                      <a:pt x="381" y="769"/>
                      <a:pt x="381" y="772"/>
                    </a:cubicBezTo>
                    <a:cubicBezTo>
                      <a:pt x="383" y="772"/>
                      <a:pt x="383" y="772"/>
                      <a:pt x="383" y="772"/>
                    </a:cubicBezTo>
                    <a:cubicBezTo>
                      <a:pt x="383" y="773"/>
                      <a:pt x="383" y="773"/>
                      <a:pt x="383" y="773"/>
                    </a:cubicBezTo>
                    <a:cubicBezTo>
                      <a:pt x="383" y="773"/>
                      <a:pt x="383" y="773"/>
                      <a:pt x="383" y="773"/>
                    </a:cubicBezTo>
                    <a:cubicBezTo>
                      <a:pt x="383" y="773"/>
                      <a:pt x="383" y="768"/>
                      <a:pt x="382" y="760"/>
                    </a:cubicBezTo>
                    <a:cubicBezTo>
                      <a:pt x="381" y="755"/>
                      <a:pt x="380" y="748"/>
                      <a:pt x="379" y="740"/>
                    </a:cubicBezTo>
                    <a:moveTo>
                      <a:pt x="179" y="98"/>
                    </a:moveTo>
                    <a:cubicBezTo>
                      <a:pt x="176" y="98"/>
                      <a:pt x="176" y="98"/>
                      <a:pt x="176" y="98"/>
                    </a:cubicBezTo>
                    <a:cubicBezTo>
                      <a:pt x="181" y="102"/>
                      <a:pt x="185" y="106"/>
                      <a:pt x="189" y="109"/>
                    </a:cubicBezTo>
                    <a:cubicBezTo>
                      <a:pt x="204" y="122"/>
                      <a:pt x="231" y="156"/>
                      <a:pt x="258" y="194"/>
                    </a:cubicBezTo>
                    <a:cubicBezTo>
                      <a:pt x="261" y="194"/>
                      <a:pt x="261" y="194"/>
                      <a:pt x="261" y="194"/>
                    </a:cubicBezTo>
                    <a:cubicBezTo>
                      <a:pt x="233" y="156"/>
                      <a:pt x="206" y="121"/>
                      <a:pt x="190" y="107"/>
                    </a:cubicBezTo>
                    <a:cubicBezTo>
                      <a:pt x="187" y="104"/>
                      <a:pt x="183" y="101"/>
                      <a:pt x="179" y="98"/>
                    </a:cubicBezTo>
                    <a:moveTo>
                      <a:pt x="1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82" y="22"/>
                      <a:pt x="139" y="66"/>
                      <a:pt x="175" y="97"/>
                    </a:cubicBezTo>
                    <a:cubicBezTo>
                      <a:pt x="178" y="97"/>
                      <a:pt x="178" y="97"/>
                      <a:pt x="178" y="97"/>
                    </a:cubicBezTo>
                    <a:cubicBezTo>
                      <a:pt x="142" y="66"/>
                      <a:pt x="84" y="2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69" name="Freeform 117"/>
              <p:cNvSpPr>
                <a:spLocks/>
              </p:cNvSpPr>
              <p:nvPr/>
            </p:nvSpPr>
            <p:spPr bwMode="auto">
              <a:xfrm>
                <a:off x="-1297" y="1754"/>
                <a:ext cx="9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4" y="1"/>
                  </a:cxn>
                  <a:cxn ang="0">
                    <a:pos x="3" y="0"/>
                  </a:cxn>
                </a:cxnLst>
                <a:rect l="0" t="0" r="r" b="b"/>
                <a:pathLst>
                  <a:path w="4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70" name="Freeform 118"/>
              <p:cNvSpPr>
                <a:spLocks/>
              </p:cNvSpPr>
              <p:nvPr/>
            </p:nvSpPr>
            <p:spPr bwMode="auto">
              <a:xfrm>
                <a:off x="-843" y="281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71" name="Freeform 119"/>
              <p:cNvSpPr>
                <a:spLocks/>
              </p:cNvSpPr>
              <p:nvPr/>
            </p:nvSpPr>
            <p:spPr bwMode="auto">
              <a:xfrm>
                <a:off x="-820" y="3276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72" name="Freeform 120"/>
              <p:cNvSpPr>
                <a:spLocks/>
              </p:cNvSpPr>
              <p:nvPr/>
            </p:nvSpPr>
            <p:spPr bwMode="auto">
              <a:xfrm>
                <a:off x="-809" y="3357"/>
                <a:ext cx="2" cy="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73" name="Freeform 121"/>
              <p:cNvSpPr>
                <a:spLocks/>
              </p:cNvSpPr>
              <p:nvPr/>
            </p:nvSpPr>
            <p:spPr bwMode="auto">
              <a:xfrm>
                <a:off x="-809" y="3355"/>
                <a:ext cx="3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74" name="Freeform 122"/>
              <p:cNvSpPr>
                <a:spLocks/>
              </p:cNvSpPr>
              <p:nvPr/>
            </p:nvSpPr>
            <p:spPr bwMode="auto">
              <a:xfrm>
                <a:off x="-858" y="2498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75" name="Freeform 123"/>
              <p:cNvSpPr>
                <a:spLocks/>
              </p:cNvSpPr>
              <p:nvPr/>
            </p:nvSpPr>
            <p:spPr bwMode="auto">
              <a:xfrm>
                <a:off x="-923" y="2256"/>
                <a:ext cx="6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76" name="Freeform 124"/>
              <p:cNvSpPr>
                <a:spLocks noEditPoints="1"/>
              </p:cNvSpPr>
              <p:nvPr/>
            </p:nvSpPr>
            <p:spPr bwMode="auto">
              <a:xfrm>
                <a:off x="-2699" y="2452"/>
                <a:ext cx="106" cy="824"/>
              </a:xfrm>
              <a:custGeom>
                <a:avLst/>
                <a:gdLst/>
                <a:ahLst/>
                <a:cxnLst>
                  <a:cxn ang="0">
                    <a:pos x="16" y="262"/>
                  </a:cxn>
                  <a:cxn ang="0">
                    <a:pos x="14" y="262"/>
                  </a:cxn>
                  <a:cxn ang="0">
                    <a:pos x="14" y="266"/>
                  </a:cxn>
                  <a:cxn ang="0">
                    <a:pos x="0" y="348"/>
                  </a:cxn>
                  <a:cxn ang="0">
                    <a:pos x="2" y="348"/>
                  </a:cxn>
                  <a:cxn ang="0">
                    <a:pos x="16" y="262"/>
                  </a:cxn>
                  <a:cxn ang="0">
                    <a:pos x="34" y="152"/>
                  </a:cxn>
                  <a:cxn ang="0">
                    <a:pos x="32" y="152"/>
                  </a:cxn>
                  <a:cxn ang="0">
                    <a:pos x="20" y="239"/>
                  </a:cxn>
                  <a:cxn ang="0">
                    <a:pos x="16" y="256"/>
                  </a:cxn>
                  <a:cxn ang="0">
                    <a:pos x="15" y="260"/>
                  </a:cxn>
                  <a:cxn ang="0">
                    <a:pos x="15" y="260"/>
                  </a:cxn>
                  <a:cxn ang="0">
                    <a:pos x="15" y="261"/>
                  </a:cxn>
                  <a:cxn ang="0">
                    <a:pos x="15" y="261"/>
                  </a:cxn>
                  <a:cxn ang="0">
                    <a:pos x="15" y="261"/>
                  </a:cxn>
                  <a:cxn ang="0">
                    <a:pos x="17" y="261"/>
                  </a:cxn>
                  <a:cxn ang="0">
                    <a:pos x="34" y="152"/>
                  </a:cxn>
                  <a:cxn ang="0">
                    <a:pos x="43" y="21"/>
                  </a:cxn>
                  <a:cxn ang="0">
                    <a:pos x="41" y="21"/>
                  </a:cxn>
                  <a:cxn ang="0">
                    <a:pos x="43" y="52"/>
                  </a:cxn>
                  <a:cxn ang="0">
                    <a:pos x="43" y="55"/>
                  </a:cxn>
                  <a:cxn ang="0">
                    <a:pos x="43" y="55"/>
                  </a:cxn>
                  <a:cxn ang="0">
                    <a:pos x="42" y="66"/>
                  </a:cxn>
                  <a:cxn ang="0">
                    <a:pos x="32" y="151"/>
                  </a:cxn>
                  <a:cxn ang="0">
                    <a:pos x="34" y="151"/>
                  </a:cxn>
                  <a:cxn ang="0">
                    <a:pos x="45" y="55"/>
                  </a:cxn>
                  <a:cxn ang="0">
                    <a:pos x="45" y="55"/>
                  </a:cxn>
                  <a:cxn ang="0">
                    <a:pos x="45" y="52"/>
                  </a:cxn>
                  <a:cxn ang="0">
                    <a:pos x="43" y="21"/>
                  </a:cxn>
                  <a:cxn ang="0">
                    <a:pos x="41" y="0"/>
                  </a:cxn>
                  <a:cxn ang="0">
                    <a:pos x="41" y="1"/>
                  </a:cxn>
                  <a:cxn ang="0">
                    <a:pos x="39" y="1"/>
                  </a:cxn>
                  <a:cxn ang="0">
                    <a:pos x="39" y="1"/>
                  </a:cxn>
                  <a:cxn ang="0">
                    <a:pos x="41" y="20"/>
                  </a:cxn>
                  <a:cxn ang="0">
                    <a:pos x="43" y="20"/>
                  </a:cxn>
                  <a:cxn ang="0">
                    <a:pos x="41" y="0"/>
                  </a:cxn>
                </a:cxnLst>
                <a:rect l="0" t="0" r="r" b="b"/>
                <a:pathLst>
                  <a:path w="45" h="348">
                    <a:moveTo>
                      <a:pt x="16" y="262"/>
                    </a:moveTo>
                    <a:cubicBezTo>
                      <a:pt x="14" y="262"/>
                      <a:pt x="14" y="262"/>
                      <a:pt x="14" y="262"/>
                    </a:cubicBezTo>
                    <a:cubicBezTo>
                      <a:pt x="14" y="263"/>
                      <a:pt x="14" y="264"/>
                      <a:pt x="14" y="266"/>
                    </a:cubicBezTo>
                    <a:cubicBezTo>
                      <a:pt x="13" y="278"/>
                      <a:pt x="9" y="309"/>
                      <a:pt x="0" y="348"/>
                    </a:cubicBezTo>
                    <a:cubicBezTo>
                      <a:pt x="2" y="348"/>
                      <a:pt x="2" y="348"/>
                      <a:pt x="2" y="348"/>
                    </a:cubicBezTo>
                    <a:cubicBezTo>
                      <a:pt x="13" y="303"/>
                      <a:pt x="16" y="268"/>
                      <a:pt x="16" y="262"/>
                    </a:cubicBezTo>
                    <a:moveTo>
                      <a:pt x="34" y="152"/>
                    </a:moveTo>
                    <a:cubicBezTo>
                      <a:pt x="32" y="152"/>
                      <a:pt x="32" y="152"/>
                      <a:pt x="32" y="152"/>
                    </a:cubicBezTo>
                    <a:cubicBezTo>
                      <a:pt x="28" y="195"/>
                      <a:pt x="23" y="222"/>
                      <a:pt x="20" y="239"/>
                    </a:cubicBezTo>
                    <a:cubicBezTo>
                      <a:pt x="18" y="247"/>
                      <a:pt x="17" y="252"/>
                      <a:pt x="16" y="256"/>
                    </a:cubicBezTo>
                    <a:cubicBezTo>
                      <a:pt x="16" y="258"/>
                      <a:pt x="15" y="259"/>
                      <a:pt x="15" y="260"/>
                    </a:cubicBezTo>
                    <a:cubicBezTo>
                      <a:pt x="15" y="260"/>
                      <a:pt x="15" y="260"/>
                      <a:pt x="15" y="260"/>
                    </a:cubicBezTo>
                    <a:cubicBezTo>
                      <a:pt x="15" y="261"/>
                      <a:pt x="15" y="261"/>
                      <a:pt x="15" y="261"/>
                    </a:cubicBezTo>
                    <a:cubicBezTo>
                      <a:pt x="15" y="261"/>
                      <a:pt x="15" y="261"/>
                      <a:pt x="15" y="261"/>
                    </a:cubicBezTo>
                    <a:cubicBezTo>
                      <a:pt x="15" y="261"/>
                      <a:pt x="15" y="261"/>
                      <a:pt x="15" y="261"/>
                    </a:cubicBezTo>
                    <a:cubicBezTo>
                      <a:pt x="17" y="261"/>
                      <a:pt x="17" y="261"/>
                      <a:pt x="17" y="261"/>
                    </a:cubicBezTo>
                    <a:cubicBezTo>
                      <a:pt x="18" y="257"/>
                      <a:pt x="26" y="232"/>
                      <a:pt x="34" y="152"/>
                    </a:cubicBezTo>
                    <a:moveTo>
                      <a:pt x="43" y="21"/>
                    </a:moveTo>
                    <a:cubicBezTo>
                      <a:pt x="41" y="21"/>
                      <a:pt x="41" y="21"/>
                      <a:pt x="41" y="21"/>
                    </a:cubicBezTo>
                    <a:cubicBezTo>
                      <a:pt x="42" y="33"/>
                      <a:pt x="43" y="45"/>
                      <a:pt x="43" y="52"/>
                    </a:cubicBezTo>
                    <a:cubicBezTo>
                      <a:pt x="43" y="53"/>
                      <a:pt x="43" y="54"/>
                      <a:pt x="43" y="55"/>
                    </a:cubicBezTo>
                    <a:cubicBezTo>
                      <a:pt x="43" y="55"/>
                      <a:pt x="43" y="55"/>
                      <a:pt x="43" y="55"/>
                    </a:cubicBezTo>
                    <a:cubicBezTo>
                      <a:pt x="43" y="55"/>
                      <a:pt x="43" y="59"/>
                      <a:pt x="42" y="66"/>
                    </a:cubicBezTo>
                    <a:cubicBezTo>
                      <a:pt x="41" y="86"/>
                      <a:pt x="37" y="130"/>
                      <a:pt x="32" y="151"/>
                    </a:cubicBezTo>
                    <a:cubicBezTo>
                      <a:pt x="34" y="151"/>
                      <a:pt x="34" y="151"/>
                      <a:pt x="34" y="151"/>
                    </a:cubicBezTo>
                    <a:cubicBezTo>
                      <a:pt x="41" y="122"/>
                      <a:pt x="45" y="55"/>
                      <a:pt x="45" y="55"/>
                    </a:cubicBezTo>
                    <a:cubicBezTo>
                      <a:pt x="45" y="55"/>
                      <a:pt x="45" y="55"/>
                      <a:pt x="45" y="55"/>
                    </a:cubicBezTo>
                    <a:cubicBezTo>
                      <a:pt x="45" y="54"/>
                      <a:pt x="45" y="53"/>
                      <a:pt x="45" y="52"/>
                    </a:cubicBezTo>
                    <a:cubicBezTo>
                      <a:pt x="45" y="45"/>
                      <a:pt x="44" y="33"/>
                      <a:pt x="43" y="21"/>
                    </a:cubicBezTo>
                    <a:moveTo>
                      <a:pt x="41" y="0"/>
                    </a:moveTo>
                    <a:cubicBezTo>
                      <a:pt x="41" y="1"/>
                      <a:pt x="41" y="1"/>
                      <a:pt x="41" y="1"/>
                    </a:cubicBezTo>
                    <a:cubicBezTo>
                      <a:pt x="39" y="1"/>
                      <a:pt x="39" y="1"/>
                      <a:pt x="39" y="1"/>
                    </a:cubicBezTo>
                    <a:cubicBezTo>
                      <a:pt x="39" y="1"/>
                      <a:pt x="39" y="1"/>
                      <a:pt x="39" y="1"/>
                    </a:cubicBezTo>
                    <a:cubicBezTo>
                      <a:pt x="39" y="6"/>
                      <a:pt x="40" y="13"/>
                      <a:pt x="41" y="20"/>
                    </a:cubicBezTo>
                    <a:cubicBezTo>
                      <a:pt x="43" y="20"/>
                      <a:pt x="43" y="20"/>
                      <a:pt x="43" y="20"/>
                    </a:cubicBezTo>
                    <a:cubicBezTo>
                      <a:pt x="42" y="13"/>
                      <a:pt x="41" y="6"/>
                      <a:pt x="4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77" name="Freeform 125"/>
              <p:cNvSpPr>
                <a:spLocks/>
              </p:cNvSpPr>
              <p:nvPr/>
            </p:nvSpPr>
            <p:spPr bwMode="auto">
              <a:xfrm>
                <a:off x="-2667" y="3070"/>
                <a:ext cx="8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78" name="Freeform 126"/>
              <p:cNvSpPr>
                <a:spLocks/>
              </p:cNvSpPr>
              <p:nvPr/>
            </p:nvSpPr>
            <p:spPr bwMode="auto">
              <a:xfrm>
                <a:off x="-2796" y="3278"/>
                <a:ext cx="102" cy="259"/>
              </a:xfrm>
              <a:custGeom>
                <a:avLst/>
                <a:gdLst/>
                <a:ahLst/>
                <a:cxnLst>
                  <a:cxn ang="0">
                    <a:pos x="43" y="0"/>
                  </a:cxn>
                  <a:cxn ang="0">
                    <a:pos x="40" y="0"/>
                  </a:cxn>
                  <a:cxn ang="0">
                    <a:pos x="0" y="108"/>
                  </a:cxn>
                  <a:cxn ang="0">
                    <a:pos x="1" y="109"/>
                  </a:cxn>
                  <a:cxn ang="0">
                    <a:pos x="2" y="109"/>
                  </a:cxn>
                  <a:cxn ang="0">
                    <a:pos x="33" y="33"/>
                  </a:cxn>
                  <a:cxn ang="0">
                    <a:pos x="33" y="32"/>
                  </a:cxn>
                  <a:cxn ang="0">
                    <a:pos x="34" y="32"/>
                  </a:cxn>
                  <a:cxn ang="0">
                    <a:pos x="43" y="0"/>
                  </a:cxn>
                </a:cxnLst>
                <a:rect l="0" t="0" r="r" b="b"/>
                <a:pathLst>
                  <a:path w="43" h="109">
                    <a:moveTo>
                      <a:pt x="43" y="0"/>
                    </a:moveTo>
                    <a:cubicBezTo>
                      <a:pt x="40" y="0"/>
                      <a:pt x="40" y="0"/>
                      <a:pt x="40" y="0"/>
                    </a:cubicBezTo>
                    <a:cubicBezTo>
                      <a:pt x="32" y="34"/>
                      <a:pt x="19" y="73"/>
                      <a:pt x="0" y="108"/>
                    </a:cubicBezTo>
                    <a:cubicBezTo>
                      <a:pt x="1" y="109"/>
                      <a:pt x="1" y="109"/>
                      <a:pt x="1" y="109"/>
                    </a:cubicBezTo>
                    <a:cubicBezTo>
                      <a:pt x="2" y="109"/>
                      <a:pt x="2" y="109"/>
                      <a:pt x="2" y="109"/>
                    </a:cubicBezTo>
                    <a:cubicBezTo>
                      <a:pt x="15" y="84"/>
                      <a:pt x="26" y="58"/>
                      <a:pt x="33" y="33"/>
                    </a:cubicBezTo>
                    <a:cubicBezTo>
                      <a:pt x="33" y="32"/>
                      <a:pt x="33" y="32"/>
                      <a:pt x="33" y="32"/>
                    </a:cubicBezTo>
                    <a:cubicBezTo>
                      <a:pt x="34" y="32"/>
                      <a:pt x="34" y="32"/>
                      <a:pt x="34" y="32"/>
                    </a:cubicBezTo>
                    <a:cubicBezTo>
                      <a:pt x="37" y="21"/>
                      <a:pt x="40" y="10"/>
                      <a:pt x="4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79" name="Freeform 127"/>
              <p:cNvSpPr>
                <a:spLocks/>
              </p:cNvSpPr>
              <p:nvPr/>
            </p:nvSpPr>
            <p:spPr bwMode="auto">
              <a:xfrm>
                <a:off x="-2623" y="2810"/>
                <a:ext cx="3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80" name="Freeform 128"/>
              <p:cNvSpPr>
                <a:spLocks/>
              </p:cNvSpPr>
              <p:nvPr/>
            </p:nvSpPr>
            <p:spPr bwMode="auto">
              <a:xfrm>
                <a:off x="-2702" y="3276"/>
                <a:ext cx="8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81" name="Freeform 129"/>
              <p:cNvSpPr>
                <a:spLocks/>
              </p:cNvSpPr>
              <p:nvPr/>
            </p:nvSpPr>
            <p:spPr bwMode="auto">
              <a:xfrm>
                <a:off x="-2718" y="3355"/>
                <a:ext cx="2" cy="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82" name="Freeform 130"/>
              <p:cNvSpPr>
                <a:spLocks/>
              </p:cNvSpPr>
              <p:nvPr/>
            </p:nvSpPr>
            <p:spPr bwMode="auto">
              <a:xfrm>
                <a:off x="-2601" y="2498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83" name="Freeform 131"/>
              <p:cNvSpPr>
                <a:spLocks noEditPoints="1"/>
              </p:cNvSpPr>
              <p:nvPr/>
            </p:nvSpPr>
            <p:spPr bwMode="auto">
              <a:xfrm>
                <a:off x="-3769" y="1987"/>
                <a:ext cx="118" cy="270"/>
              </a:xfrm>
              <a:custGeom>
                <a:avLst/>
                <a:gdLst/>
                <a:ahLst/>
                <a:cxnLst>
                  <a:cxn ang="0">
                    <a:pos x="6" y="101"/>
                  </a:cxn>
                  <a:cxn ang="0">
                    <a:pos x="4" y="101"/>
                  </a:cxn>
                  <a:cxn ang="0">
                    <a:pos x="0" y="114"/>
                  </a:cxn>
                  <a:cxn ang="0">
                    <a:pos x="3" y="114"/>
                  </a:cxn>
                  <a:cxn ang="0">
                    <a:pos x="6" y="101"/>
                  </a:cxn>
                  <a:cxn ang="0">
                    <a:pos x="50" y="0"/>
                  </a:cxn>
                  <a:cxn ang="0">
                    <a:pos x="48" y="0"/>
                  </a:cxn>
                  <a:cxn ang="0">
                    <a:pos x="4" y="100"/>
                  </a:cxn>
                  <a:cxn ang="0">
                    <a:pos x="6" y="100"/>
                  </a:cxn>
                  <a:cxn ang="0">
                    <a:pos x="21" y="55"/>
                  </a:cxn>
                  <a:cxn ang="0">
                    <a:pos x="41" y="13"/>
                  </a:cxn>
                  <a:cxn ang="0">
                    <a:pos x="48" y="3"/>
                  </a:cxn>
                  <a:cxn ang="0">
                    <a:pos x="50" y="0"/>
                  </a:cxn>
                  <a:cxn ang="0">
                    <a:pos x="50" y="0"/>
                  </a:cxn>
                </a:cxnLst>
                <a:rect l="0" t="0" r="r" b="b"/>
                <a:pathLst>
                  <a:path w="50" h="114">
                    <a:moveTo>
                      <a:pt x="6" y="101"/>
                    </a:moveTo>
                    <a:cubicBezTo>
                      <a:pt x="4" y="101"/>
                      <a:pt x="4" y="101"/>
                      <a:pt x="4" y="101"/>
                    </a:cubicBezTo>
                    <a:cubicBezTo>
                      <a:pt x="3" y="105"/>
                      <a:pt x="1" y="109"/>
                      <a:pt x="0" y="114"/>
                    </a:cubicBezTo>
                    <a:cubicBezTo>
                      <a:pt x="3" y="114"/>
                      <a:pt x="3" y="114"/>
                      <a:pt x="3" y="114"/>
                    </a:cubicBezTo>
                    <a:cubicBezTo>
                      <a:pt x="4" y="109"/>
                      <a:pt x="5" y="105"/>
                      <a:pt x="6" y="101"/>
                    </a:cubicBezTo>
                    <a:moveTo>
                      <a:pt x="50" y="0"/>
                    </a:moveTo>
                    <a:cubicBezTo>
                      <a:pt x="48" y="0"/>
                      <a:pt x="48" y="0"/>
                      <a:pt x="48" y="0"/>
                    </a:cubicBezTo>
                    <a:cubicBezTo>
                      <a:pt x="43" y="6"/>
                      <a:pt x="20" y="40"/>
                      <a:pt x="4" y="100"/>
                    </a:cubicBezTo>
                    <a:cubicBezTo>
                      <a:pt x="6" y="100"/>
                      <a:pt x="6" y="100"/>
                      <a:pt x="6" y="100"/>
                    </a:cubicBezTo>
                    <a:cubicBezTo>
                      <a:pt x="11" y="83"/>
                      <a:pt x="16" y="68"/>
                      <a:pt x="21" y="55"/>
                    </a:cubicBezTo>
                    <a:cubicBezTo>
                      <a:pt x="28" y="36"/>
                      <a:pt x="36" y="22"/>
                      <a:pt x="41" y="13"/>
                    </a:cubicBezTo>
                    <a:cubicBezTo>
                      <a:pt x="44" y="9"/>
                      <a:pt x="46" y="5"/>
                      <a:pt x="48" y="3"/>
                    </a:cubicBezTo>
                    <a:cubicBezTo>
                      <a:pt x="49" y="2"/>
                      <a:pt x="49" y="1"/>
                      <a:pt x="50" y="0"/>
                    </a:cubicBezTo>
                    <a:cubicBezTo>
                      <a:pt x="50" y="0"/>
                      <a:pt x="50" y="0"/>
                      <a:pt x="5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84" name="Freeform 132"/>
              <p:cNvSpPr>
                <a:spLocks/>
              </p:cNvSpPr>
              <p:nvPr/>
            </p:nvSpPr>
            <p:spPr bwMode="auto">
              <a:xfrm>
                <a:off x="-3760" y="2222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85" name="Freeform 133"/>
              <p:cNvSpPr>
                <a:spLocks noEditPoints="1"/>
              </p:cNvSpPr>
              <p:nvPr/>
            </p:nvSpPr>
            <p:spPr bwMode="auto">
              <a:xfrm>
                <a:off x="-3655" y="1522"/>
                <a:ext cx="329" cy="462"/>
              </a:xfrm>
              <a:custGeom>
                <a:avLst/>
                <a:gdLst/>
                <a:ahLst/>
                <a:cxnLst>
                  <a:cxn ang="0">
                    <a:pos x="41" y="99"/>
                  </a:cxn>
                  <a:cxn ang="0">
                    <a:pos x="38" y="99"/>
                  </a:cxn>
                  <a:cxn ang="0">
                    <a:pos x="1" y="194"/>
                  </a:cxn>
                  <a:cxn ang="0">
                    <a:pos x="0" y="195"/>
                  </a:cxn>
                  <a:cxn ang="0">
                    <a:pos x="3" y="195"/>
                  </a:cxn>
                  <a:cxn ang="0">
                    <a:pos x="41" y="99"/>
                  </a:cxn>
                  <a:cxn ang="0">
                    <a:pos x="63" y="68"/>
                  </a:cxn>
                  <a:cxn ang="0">
                    <a:pos x="60" y="68"/>
                  </a:cxn>
                  <a:cxn ang="0">
                    <a:pos x="39" y="98"/>
                  </a:cxn>
                  <a:cxn ang="0">
                    <a:pos x="41" y="98"/>
                  </a:cxn>
                  <a:cxn ang="0">
                    <a:pos x="63" y="68"/>
                  </a:cxn>
                  <a:cxn ang="0">
                    <a:pos x="138" y="0"/>
                  </a:cxn>
                  <a:cxn ang="0">
                    <a:pos x="138" y="0"/>
                  </a:cxn>
                  <a:cxn ang="0">
                    <a:pos x="61" y="67"/>
                  </a:cxn>
                  <a:cxn ang="0">
                    <a:pos x="63" y="67"/>
                  </a:cxn>
                  <a:cxn ang="0">
                    <a:pos x="63" y="68"/>
                  </a:cxn>
                  <a:cxn ang="0">
                    <a:pos x="81" y="48"/>
                  </a:cxn>
                  <a:cxn ang="0">
                    <a:pos x="121" y="13"/>
                  </a:cxn>
                  <a:cxn ang="0">
                    <a:pos x="134" y="5"/>
                  </a:cxn>
                  <a:cxn ang="0">
                    <a:pos x="137" y="3"/>
                  </a:cxn>
                  <a:cxn ang="0">
                    <a:pos x="139" y="2"/>
                  </a:cxn>
                  <a:cxn ang="0">
                    <a:pos x="138" y="0"/>
                  </a:cxn>
                </a:cxnLst>
                <a:rect l="0" t="0" r="r" b="b"/>
                <a:pathLst>
                  <a:path w="139" h="195">
                    <a:moveTo>
                      <a:pt x="41" y="99"/>
                    </a:moveTo>
                    <a:cubicBezTo>
                      <a:pt x="38" y="99"/>
                      <a:pt x="38" y="99"/>
                      <a:pt x="38" y="99"/>
                    </a:cubicBezTo>
                    <a:cubicBezTo>
                      <a:pt x="22" y="125"/>
                      <a:pt x="8" y="157"/>
                      <a:pt x="1" y="194"/>
                    </a:cubicBezTo>
                    <a:cubicBezTo>
                      <a:pt x="0" y="195"/>
                      <a:pt x="0" y="195"/>
                      <a:pt x="0" y="195"/>
                    </a:cubicBezTo>
                    <a:cubicBezTo>
                      <a:pt x="3" y="195"/>
                      <a:pt x="3" y="195"/>
                      <a:pt x="3" y="195"/>
                    </a:cubicBezTo>
                    <a:cubicBezTo>
                      <a:pt x="10" y="157"/>
                      <a:pt x="24" y="125"/>
                      <a:pt x="41" y="99"/>
                    </a:cubicBezTo>
                    <a:moveTo>
                      <a:pt x="63" y="68"/>
                    </a:moveTo>
                    <a:cubicBezTo>
                      <a:pt x="60" y="68"/>
                      <a:pt x="60" y="68"/>
                      <a:pt x="60" y="68"/>
                    </a:cubicBezTo>
                    <a:cubicBezTo>
                      <a:pt x="53" y="77"/>
                      <a:pt x="46" y="87"/>
                      <a:pt x="39" y="98"/>
                    </a:cubicBezTo>
                    <a:cubicBezTo>
                      <a:pt x="41" y="98"/>
                      <a:pt x="41" y="98"/>
                      <a:pt x="41" y="98"/>
                    </a:cubicBezTo>
                    <a:cubicBezTo>
                      <a:pt x="48" y="87"/>
                      <a:pt x="56" y="77"/>
                      <a:pt x="63" y="68"/>
                    </a:cubicBezTo>
                    <a:moveTo>
                      <a:pt x="138" y="0"/>
                    </a:moveTo>
                    <a:cubicBezTo>
                      <a:pt x="138" y="0"/>
                      <a:pt x="138" y="0"/>
                      <a:pt x="138" y="0"/>
                    </a:cubicBezTo>
                    <a:cubicBezTo>
                      <a:pt x="138" y="0"/>
                      <a:pt x="98" y="21"/>
                      <a:pt x="61" y="67"/>
                    </a:cubicBezTo>
                    <a:cubicBezTo>
                      <a:pt x="63" y="67"/>
                      <a:pt x="63" y="67"/>
                      <a:pt x="63" y="67"/>
                    </a:cubicBezTo>
                    <a:cubicBezTo>
                      <a:pt x="63" y="68"/>
                      <a:pt x="63" y="68"/>
                      <a:pt x="63" y="68"/>
                    </a:cubicBezTo>
                    <a:cubicBezTo>
                      <a:pt x="69" y="61"/>
                      <a:pt x="75" y="54"/>
                      <a:pt x="81" y="48"/>
                    </a:cubicBezTo>
                    <a:cubicBezTo>
                      <a:pt x="96" y="32"/>
                      <a:pt x="111" y="21"/>
                      <a:pt x="121" y="13"/>
                    </a:cubicBezTo>
                    <a:cubicBezTo>
                      <a:pt x="127" y="9"/>
                      <a:pt x="131" y="7"/>
                      <a:pt x="134" y="5"/>
                    </a:cubicBezTo>
                    <a:cubicBezTo>
                      <a:pt x="135" y="4"/>
                      <a:pt x="137" y="3"/>
                      <a:pt x="137" y="3"/>
                    </a:cubicBezTo>
                    <a:cubicBezTo>
                      <a:pt x="138" y="2"/>
                      <a:pt x="139" y="2"/>
                      <a:pt x="139" y="2"/>
                    </a:cubicBezTo>
                    <a:cubicBezTo>
                      <a:pt x="138" y="0"/>
                      <a:pt x="138" y="0"/>
                      <a:pt x="13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86" name="Freeform 134"/>
              <p:cNvSpPr>
                <a:spLocks/>
              </p:cNvSpPr>
              <p:nvPr/>
            </p:nvSpPr>
            <p:spPr bwMode="auto">
              <a:xfrm>
                <a:off x="-3566" y="1754"/>
                <a:ext cx="8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87" name="Freeform 135"/>
              <p:cNvSpPr>
                <a:spLocks/>
              </p:cNvSpPr>
              <p:nvPr/>
            </p:nvSpPr>
            <p:spPr bwMode="auto">
              <a:xfrm>
                <a:off x="-3513" y="1682"/>
                <a:ext cx="6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1" y="1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88" name="Freeform 136"/>
              <p:cNvSpPr>
                <a:spLocks noEditPoints="1"/>
              </p:cNvSpPr>
              <p:nvPr/>
            </p:nvSpPr>
            <p:spPr bwMode="auto">
              <a:xfrm>
                <a:off x="-3801" y="2260"/>
                <a:ext cx="36" cy="1016"/>
              </a:xfrm>
              <a:custGeom>
                <a:avLst/>
                <a:gdLst/>
                <a:ahLst/>
                <a:cxnLst>
                  <a:cxn ang="0">
                    <a:pos x="4" y="343"/>
                  </a:cxn>
                  <a:cxn ang="0">
                    <a:pos x="2" y="343"/>
                  </a:cxn>
                  <a:cxn ang="0">
                    <a:pos x="2" y="355"/>
                  </a:cxn>
                  <a:cxn ang="0">
                    <a:pos x="3" y="429"/>
                  </a:cxn>
                  <a:cxn ang="0">
                    <a:pos x="5" y="429"/>
                  </a:cxn>
                  <a:cxn ang="0">
                    <a:pos x="4" y="355"/>
                  </a:cxn>
                  <a:cxn ang="0">
                    <a:pos x="4" y="343"/>
                  </a:cxn>
                  <a:cxn ang="0">
                    <a:pos x="3" y="255"/>
                  </a:cxn>
                  <a:cxn ang="0">
                    <a:pos x="1" y="255"/>
                  </a:cxn>
                  <a:cxn ang="0">
                    <a:pos x="2" y="327"/>
                  </a:cxn>
                  <a:cxn ang="0">
                    <a:pos x="2" y="342"/>
                  </a:cxn>
                  <a:cxn ang="0">
                    <a:pos x="4" y="342"/>
                  </a:cxn>
                  <a:cxn ang="0">
                    <a:pos x="4" y="335"/>
                  </a:cxn>
                  <a:cxn ang="0">
                    <a:pos x="4" y="327"/>
                  </a:cxn>
                  <a:cxn ang="0">
                    <a:pos x="4" y="327"/>
                  </a:cxn>
                  <a:cxn ang="0">
                    <a:pos x="3" y="255"/>
                  </a:cxn>
                  <a:cxn ang="0">
                    <a:pos x="3" y="233"/>
                  </a:cxn>
                  <a:cxn ang="0">
                    <a:pos x="1" y="233"/>
                  </a:cxn>
                  <a:cxn ang="0">
                    <a:pos x="1" y="254"/>
                  </a:cxn>
                  <a:cxn ang="0">
                    <a:pos x="3" y="254"/>
                  </a:cxn>
                  <a:cxn ang="0">
                    <a:pos x="3" y="233"/>
                  </a:cxn>
                  <a:cxn ang="0">
                    <a:pos x="2" y="102"/>
                  </a:cxn>
                  <a:cxn ang="0">
                    <a:pos x="0" y="102"/>
                  </a:cxn>
                  <a:cxn ang="0">
                    <a:pos x="0" y="156"/>
                  </a:cxn>
                  <a:cxn ang="0">
                    <a:pos x="1" y="232"/>
                  </a:cxn>
                  <a:cxn ang="0">
                    <a:pos x="3" y="232"/>
                  </a:cxn>
                  <a:cxn ang="0">
                    <a:pos x="2" y="108"/>
                  </a:cxn>
                  <a:cxn ang="0">
                    <a:pos x="2" y="102"/>
                  </a:cxn>
                  <a:cxn ang="0">
                    <a:pos x="15" y="0"/>
                  </a:cxn>
                  <a:cxn ang="0">
                    <a:pos x="13" y="0"/>
                  </a:cxn>
                  <a:cxn ang="0">
                    <a:pos x="0" y="93"/>
                  </a:cxn>
                  <a:cxn ang="0">
                    <a:pos x="0" y="101"/>
                  </a:cxn>
                  <a:cxn ang="0">
                    <a:pos x="2" y="101"/>
                  </a:cxn>
                  <a:cxn ang="0">
                    <a:pos x="15" y="0"/>
                  </a:cxn>
                </a:cxnLst>
                <a:rect l="0" t="0" r="r" b="b"/>
                <a:pathLst>
                  <a:path w="15" h="429">
                    <a:moveTo>
                      <a:pt x="4" y="343"/>
                    </a:moveTo>
                    <a:cubicBezTo>
                      <a:pt x="2" y="343"/>
                      <a:pt x="2" y="343"/>
                      <a:pt x="2" y="343"/>
                    </a:cubicBezTo>
                    <a:cubicBezTo>
                      <a:pt x="2" y="347"/>
                      <a:pt x="2" y="351"/>
                      <a:pt x="2" y="355"/>
                    </a:cubicBezTo>
                    <a:cubicBezTo>
                      <a:pt x="2" y="374"/>
                      <a:pt x="2" y="401"/>
                      <a:pt x="3" y="429"/>
                    </a:cubicBezTo>
                    <a:cubicBezTo>
                      <a:pt x="5" y="429"/>
                      <a:pt x="5" y="429"/>
                      <a:pt x="5" y="429"/>
                    </a:cubicBezTo>
                    <a:cubicBezTo>
                      <a:pt x="4" y="401"/>
                      <a:pt x="4" y="374"/>
                      <a:pt x="4" y="355"/>
                    </a:cubicBezTo>
                    <a:cubicBezTo>
                      <a:pt x="4" y="351"/>
                      <a:pt x="4" y="347"/>
                      <a:pt x="4" y="343"/>
                    </a:cubicBezTo>
                    <a:moveTo>
                      <a:pt x="3" y="255"/>
                    </a:moveTo>
                    <a:cubicBezTo>
                      <a:pt x="1" y="255"/>
                      <a:pt x="1" y="255"/>
                      <a:pt x="1" y="255"/>
                    </a:cubicBezTo>
                    <a:cubicBezTo>
                      <a:pt x="2" y="327"/>
                      <a:pt x="2" y="327"/>
                      <a:pt x="2" y="327"/>
                    </a:cubicBezTo>
                    <a:cubicBezTo>
                      <a:pt x="2" y="327"/>
                      <a:pt x="2" y="333"/>
                      <a:pt x="2" y="342"/>
                    </a:cubicBezTo>
                    <a:cubicBezTo>
                      <a:pt x="4" y="342"/>
                      <a:pt x="4" y="342"/>
                      <a:pt x="4" y="342"/>
                    </a:cubicBezTo>
                    <a:cubicBezTo>
                      <a:pt x="4" y="339"/>
                      <a:pt x="4" y="337"/>
                      <a:pt x="4" y="335"/>
                    </a:cubicBezTo>
                    <a:cubicBezTo>
                      <a:pt x="4" y="330"/>
                      <a:pt x="4" y="327"/>
                      <a:pt x="4" y="327"/>
                    </a:cubicBezTo>
                    <a:cubicBezTo>
                      <a:pt x="4" y="327"/>
                      <a:pt x="4" y="327"/>
                      <a:pt x="4" y="327"/>
                    </a:cubicBezTo>
                    <a:cubicBezTo>
                      <a:pt x="3" y="255"/>
                      <a:pt x="3" y="255"/>
                      <a:pt x="3" y="255"/>
                    </a:cubicBezTo>
                    <a:moveTo>
                      <a:pt x="3" y="233"/>
                    </a:moveTo>
                    <a:cubicBezTo>
                      <a:pt x="1" y="233"/>
                      <a:pt x="1" y="233"/>
                      <a:pt x="1" y="233"/>
                    </a:cubicBezTo>
                    <a:cubicBezTo>
                      <a:pt x="1" y="254"/>
                      <a:pt x="1" y="254"/>
                      <a:pt x="1" y="254"/>
                    </a:cubicBezTo>
                    <a:cubicBezTo>
                      <a:pt x="3" y="254"/>
                      <a:pt x="3" y="254"/>
                      <a:pt x="3" y="254"/>
                    </a:cubicBezTo>
                    <a:cubicBezTo>
                      <a:pt x="3" y="233"/>
                      <a:pt x="3" y="233"/>
                      <a:pt x="3" y="233"/>
                    </a:cubicBezTo>
                    <a:moveTo>
                      <a:pt x="2" y="102"/>
                    </a:moveTo>
                    <a:cubicBezTo>
                      <a:pt x="0" y="102"/>
                      <a:pt x="0" y="102"/>
                      <a:pt x="0" y="102"/>
                    </a:cubicBezTo>
                    <a:cubicBezTo>
                      <a:pt x="0" y="156"/>
                      <a:pt x="0" y="156"/>
                      <a:pt x="0" y="156"/>
                    </a:cubicBezTo>
                    <a:cubicBezTo>
                      <a:pt x="1" y="232"/>
                      <a:pt x="1" y="232"/>
                      <a:pt x="1" y="232"/>
                    </a:cubicBezTo>
                    <a:cubicBezTo>
                      <a:pt x="3" y="232"/>
                      <a:pt x="3" y="232"/>
                      <a:pt x="3" y="232"/>
                    </a:cubicBezTo>
                    <a:cubicBezTo>
                      <a:pt x="2" y="108"/>
                      <a:pt x="2" y="108"/>
                      <a:pt x="2" y="108"/>
                    </a:cubicBezTo>
                    <a:cubicBezTo>
                      <a:pt x="2" y="106"/>
                      <a:pt x="2" y="104"/>
                      <a:pt x="2" y="102"/>
                    </a:cubicBezTo>
                    <a:moveTo>
                      <a:pt x="15" y="0"/>
                    </a:moveTo>
                    <a:cubicBezTo>
                      <a:pt x="13" y="0"/>
                      <a:pt x="13" y="0"/>
                      <a:pt x="13" y="0"/>
                    </a:cubicBezTo>
                    <a:cubicBezTo>
                      <a:pt x="7" y="26"/>
                      <a:pt x="2" y="57"/>
                      <a:pt x="0" y="93"/>
                    </a:cubicBezTo>
                    <a:cubicBezTo>
                      <a:pt x="0" y="101"/>
                      <a:pt x="0" y="101"/>
                      <a:pt x="0" y="101"/>
                    </a:cubicBezTo>
                    <a:cubicBezTo>
                      <a:pt x="2" y="101"/>
                      <a:pt x="2" y="101"/>
                      <a:pt x="2" y="101"/>
                    </a:cubicBezTo>
                    <a:cubicBezTo>
                      <a:pt x="3" y="62"/>
                      <a:pt x="9" y="28"/>
                      <a:pt x="1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89" name="Freeform 137"/>
              <p:cNvSpPr>
                <a:spLocks/>
              </p:cNvSpPr>
              <p:nvPr/>
            </p:nvSpPr>
            <p:spPr bwMode="auto">
              <a:xfrm>
                <a:off x="-3795" y="307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90" name="Freeform 138"/>
              <p:cNvSpPr>
                <a:spLocks/>
              </p:cNvSpPr>
              <p:nvPr/>
            </p:nvSpPr>
            <p:spPr bwMode="auto">
              <a:xfrm>
                <a:off x="-3798" y="2861"/>
                <a:ext cx="5" cy="3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91" name="Freeform 139"/>
              <p:cNvSpPr>
                <a:spLocks/>
              </p:cNvSpPr>
              <p:nvPr/>
            </p:nvSpPr>
            <p:spPr bwMode="auto">
              <a:xfrm>
                <a:off x="-3793" y="3278"/>
                <a:ext cx="15" cy="24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4" y="103"/>
                  </a:cxn>
                  <a:cxn ang="0">
                    <a:pos x="6" y="102"/>
                  </a:cxn>
                  <a:cxn ang="0">
                    <a:pos x="3" y="31"/>
                  </a:cxn>
                  <a:cxn ang="0">
                    <a:pos x="1" y="31"/>
                  </a:cxn>
                  <a:cxn ang="0">
                    <a:pos x="1" y="31"/>
                  </a:cxn>
                  <a:cxn ang="0">
                    <a:pos x="3" y="31"/>
                  </a:cxn>
                  <a:cxn ang="0">
                    <a:pos x="2" y="0"/>
                  </a:cxn>
                </a:cxnLst>
                <a:rect l="0" t="0" r="r" b="b"/>
                <a:pathLst>
                  <a:path w="6" h="103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35"/>
                      <a:pt x="2" y="73"/>
                      <a:pt x="4" y="103"/>
                    </a:cubicBezTo>
                    <a:cubicBezTo>
                      <a:pt x="6" y="102"/>
                      <a:pt x="6" y="102"/>
                      <a:pt x="6" y="102"/>
                    </a:cubicBezTo>
                    <a:cubicBezTo>
                      <a:pt x="5" y="82"/>
                      <a:pt x="3" y="57"/>
                      <a:pt x="3" y="31"/>
                    </a:cubicBezTo>
                    <a:cubicBezTo>
                      <a:pt x="1" y="31"/>
                      <a:pt x="1" y="31"/>
                      <a:pt x="1" y="31"/>
                    </a:cubicBezTo>
                    <a:cubicBezTo>
                      <a:pt x="1" y="31"/>
                      <a:pt x="1" y="31"/>
                      <a:pt x="1" y="31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2" y="20"/>
                      <a:pt x="2" y="1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92" name="Freeform 140"/>
              <p:cNvSpPr>
                <a:spLocks/>
              </p:cNvSpPr>
              <p:nvPr/>
            </p:nvSpPr>
            <p:spPr bwMode="auto">
              <a:xfrm>
                <a:off x="-3798" y="2810"/>
                <a:ext cx="5" cy="2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93" name="Freeform 141"/>
              <p:cNvSpPr>
                <a:spLocks/>
              </p:cNvSpPr>
              <p:nvPr/>
            </p:nvSpPr>
            <p:spPr bwMode="auto">
              <a:xfrm>
                <a:off x="-3793" y="3276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94" name="Freeform 142"/>
              <p:cNvSpPr>
                <a:spLocks/>
              </p:cNvSpPr>
              <p:nvPr/>
            </p:nvSpPr>
            <p:spPr bwMode="auto">
              <a:xfrm>
                <a:off x="-3790" y="3352"/>
                <a:ext cx="5" cy="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95" name="Freeform 143"/>
              <p:cNvSpPr>
                <a:spLocks/>
              </p:cNvSpPr>
              <p:nvPr/>
            </p:nvSpPr>
            <p:spPr bwMode="auto">
              <a:xfrm>
                <a:off x="-3801" y="2498"/>
                <a:ext cx="6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96" name="Freeform 144"/>
              <p:cNvSpPr>
                <a:spLocks/>
              </p:cNvSpPr>
              <p:nvPr/>
            </p:nvSpPr>
            <p:spPr bwMode="auto">
              <a:xfrm>
                <a:off x="-3769" y="2256"/>
                <a:ext cx="6" cy="3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97" name="Freeform 145"/>
              <p:cNvSpPr>
                <a:spLocks noEditPoints="1"/>
              </p:cNvSpPr>
              <p:nvPr/>
            </p:nvSpPr>
            <p:spPr bwMode="auto">
              <a:xfrm>
                <a:off x="-3669" y="1987"/>
                <a:ext cx="168" cy="1289"/>
              </a:xfrm>
              <a:custGeom>
                <a:avLst/>
                <a:gdLst/>
                <a:ahLst/>
                <a:cxnLst>
                  <a:cxn ang="0">
                    <a:pos x="14" y="458"/>
                  </a:cxn>
                  <a:cxn ang="0">
                    <a:pos x="12" y="458"/>
                  </a:cxn>
                  <a:cxn ang="0">
                    <a:pos x="0" y="544"/>
                  </a:cxn>
                  <a:cxn ang="0">
                    <a:pos x="2" y="544"/>
                  </a:cxn>
                  <a:cxn ang="0">
                    <a:pos x="14" y="458"/>
                  </a:cxn>
                  <a:cxn ang="0">
                    <a:pos x="28" y="348"/>
                  </a:cxn>
                  <a:cxn ang="0">
                    <a:pos x="26" y="348"/>
                  </a:cxn>
                  <a:cxn ang="0">
                    <a:pos x="13" y="442"/>
                  </a:cxn>
                  <a:cxn ang="0">
                    <a:pos x="13" y="442"/>
                  </a:cxn>
                  <a:cxn ang="0">
                    <a:pos x="13" y="442"/>
                  </a:cxn>
                  <a:cxn ang="0">
                    <a:pos x="13" y="446"/>
                  </a:cxn>
                  <a:cxn ang="0">
                    <a:pos x="12" y="457"/>
                  </a:cxn>
                  <a:cxn ang="0">
                    <a:pos x="14" y="457"/>
                  </a:cxn>
                  <a:cxn ang="0">
                    <a:pos x="15" y="443"/>
                  </a:cxn>
                  <a:cxn ang="0">
                    <a:pos x="27" y="370"/>
                  </a:cxn>
                  <a:cxn ang="0">
                    <a:pos x="27" y="370"/>
                  </a:cxn>
                  <a:cxn ang="0">
                    <a:pos x="27" y="369"/>
                  </a:cxn>
                  <a:cxn ang="0">
                    <a:pos x="27" y="369"/>
                  </a:cxn>
                  <a:cxn ang="0">
                    <a:pos x="28" y="348"/>
                  </a:cxn>
                  <a:cxn ang="0">
                    <a:pos x="29" y="217"/>
                  </a:cxn>
                  <a:cxn ang="0">
                    <a:pos x="27" y="217"/>
                  </a:cxn>
                  <a:cxn ang="0">
                    <a:pos x="27" y="220"/>
                  </a:cxn>
                  <a:cxn ang="0">
                    <a:pos x="27" y="223"/>
                  </a:cxn>
                  <a:cxn ang="0">
                    <a:pos x="28" y="258"/>
                  </a:cxn>
                  <a:cxn ang="0">
                    <a:pos x="26" y="347"/>
                  </a:cxn>
                  <a:cxn ang="0">
                    <a:pos x="28" y="347"/>
                  </a:cxn>
                  <a:cxn ang="0">
                    <a:pos x="30" y="258"/>
                  </a:cxn>
                  <a:cxn ang="0">
                    <a:pos x="29" y="223"/>
                  </a:cxn>
                  <a:cxn ang="0">
                    <a:pos x="29" y="220"/>
                  </a:cxn>
                  <a:cxn ang="0">
                    <a:pos x="29" y="217"/>
                  </a:cxn>
                  <a:cxn ang="0">
                    <a:pos x="39" y="115"/>
                  </a:cxn>
                  <a:cxn ang="0">
                    <a:pos x="37" y="115"/>
                  </a:cxn>
                  <a:cxn ang="0">
                    <a:pos x="27" y="216"/>
                  </a:cxn>
                  <a:cxn ang="0">
                    <a:pos x="29" y="216"/>
                  </a:cxn>
                  <a:cxn ang="0">
                    <a:pos x="39" y="115"/>
                  </a:cxn>
                  <a:cxn ang="0">
                    <a:pos x="71" y="0"/>
                  </a:cxn>
                  <a:cxn ang="0">
                    <a:pos x="69" y="0"/>
                  </a:cxn>
                  <a:cxn ang="0">
                    <a:pos x="69" y="0"/>
                  </a:cxn>
                  <a:cxn ang="0">
                    <a:pos x="37" y="114"/>
                  </a:cxn>
                  <a:cxn ang="0">
                    <a:pos x="39" y="114"/>
                  </a:cxn>
                  <a:cxn ang="0">
                    <a:pos x="50" y="63"/>
                  </a:cxn>
                  <a:cxn ang="0">
                    <a:pos x="64" y="17"/>
                  </a:cxn>
                  <a:cxn ang="0">
                    <a:pos x="69" y="5"/>
                  </a:cxn>
                  <a:cxn ang="0">
                    <a:pos x="71" y="1"/>
                  </a:cxn>
                  <a:cxn ang="0">
                    <a:pos x="71" y="1"/>
                  </a:cxn>
                  <a:cxn ang="0">
                    <a:pos x="71" y="1"/>
                  </a:cxn>
                  <a:cxn ang="0">
                    <a:pos x="71" y="0"/>
                  </a:cxn>
                </a:cxnLst>
                <a:rect l="0" t="0" r="r" b="b"/>
                <a:pathLst>
                  <a:path w="71" h="544">
                    <a:moveTo>
                      <a:pt x="14" y="458"/>
                    </a:moveTo>
                    <a:cubicBezTo>
                      <a:pt x="12" y="458"/>
                      <a:pt x="12" y="458"/>
                      <a:pt x="12" y="458"/>
                    </a:cubicBezTo>
                    <a:cubicBezTo>
                      <a:pt x="11" y="476"/>
                      <a:pt x="8" y="508"/>
                      <a:pt x="0" y="544"/>
                    </a:cubicBezTo>
                    <a:cubicBezTo>
                      <a:pt x="2" y="544"/>
                      <a:pt x="2" y="544"/>
                      <a:pt x="2" y="544"/>
                    </a:cubicBezTo>
                    <a:cubicBezTo>
                      <a:pt x="10" y="507"/>
                      <a:pt x="13" y="476"/>
                      <a:pt x="14" y="458"/>
                    </a:cubicBezTo>
                    <a:moveTo>
                      <a:pt x="28" y="348"/>
                    </a:moveTo>
                    <a:cubicBezTo>
                      <a:pt x="26" y="348"/>
                      <a:pt x="26" y="348"/>
                      <a:pt x="26" y="348"/>
                    </a:cubicBezTo>
                    <a:cubicBezTo>
                      <a:pt x="24" y="387"/>
                      <a:pt x="20" y="411"/>
                      <a:pt x="13" y="442"/>
                    </a:cubicBezTo>
                    <a:cubicBezTo>
                      <a:pt x="13" y="442"/>
                      <a:pt x="13" y="442"/>
                      <a:pt x="13" y="442"/>
                    </a:cubicBezTo>
                    <a:cubicBezTo>
                      <a:pt x="13" y="442"/>
                      <a:pt x="13" y="442"/>
                      <a:pt x="13" y="442"/>
                    </a:cubicBezTo>
                    <a:cubicBezTo>
                      <a:pt x="13" y="442"/>
                      <a:pt x="13" y="444"/>
                      <a:pt x="13" y="446"/>
                    </a:cubicBezTo>
                    <a:cubicBezTo>
                      <a:pt x="13" y="449"/>
                      <a:pt x="13" y="452"/>
                      <a:pt x="12" y="457"/>
                    </a:cubicBezTo>
                    <a:cubicBezTo>
                      <a:pt x="14" y="457"/>
                      <a:pt x="14" y="457"/>
                      <a:pt x="14" y="457"/>
                    </a:cubicBezTo>
                    <a:cubicBezTo>
                      <a:pt x="15" y="448"/>
                      <a:pt x="15" y="443"/>
                      <a:pt x="15" y="443"/>
                    </a:cubicBezTo>
                    <a:cubicBezTo>
                      <a:pt x="21" y="418"/>
                      <a:pt x="24" y="397"/>
                      <a:pt x="27" y="370"/>
                    </a:cubicBezTo>
                    <a:cubicBezTo>
                      <a:pt x="27" y="370"/>
                      <a:pt x="27" y="370"/>
                      <a:pt x="27" y="370"/>
                    </a:cubicBezTo>
                    <a:cubicBezTo>
                      <a:pt x="27" y="369"/>
                      <a:pt x="27" y="369"/>
                      <a:pt x="27" y="369"/>
                    </a:cubicBezTo>
                    <a:cubicBezTo>
                      <a:pt x="27" y="369"/>
                      <a:pt x="27" y="369"/>
                      <a:pt x="27" y="369"/>
                    </a:cubicBezTo>
                    <a:cubicBezTo>
                      <a:pt x="27" y="363"/>
                      <a:pt x="28" y="356"/>
                      <a:pt x="28" y="348"/>
                    </a:cubicBezTo>
                    <a:moveTo>
                      <a:pt x="29" y="217"/>
                    </a:moveTo>
                    <a:cubicBezTo>
                      <a:pt x="27" y="217"/>
                      <a:pt x="27" y="217"/>
                      <a:pt x="27" y="217"/>
                    </a:cubicBezTo>
                    <a:cubicBezTo>
                      <a:pt x="27" y="218"/>
                      <a:pt x="27" y="219"/>
                      <a:pt x="27" y="220"/>
                    </a:cubicBezTo>
                    <a:cubicBezTo>
                      <a:pt x="27" y="221"/>
                      <a:pt x="27" y="222"/>
                      <a:pt x="27" y="223"/>
                    </a:cubicBezTo>
                    <a:cubicBezTo>
                      <a:pt x="28" y="235"/>
                      <a:pt x="28" y="247"/>
                      <a:pt x="28" y="258"/>
                    </a:cubicBezTo>
                    <a:cubicBezTo>
                      <a:pt x="28" y="295"/>
                      <a:pt x="27" y="324"/>
                      <a:pt x="26" y="347"/>
                    </a:cubicBezTo>
                    <a:cubicBezTo>
                      <a:pt x="28" y="347"/>
                      <a:pt x="28" y="347"/>
                      <a:pt x="28" y="347"/>
                    </a:cubicBezTo>
                    <a:cubicBezTo>
                      <a:pt x="29" y="324"/>
                      <a:pt x="30" y="295"/>
                      <a:pt x="30" y="258"/>
                    </a:cubicBezTo>
                    <a:cubicBezTo>
                      <a:pt x="30" y="247"/>
                      <a:pt x="30" y="235"/>
                      <a:pt x="29" y="223"/>
                    </a:cubicBezTo>
                    <a:cubicBezTo>
                      <a:pt x="29" y="222"/>
                      <a:pt x="29" y="221"/>
                      <a:pt x="29" y="220"/>
                    </a:cubicBezTo>
                    <a:cubicBezTo>
                      <a:pt x="29" y="219"/>
                      <a:pt x="29" y="218"/>
                      <a:pt x="29" y="217"/>
                    </a:cubicBezTo>
                    <a:moveTo>
                      <a:pt x="39" y="115"/>
                    </a:moveTo>
                    <a:cubicBezTo>
                      <a:pt x="37" y="115"/>
                      <a:pt x="37" y="115"/>
                      <a:pt x="37" y="115"/>
                    </a:cubicBezTo>
                    <a:cubicBezTo>
                      <a:pt x="31" y="144"/>
                      <a:pt x="28" y="179"/>
                      <a:pt x="27" y="216"/>
                    </a:cubicBezTo>
                    <a:cubicBezTo>
                      <a:pt x="29" y="216"/>
                      <a:pt x="29" y="216"/>
                      <a:pt x="29" y="216"/>
                    </a:cubicBezTo>
                    <a:cubicBezTo>
                      <a:pt x="30" y="179"/>
                      <a:pt x="33" y="144"/>
                      <a:pt x="39" y="115"/>
                    </a:cubicBezTo>
                    <a:moveTo>
                      <a:pt x="71" y="0"/>
                    </a:moveTo>
                    <a:cubicBezTo>
                      <a:pt x="69" y="0"/>
                      <a:pt x="69" y="0"/>
                      <a:pt x="69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68" y="3"/>
                      <a:pt x="49" y="46"/>
                      <a:pt x="37" y="114"/>
                    </a:cubicBezTo>
                    <a:cubicBezTo>
                      <a:pt x="39" y="114"/>
                      <a:pt x="39" y="114"/>
                      <a:pt x="39" y="114"/>
                    </a:cubicBezTo>
                    <a:cubicBezTo>
                      <a:pt x="42" y="95"/>
                      <a:pt x="46" y="78"/>
                      <a:pt x="50" y="63"/>
                    </a:cubicBezTo>
                    <a:cubicBezTo>
                      <a:pt x="55" y="43"/>
                      <a:pt x="60" y="28"/>
                      <a:pt x="64" y="17"/>
                    </a:cubicBezTo>
                    <a:cubicBezTo>
                      <a:pt x="66" y="12"/>
                      <a:pt x="68" y="8"/>
                      <a:pt x="69" y="5"/>
                    </a:cubicBezTo>
                    <a:cubicBezTo>
                      <a:pt x="70" y="2"/>
                      <a:pt x="71" y="1"/>
                      <a:pt x="71" y="1"/>
                    </a:cubicBezTo>
                    <a:cubicBezTo>
                      <a:pt x="71" y="1"/>
                      <a:pt x="71" y="1"/>
                      <a:pt x="71" y="1"/>
                    </a:cubicBezTo>
                    <a:cubicBezTo>
                      <a:pt x="71" y="1"/>
                      <a:pt x="71" y="1"/>
                      <a:pt x="71" y="1"/>
                    </a:cubicBezTo>
                    <a:cubicBezTo>
                      <a:pt x="71" y="0"/>
                      <a:pt x="71" y="0"/>
                      <a:pt x="7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98" name="Freeform 146"/>
              <p:cNvSpPr>
                <a:spLocks/>
              </p:cNvSpPr>
              <p:nvPr/>
            </p:nvSpPr>
            <p:spPr bwMode="auto">
              <a:xfrm>
                <a:off x="-3642" y="3070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99" name="Freeform 147"/>
              <p:cNvSpPr>
                <a:spLocks/>
              </p:cNvSpPr>
              <p:nvPr/>
            </p:nvSpPr>
            <p:spPr bwMode="auto">
              <a:xfrm>
                <a:off x="-3607" y="2861"/>
                <a:ext cx="2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00" name="Freeform 148"/>
              <p:cNvSpPr>
                <a:spLocks noEditPoints="1"/>
              </p:cNvSpPr>
              <p:nvPr/>
            </p:nvSpPr>
            <p:spPr bwMode="auto">
              <a:xfrm>
                <a:off x="-3714" y="1522"/>
                <a:ext cx="435" cy="1912"/>
              </a:xfrm>
              <a:custGeom>
                <a:avLst/>
                <a:gdLst/>
                <a:ahLst/>
                <a:cxnLst>
                  <a:cxn ang="0">
                    <a:pos x="13" y="772"/>
                  </a:cxn>
                  <a:cxn ang="0">
                    <a:pos x="11" y="772"/>
                  </a:cxn>
                  <a:cxn ang="0">
                    <a:pos x="0" y="807"/>
                  </a:cxn>
                  <a:cxn ang="0">
                    <a:pos x="1" y="807"/>
                  </a:cxn>
                  <a:cxn ang="0">
                    <a:pos x="13" y="772"/>
                  </a:cxn>
                  <a:cxn ang="0">
                    <a:pos x="20" y="741"/>
                  </a:cxn>
                  <a:cxn ang="0">
                    <a:pos x="18" y="741"/>
                  </a:cxn>
                  <a:cxn ang="0">
                    <a:pos x="11" y="772"/>
                  </a:cxn>
                  <a:cxn ang="0">
                    <a:pos x="13" y="772"/>
                  </a:cxn>
                  <a:cxn ang="0">
                    <a:pos x="20" y="741"/>
                  </a:cxn>
                  <a:cxn ang="0">
                    <a:pos x="119" y="99"/>
                  </a:cxn>
                  <a:cxn ang="0">
                    <a:pos x="116" y="99"/>
                  </a:cxn>
                  <a:cxn ang="0">
                    <a:pos x="88" y="195"/>
                  </a:cxn>
                  <a:cxn ang="0">
                    <a:pos x="90" y="195"/>
                  </a:cxn>
                  <a:cxn ang="0">
                    <a:pos x="119" y="99"/>
                  </a:cxn>
                  <a:cxn ang="0">
                    <a:pos x="183" y="0"/>
                  </a:cxn>
                  <a:cxn ang="0">
                    <a:pos x="182" y="0"/>
                  </a:cxn>
                  <a:cxn ang="0">
                    <a:pos x="117" y="98"/>
                  </a:cxn>
                  <a:cxn ang="0">
                    <a:pos x="119" y="98"/>
                  </a:cxn>
                  <a:cxn ang="0">
                    <a:pos x="149" y="41"/>
                  </a:cxn>
                  <a:cxn ang="0">
                    <a:pos x="173" y="10"/>
                  </a:cxn>
                  <a:cxn ang="0">
                    <a:pos x="181" y="4"/>
                  </a:cxn>
                  <a:cxn ang="0">
                    <a:pos x="183" y="2"/>
                  </a:cxn>
                  <a:cxn ang="0">
                    <a:pos x="184" y="2"/>
                  </a:cxn>
                  <a:cxn ang="0">
                    <a:pos x="183" y="0"/>
                  </a:cxn>
                </a:cxnLst>
                <a:rect l="0" t="0" r="r" b="b"/>
                <a:pathLst>
                  <a:path w="184" h="807">
                    <a:moveTo>
                      <a:pt x="13" y="772"/>
                    </a:moveTo>
                    <a:cubicBezTo>
                      <a:pt x="11" y="772"/>
                      <a:pt x="11" y="772"/>
                      <a:pt x="11" y="772"/>
                    </a:cubicBezTo>
                    <a:cubicBezTo>
                      <a:pt x="7" y="784"/>
                      <a:pt x="4" y="795"/>
                      <a:pt x="0" y="807"/>
                    </a:cubicBezTo>
                    <a:cubicBezTo>
                      <a:pt x="1" y="807"/>
                      <a:pt x="1" y="807"/>
                      <a:pt x="1" y="807"/>
                    </a:cubicBezTo>
                    <a:cubicBezTo>
                      <a:pt x="6" y="796"/>
                      <a:pt x="9" y="784"/>
                      <a:pt x="13" y="772"/>
                    </a:cubicBezTo>
                    <a:moveTo>
                      <a:pt x="20" y="741"/>
                    </a:moveTo>
                    <a:cubicBezTo>
                      <a:pt x="18" y="741"/>
                      <a:pt x="18" y="741"/>
                      <a:pt x="18" y="741"/>
                    </a:cubicBezTo>
                    <a:cubicBezTo>
                      <a:pt x="16" y="751"/>
                      <a:pt x="14" y="761"/>
                      <a:pt x="11" y="772"/>
                    </a:cubicBezTo>
                    <a:cubicBezTo>
                      <a:pt x="13" y="772"/>
                      <a:pt x="13" y="772"/>
                      <a:pt x="13" y="772"/>
                    </a:cubicBezTo>
                    <a:cubicBezTo>
                      <a:pt x="16" y="761"/>
                      <a:pt x="18" y="751"/>
                      <a:pt x="20" y="741"/>
                    </a:cubicBezTo>
                    <a:moveTo>
                      <a:pt x="119" y="99"/>
                    </a:moveTo>
                    <a:cubicBezTo>
                      <a:pt x="116" y="99"/>
                      <a:pt x="116" y="99"/>
                      <a:pt x="116" y="99"/>
                    </a:cubicBezTo>
                    <a:cubicBezTo>
                      <a:pt x="106" y="124"/>
                      <a:pt x="96" y="156"/>
                      <a:pt x="88" y="195"/>
                    </a:cubicBezTo>
                    <a:cubicBezTo>
                      <a:pt x="90" y="195"/>
                      <a:pt x="90" y="195"/>
                      <a:pt x="90" y="195"/>
                    </a:cubicBezTo>
                    <a:cubicBezTo>
                      <a:pt x="98" y="156"/>
                      <a:pt x="108" y="124"/>
                      <a:pt x="119" y="99"/>
                    </a:cubicBezTo>
                    <a:moveTo>
                      <a:pt x="183" y="0"/>
                    </a:moveTo>
                    <a:cubicBezTo>
                      <a:pt x="182" y="0"/>
                      <a:pt x="182" y="0"/>
                      <a:pt x="182" y="0"/>
                    </a:cubicBezTo>
                    <a:cubicBezTo>
                      <a:pt x="179" y="2"/>
                      <a:pt x="146" y="26"/>
                      <a:pt x="117" y="98"/>
                    </a:cubicBezTo>
                    <a:cubicBezTo>
                      <a:pt x="119" y="98"/>
                      <a:pt x="119" y="98"/>
                      <a:pt x="119" y="98"/>
                    </a:cubicBezTo>
                    <a:cubicBezTo>
                      <a:pt x="129" y="74"/>
                      <a:pt x="139" y="55"/>
                      <a:pt x="149" y="41"/>
                    </a:cubicBezTo>
                    <a:cubicBezTo>
                      <a:pt x="158" y="26"/>
                      <a:pt x="167" y="16"/>
                      <a:pt x="173" y="10"/>
                    </a:cubicBezTo>
                    <a:cubicBezTo>
                      <a:pt x="177" y="7"/>
                      <a:pt x="179" y="5"/>
                      <a:pt x="181" y="4"/>
                    </a:cubicBezTo>
                    <a:cubicBezTo>
                      <a:pt x="182" y="3"/>
                      <a:pt x="182" y="3"/>
                      <a:pt x="183" y="2"/>
                    </a:cubicBezTo>
                    <a:cubicBezTo>
                      <a:pt x="184" y="2"/>
                      <a:pt x="184" y="2"/>
                      <a:pt x="184" y="2"/>
                    </a:cubicBezTo>
                    <a:cubicBezTo>
                      <a:pt x="183" y="0"/>
                      <a:pt x="183" y="0"/>
                      <a:pt x="18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01" name="Freeform 149"/>
              <p:cNvSpPr>
                <a:spLocks/>
              </p:cNvSpPr>
              <p:nvPr/>
            </p:nvSpPr>
            <p:spPr bwMode="auto">
              <a:xfrm>
                <a:off x="-3440" y="1754"/>
                <a:ext cx="6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02" name="Freeform 150"/>
              <p:cNvSpPr>
                <a:spLocks/>
              </p:cNvSpPr>
              <p:nvPr/>
            </p:nvSpPr>
            <p:spPr bwMode="auto">
              <a:xfrm>
                <a:off x="-3608" y="281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03" name="Freeform 151"/>
              <p:cNvSpPr>
                <a:spLocks/>
              </p:cNvSpPr>
              <p:nvPr/>
            </p:nvSpPr>
            <p:spPr bwMode="auto">
              <a:xfrm>
                <a:off x="-3672" y="3276"/>
                <a:ext cx="6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04" name="Freeform 152"/>
              <p:cNvSpPr>
                <a:spLocks/>
              </p:cNvSpPr>
              <p:nvPr/>
            </p:nvSpPr>
            <p:spPr bwMode="auto">
              <a:xfrm>
                <a:off x="-3689" y="3352"/>
                <a:ext cx="5" cy="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05" name="Freeform 153"/>
              <p:cNvSpPr>
                <a:spLocks/>
              </p:cNvSpPr>
              <p:nvPr/>
            </p:nvSpPr>
            <p:spPr bwMode="auto">
              <a:xfrm>
                <a:off x="-3607" y="2498"/>
                <a:ext cx="6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06" name="Freeform 154"/>
              <p:cNvSpPr>
                <a:spLocks/>
              </p:cNvSpPr>
              <p:nvPr/>
            </p:nvSpPr>
            <p:spPr bwMode="auto">
              <a:xfrm>
                <a:off x="-3583" y="2256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07" name="Freeform 155"/>
              <p:cNvSpPr>
                <a:spLocks noEditPoints="1"/>
              </p:cNvSpPr>
              <p:nvPr/>
            </p:nvSpPr>
            <p:spPr bwMode="auto">
              <a:xfrm>
                <a:off x="-3395" y="1987"/>
                <a:ext cx="44" cy="270"/>
              </a:xfrm>
              <a:custGeom>
                <a:avLst/>
                <a:gdLst/>
                <a:ahLst/>
                <a:cxnLst>
                  <a:cxn ang="0">
                    <a:pos x="3" y="101"/>
                  </a:cxn>
                  <a:cxn ang="0">
                    <a:pos x="1" y="101"/>
                  </a:cxn>
                  <a:cxn ang="0">
                    <a:pos x="0" y="114"/>
                  </a:cxn>
                  <a:cxn ang="0">
                    <a:pos x="2" y="114"/>
                  </a:cxn>
                  <a:cxn ang="0">
                    <a:pos x="3" y="101"/>
                  </a:cxn>
                  <a:cxn ang="0">
                    <a:pos x="19" y="0"/>
                  </a:cxn>
                  <a:cxn ang="0">
                    <a:pos x="17" y="0"/>
                  </a:cxn>
                  <a:cxn ang="0">
                    <a:pos x="17" y="2"/>
                  </a:cxn>
                  <a:cxn ang="0">
                    <a:pos x="17" y="2"/>
                  </a:cxn>
                  <a:cxn ang="0">
                    <a:pos x="16" y="10"/>
                  </a:cxn>
                  <a:cxn ang="0">
                    <a:pos x="13" y="25"/>
                  </a:cxn>
                  <a:cxn ang="0">
                    <a:pos x="1" y="100"/>
                  </a:cxn>
                  <a:cxn ang="0">
                    <a:pos x="3" y="100"/>
                  </a:cxn>
                  <a:cxn ang="0">
                    <a:pos x="15" y="25"/>
                  </a:cxn>
                  <a:cxn ang="0">
                    <a:pos x="19" y="2"/>
                  </a:cxn>
                  <a:cxn ang="0">
                    <a:pos x="19" y="2"/>
                  </a:cxn>
                  <a:cxn ang="0">
                    <a:pos x="19" y="2"/>
                  </a:cxn>
                  <a:cxn ang="0">
                    <a:pos x="19" y="0"/>
                  </a:cxn>
                </a:cxnLst>
                <a:rect l="0" t="0" r="r" b="b"/>
                <a:pathLst>
                  <a:path w="19" h="114">
                    <a:moveTo>
                      <a:pt x="3" y="101"/>
                    </a:moveTo>
                    <a:cubicBezTo>
                      <a:pt x="1" y="101"/>
                      <a:pt x="1" y="101"/>
                      <a:pt x="1" y="101"/>
                    </a:cubicBezTo>
                    <a:cubicBezTo>
                      <a:pt x="0" y="105"/>
                      <a:pt x="0" y="109"/>
                      <a:pt x="0" y="114"/>
                    </a:cubicBezTo>
                    <a:cubicBezTo>
                      <a:pt x="2" y="114"/>
                      <a:pt x="2" y="114"/>
                      <a:pt x="2" y="114"/>
                    </a:cubicBezTo>
                    <a:cubicBezTo>
                      <a:pt x="2" y="109"/>
                      <a:pt x="2" y="105"/>
                      <a:pt x="3" y="101"/>
                    </a:cubicBezTo>
                    <a:moveTo>
                      <a:pt x="19" y="0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17" y="0"/>
                      <a:pt x="17" y="1"/>
                      <a:pt x="17" y="2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17" y="2"/>
                      <a:pt x="16" y="5"/>
                      <a:pt x="16" y="10"/>
                    </a:cubicBezTo>
                    <a:cubicBezTo>
                      <a:pt x="15" y="14"/>
                      <a:pt x="14" y="20"/>
                      <a:pt x="13" y="25"/>
                    </a:cubicBezTo>
                    <a:cubicBezTo>
                      <a:pt x="12" y="36"/>
                      <a:pt x="5" y="62"/>
                      <a:pt x="1" y="100"/>
                    </a:cubicBezTo>
                    <a:cubicBezTo>
                      <a:pt x="3" y="100"/>
                      <a:pt x="3" y="100"/>
                      <a:pt x="3" y="100"/>
                    </a:cubicBezTo>
                    <a:cubicBezTo>
                      <a:pt x="7" y="63"/>
                      <a:pt x="14" y="36"/>
                      <a:pt x="15" y="25"/>
                    </a:cubicBezTo>
                    <a:cubicBezTo>
                      <a:pt x="17" y="15"/>
                      <a:pt x="19" y="2"/>
                      <a:pt x="19" y="2"/>
                    </a:cubicBezTo>
                    <a:cubicBezTo>
                      <a:pt x="19" y="2"/>
                      <a:pt x="19" y="2"/>
                      <a:pt x="19" y="2"/>
                    </a:cubicBezTo>
                    <a:cubicBezTo>
                      <a:pt x="19" y="2"/>
                      <a:pt x="19" y="2"/>
                      <a:pt x="19" y="2"/>
                    </a:cubicBezTo>
                    <a:cubicBezTo>
                      <a:pt x="19" y="1"/>
                      <a:pt x="19" y="0"/>
                      <a:pt x="19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08" name="Freeform 156"/>
              <p:cNvSpPr>
                <a:spLocks/>
              </p:cNvSpPr>
              <p:nvPr/>
            </p:nvSpPr>
            <p:spPr bwMode="auto">
              <a:xfrm>
                <a:off x="-3393" y="2222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09" name="Freeform 157"/>
              <p:cNvSpPr>
                <a:spLocks noEditPoints="1"/>
              </p:cNvSpPr>
              <p:nvPr/>
            </p:nvSpPr>
            <p:spPr bwMode="auto">
              <a:xfrm>
                <a:off x="-3355" y="1522"/>
                <a:ext cx="118" cy="462"/>
              </a:xfrm>
              <a:custGeom>
                <a:avLst/>
                <a:gdLst/>
                <a:ahLst/>
                <a:cxnLst>
                  <a:cxn ang="0">
                    <a:pos x="12" y="99"/>
                  </a:cxn>
                  <a:cxn ang="0">
                    <a:pos x="9" y="99"/>
                  </a:cxn>
                  <a:cxn ang="0">
                    <a:pos x="0" y="195"/>
                  </a:cxn>
                  <a:cxn ang="0">
                    <a:pos x="2" y="195"/>
                  </a:cxn>
                  <a:cxn ang="0">
                    <a:pos x="12" y="99"/>
                  </a:cxn>
                  <a:cxn ang="0">
                    <a:pos x="19" y="68"/>
                  </a:cxn>
                  <a:cxn ang="0">
                    <a:pos x="17" y="68"/>
                  </a:cxn>
                  <a:cxn ang="0">
                    <a:pos x="10" y="98"/>
                  </a:cxn>
                  <a:cxn ang="0">
                    <a:pos x="12" y="98"/>
                  </a:cxn>
                  <a:cxn ang="0">
                    <a:pos x="19" y="68"/>
                  </a:cxn>
                  <a:cxn ang="0">
                    <a:pos x="48" y="0"/>
                  </a:cxn>
                  <a:cxn ang="0">
                    <a:pos x="48" y="0"/>
                  </a:cxn>
                  <a:cxn ang="0">
                    <a:pos x="17" y="67"/>
                  </a:cxn>
                  <a:cxn ang="0">
                    <a:pos x="19" y="67"/>
                  </a:cxn>
                  <a:cxn ang="0">
                    <a:pos x="26" y="47"/>
                  </a:cxn>
                  <a:cxn ang="0">
                    <a:pos x="42" y="12"/>
                  </a:cxn>
                  <a:cxn ang="0">
                    <a:pos x="48" y="4"/>
                  </a:cxn>
                  <a:cxn ang="0">
                    <a:pos x="49" y="2"/>
                  </a:cxn>
                  <a:cxn ang="0">
                    <a:pos x="50" y="2"/>
                  </a:cxn>
                  <a:cxn ang="0">
                    <a:pos x="48" y="0"/>
                  </a:cxn>
                </a:cxnLst>
                <a:rect l="0" t="0" r="r" b="b"/>
                <a:pathLst>
                  <a:path w="50" h="195">
                    <a:moveTo>
                      <a:pt x="12" y="99"/>
                    </a:moveTo>
                    <a:cubicBezTo>
                      <a:pt x="9" y="99"/>
                      <a:pt x="9" y="99"/>
                      <a:pt x="9" y="99"/>
                    </a:cubicBezTo>
                    <a:cubicBezTo>
                      <a:pt x="4" y="125"/>
                      <a:pt x="0" y="157"/>
                      <a:pt x="0" y="195"/>
                    </a:cubicBezTo>
                    <a:cubicBezTo>
                      <a:pt x="2" y="195"/>
                      <a:pt x="2" y="195"/>
                      <a:pt x="2" y="195"/>
                    </a:cubicBezTo>
                    <a:cubicBezTo>
                      <a:pt x="2" y="157"/>
                      <a:pt x="6" y="125"/>
                      <a:pt x="12" y="99"/>
                    </a:cubicBezTo>
                    <a:moveTo>
                      <a:pt x="19" y="68"/>
                    </a:moveTo>
                    <a:cubicBezTo>
                      <a:pt x="17" y="68"/>
                      <a:pt x="17" y="68"/>
                      <a:pt x="17" y="68"/>
                    </a:cubicBezTo>
                    <a:cubicBezTo>
                      <a:pt x="14" y="77"/>
                      <a:pt x="12" y="87"/>
                      <a:pt x="10" y="98"/>
                    </a:cubicBezTo>
                    <a:cubicBezTo>
                      <a:pt x="12" y="98"/>
                      <a:pt x="12" y="98"/>
                      <a:pt x="12" y="98"/>
                    </a:cubicBezTo>
                    <a:cubicBezTo>
                      <a:pt x="14" y="87"/>
                      <a:pt x="16" y="77"/>
                      <a:pt x="19" y="68"/>
                    </a:cubicBezTo>
                    <a:moveTo>
                      <a:pt x="48" y="0"/>
                    </a:moveTo>
                    <a:cubicBezTo>
                      <a:pt x="48" y="0"/>
                      <a:pt x="48" y="0"/>
                      <a:pt x="48" y="0"/>
                    </a:cubicBezTo>
                    <a:cubicBezTo>
                      <a:pt x="48" y="0"/>
                      <a:pt x="31" y="21"/>
                      <a:pt x="17" y="67"/>
                    </a:cubicBezTo>
                    <a:cubicBezTo>
                      <a:pt x="19" y="67"/>
                      <a:pt x="19" y="67"/>
                      <a:pt x="19" y="67"/>
                    </a:cubicBezTo>
                    <a:cubicBezTo>
                      <a:pt x="22" y="60"/>
                      <a:pt x="24" y="53"/>
                      <a:pt x="26" y="47"/>
                    </a:cubicBezTo>
                    <a:cubicBezTo>
                      <a:pt x="32" y="31"/>
                      <a:pt x="38" y="20"/>
                      <a:pt x="42" y="12"/>
                    </a:cubicBezTo>
                    <a:cubicBezTo>
                      <a:pt x="45" y="9"/>
                      <a:pt x="46" y="6"/>
                      <a:pt x="48" y="4"/>
                    </a:cubicBezTo>
                    <a:cubicBezTo>
                      <a:pt x="48" y="3"/>
                      <a:pt x="49" y="3"/>
                      <a:pt x="49" y="2"/>
                    </a:cubicBezTo>
                    <a:cubicBezTo>
                      <a:pt x="50" y="2"/>
                      <a:pt x="50" y="2"/>
                      <a:pt x="50" y="2"/>
                    </a:cubicBezTo>
                    <a:cubicBezTo>
                      <a:pt x="48" y="0"/>
                      <a:pt x="48" y="0"/>
                      <a:pt x="4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10" name="Freeform 158"/>
              <p:cNvSpPr>
                <a:spLocks/>
              </p:cNvSpPr>
              <p:nvPr/>
            </p:nvSpPr>
            <p:spPr bwMode="auto">
              <a:xfrm>
                <a:off x="-3334" y="1754"/>
                <a:ext cx="8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11" name="Freeform 159"/>
              <p:cNvSpPr>
                <a:spLocks/>
              </p:cNvSpPr>
              <p:nvPr/>
            </p:nvSpPr>
            <p:spPr bwMode="auto">
              <a:xfrm>
                <a:off x="-3314" y="1682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12" name="Freeform 160"/>
              <p:cNvSpPr>
                <a:spLocks noEditPoints="1"/>
              </p:cNvSpPr>
              <p:nvPr/>
            </p:nvSpPr>
            <p:spPr bwMode="auto">
              <a:xfrm>
                <a:off x="-3557" y="2260"/>
                <a:ext cx="167" cy="1016"/>
              </a:xfrm>
              <a:custGeom>
                <a:avLst/>
                <a:gdLst/>
                <a:ahLst/>
                <a:cxnLst>
                  <a:cxn ang="0">
                    <a:pos x="28" y="343"/>
                  </a:cxn>
                  <a:cxn ang="0">
                    <a:pos x="26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28" y="343"/>
                  </a:cxn>
                  <a:cxn ang="0">
                    <a:pos x="54" y="255"/>
                  </a:cxn>
                  <a:cxn ang="0">
                    <a:pos x="52" y="255"/>
                  </a:cxn>
                  <a:cxn ang="0">
                    <a:pos x="48" y="267"/>
                  </a:cxn>
                  <a:cxn ang="0">
                    <a:pos x="35" y="312"/>
                  </a:cxn>
                  <a:cxn ang="0">
                    <a:pos x="30" y="324"/>
                  </a:cxn>
                  <a:cxn ang="0">
                    <a:pos x="29" y="329"/>
                  </a:cxn>
                  <a:cxn ang="0">
                    <a:pos x="29" y="329"/>
                  </a:cxn>
                  <a:cxn ang="0">
                    <a:pos x="29" y="329"/>
                  </a:cxn>
                  <a:cxn ang="0">
                    <a:pos x="26" y="342"/>
                  </a:cxn>
                  <a:cxn ang="0">
                    <a:pos x="28" y="342"/>
                  </a:cxn>
                  <a:cxn ang="0">
                    <a:pos x="31" y="329"/>
                  </a:cxn>
                  <a:cxn ang="0">
                    <a:pos x="31" y="329"/>
                  </a:cxn>
                  <a:cxn ang="0">
                    <a:pos x="54" y="255"/>
                  </a:cxn>
                  <a:cxn ang="0">
                    <a:pos x="59" y="233"/>
                  </a:cxn>
                  <a:cxn ang="0">
                    <a:pos x="57" y="233"/>
                  </a:cxn>
                  <a:cxn ang="0">
                    <a:pos x="52" y="254"/>
                  </a:cxn>
                  <a:cxn ang="0">
                    <a:pos x="54" y="254"/>
                  </a:cxn>
                  <a:cxn ang="0">
                    <a:pos x="59" y="233"/>
                  </a:cxn>
                  <a:cxn ang="0">
                    <a:pos x="68" y="102"/>
                  </a:cxn>
                  <a:cxn ang="0">
                    <a:pos x="66" y="102"/>
                  </a:cxn>
                  <a:cxn ang="0">
                    <a:pos x="67" y="110"/>
                  </a:cxn>
                  <a:cxn ang="0">
                    <a:pos x="68" y="136"/>
                  </a:cxn>
                  <a:cxn ang="0">
                    <a:pos x="57" y="232"/>
                  </a:cxn>
                  <a:cxn ang="0">
                    <a:pos x="59" y="232"/>
                  </a:cxn>
                  <a:cxn ang="0">
                    <a:pos x="70" y="136"/>
                  </a:cxn>
                  <a:cxn ang="0">
                    <a:pos x="69" y="110"/>
                  </a:cxn>
                  <a:cxn ang="0">
                    <a:pos x="68" y="102"/>
                  </a:cxn>
                  <a:cxn ang="0">
                    <a:pos x="70" y="0"/>
                  </a:cxn>
                  <a:cxn ang="0">
                    <a:pos x="68" y="0"/>
                  </a:cxn>
                  <a:cxn ang="0">
                    <a:pos x="65" y="58"/>
                  </a:cxn>
                  <a:cxn ang="0">
                    <a:pos x="66" y="101"/>
                  </a:cxn>
                  <a:cxn ang="0">
                    <a:pos x="68" y="101"/>
                  </a:cxn>
                  <a:cxn ang="0">
                    <a:pos x="67" y="58"/>
                  </a:cxn>
                  <a:cxn ang="0">
                    <a:pos x="70" y="0"/>
                  </a:cxn>
                </a:cxnLst>
                <a:rect l="0" t="0" r="r" b="b"/>
                <a:pathLst>
                  <a:path w="70" h="429">
                    <a:moveTo>
                      <a:pt x="28" y="343"/>
                    </a:moveTo>
                    <a:cubicBezTo>
                      <a:pt x="26" y="343"/>
                      <a:pt x="26" y="343"/>
                      <a:pt x="26" y="343"/>
                    </a:cubicBezTo>
                    <a:cubicBezTo>
                      <a:pt x="18" y="376"/>
                      <a:pt x="9" y="405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1" y="405"/>
                      <a:pt x="20" y="376"/>
                      <a:pt x="28" y="343"/>
                    </a:cubicBezTo>
                    <a:moveTo>
                      <a:pt x="54" y="255"/>
                    </a:moveTo>
                    <a:cubicBezTo>
                      <a:pt x="52" y="255"/>
                      <a:pt x="52" y="255"/>
                      <a:pt x="52" y="255"/>
                    </a:cubicBezTo>
                    <a:cubicBezTo>
                      <a:pt x="51" y="259"/>
                      <a:pt x="49" y="263"/>
                      <a:pt x="48" y="267"/>
                    </a:cubicBezTo>
                    <a:cubicBezTo>
                      <a:pt x="43" y="286"/>
                      <a:pt x="39" y="301"/>
                      <a:pt x="35" y="312"/>
                    </a:cubicBezTo>
                    <a:cubicBezTo>
                      <a:pt x="33" y="317"/>
                      <a:pt x="31" y="321"/>
                      <a:pt x="30" y="324"/>
                    </a:cubicBezTo>
                    <a:cubicBezTo>
                      <a:pt x="29" y="327"/>
                      <a:pt x="29" y="329"/>
                      <a:pt x="29" y="329"/>
                    </a:cubicBezTo>
                    <a:cubicBezTo>
                      <a:pt x="29" y="329"/>
                      <a:pt x="29" y="329"/>
                      <a:pt x="29" y="329"/>
                    </a:cubicBezTo>
                    <a:cubicBezTo>
                      <a:pt x="29" y="329"/>
                      <a:pt x="29" y="329"/>
                      <a:pt x="29" y="329"/>
                    </a:cubicBezTo>
                    <a:cubicBezTo>
                      <a:pt x="28" y="333"/>
                      <a:pt x="27" y="338"/>
                      <a:pt x="26" y="342"/>
                    </a:cubicBezTo>
                    <a:cubicBezTo>
                      <a:pt x="28" y="342"/>
                      <a:pt x="28" y="342"/>
                      <a:pt x="28" y="342"/>
                    </a:cubicBezTo>
                    <a:cubicBezTo>
                      <a:pt x="29" y="338"/>
                      <a:pt x="30" y="334"/>
                      <a:pt x="31" y="329"/>
                    </a:cubicBezTo>
                    <a:cubicBezTo>
                      <a:pt x="31" y="329"/>
                      <a:pt x="31" y="329"/>
                      <a:pt x="31" y="329"/>
                    </a:cubicBezTo>
                    <a:cubicBezTo>
                      <a:pt x="32" y="327"/>
                      <a:pt x="43" y="297"/>
                      <a:pt x="54" y="255"/>
                    </a:cubicBezTo>
                    <a:moveTo>
                      <a:pt x="59" y="233"/>
                    </a:moveTo>
                    <a:cubicBezTo>
                      <a:pt x="57" y="233"/>
                      <a:pt x="57" y="233"/>
                      <a:pt x="57" y="233"/>
                    </a:cubicBezTo>
                    <a:cubicBezTo>
                      <a:pt x="55" y="240"/>
                      <a:pt x="53" y="247"/>
                      <a:pt x="52" y="254"/>
                    </a:cubicBezTo>
                    <a:cubicBezTo>
                      <a:pt x="54" y="254"/>
                      <a:pt x="54" y="254"/>
                      <a:pt x="54" y="254"/>
                    </a:cubicBezTo>
                    <a:cubicBezTo>
                      <a:pt x="56" y="247"/>
                      <a:pt x="57" y="240"/>
                      <a:pt x="59" y="233"/>
                    </a:cubicBezTo>
                    <a:moveTo>
                      <a:pt x="68" y="102"/>
                    </a:moveTo>
                    <a:cubicBezTo>
                      <a:pt x="66" y="102"/>
                      <a:pt x="66" y="102"/>
                      <a:pt x="66" y="102"/>
                    </a:cubicBezTo>
                    <a:cubicBezTo>
                      <a:pt x="67" y="105"/>
                      <a:pt x="67" y="107"/>
                      <a:pt x="67" y="110"/>
                    </a:cubicBezTo>
                    <a:cubicBezTo>
                      <a:pt x="68" y="118"/>
                      <a:pt x="68" y="127"/>
                      <a:pt x="68" y="136"/>
                    </a:cubicBezTo>
                    <a:cubicBezTo>
                      <a:pt x="68" y="169"/>
                      <a:pt x="63" y="202"/>
                      <a:pt x="57" y="232"/>
                    </a:cubicBezTo>
                    <a:cubicBezTo>
                      <a:pt x="59" y="232"/>
                      <a:pt x="59" y="232"/>
                      <a:pt x="59" y="232"/>
                    </a:cubicBezTo>
                    <a:cubicBezTo>
                      <a:pt x="65" y="202"/>
                      <a:pt x="70" y="169"/>
                      <a:pt x="70" y="136"/>
                    </a:cubicBezTo>
                    <a:cubicBezTo>
                      <a:pt x="70" y="127"/>
                      <a:pt x="70" y="118"/>
                      <a:pt x="69" y="110"/>
                    </a:cubicBezTo>
                    <a:cubicBezTo>
                      <a:pt x="69" y="107"/>
                      <a:pt x="69" y="105"/>
                      <a:pt x="68" y="102"/>
                    </a:cubicBezTo>
                    <a:moveTo>
                      <a:pt x="70" y="0"/>
                    </a:moveTo>
                    <a:cubicBezTo>
                      <a:pt x="68" y="0"/>
                      <a:pt x="68" y="0"/>
                      <a:pt x="68" y="0"/>
                    </a:cubicBezTo>
                    <a:cubicBezTo>
                      <a:pt x="66" y="17"/>
                      <a:pt x="65" y="37"/>
                      <a:pt x="65" y="58"/>
                    </a:cubicBezTo>
                    <a:cubicBezTo>
                      <a:pt x="65" y="72"/>
                      <a:pt x="65" y="86"/>
                      <a:pt x="66" y="101"/>
                    </a:cubicBezTo>
                    <a:cubicBezTo>
                      <a:pt x="68" y="101"/>
                      <a:pt x="68" y="101"/>
                      <a:pt x="68" y="101"/>
                    </a:cubicBezTo>
                    <a:cubicBezTo>
                      <a:pt x="67" y="86"/>
                      <a:pt x="67" y="72"/>
                      <a:pt x="67" y="58"/>
                    </a:cubicBezTo>
                    <a:cubicBezTo>
                      <a:pt x="67" y="37"/>
                      <a:pt x="68" y="17"/>
                      <a:pt x="7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13" name="Freeform 161"/>
              <p:cNvSpPr>
                <a:spLocks/>
              </p:cNvSpPr>
              <p:nvPr/>
            </p:nvSpPr>
            <p:spPr bwMode="auto">
              <a:xfrm>
                <a:off x="-3495" y="307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14" name="Freeform 162"/>
              <p:cNvSpPr>
                <a:spLocks/>
              </p:cNvSpPr>
              <p:nvPr/>
            </p:nvSpPr>
            <p:spPr bwMode="auto">
              <a:xfrm>
                <a:off x="-3434" y="2861"/>
                <a:ext cx="6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15" name="Freeform 163"/>
              <p:cNvSpPr>
                <a:spLocks noEditPoints="1"/>
              </p:cNvSpPr>
              <p:nvPr/>
            </p:nvSpPr>
            <p:spPr bwMode="auto">
              <a:xfrm>
                <a:off x="-3630" y="3278"/>
                <a:ext cx="76" cy="155"/>
              </a:xfrm>
              <a:custGeom>
                <a:avLst/>
                <a:gdLst/>
                <a:ahLst/>
                <a:cxnLst>
                  <a:cxn ang="0">
                    <a:pos x="19" y="31"/>
                  </a:cxn>
                  <a:cxn ang="0">
                    <a:pos x="17" y="31"/>
                  </a:cxn>
                  <a:cxn ang="0">
                    <a:pos x="7" y="52"/>
                  </a:cxn>
                  <a:cxn ang="0">
                    <a:pos x="2" y="61"/>
                  </a:cxn>
                  <a:cxn ang="0">
                    <a:pos x="0" y="64"/>
                  </a:cxn>
                  <a:cxn ang="0">
                    <a:pos x="2" y="65"/>
                  </a:cxn>
                  <a:cxn ang="0">
                    <a:pos x="19" y="31"/>
                  </a:cxn>
                  <a:cxn ang="0">
                    <a:pos x="32" y="0"/>
                  </a:cxn>
                  <a:cxn ang="0">
                    <a:pos x="30" y="0"/>
                  </a:cxn>
                  <a:cxn ang="0">
                    <a:pos x="23" y="18"/>
                  </a:cxn>
                  <a:cxn ang="0">
                    <a:pos x="17" y="31"/>
                  </a:cxn>
                  <a:cxn ang="0">
                    <a:pos x="19" y="31"/>
                  </a:cxn>
                  <a:cxn ang="0">
                    <a:pos x="32" y="0"/>
                  </a:cxn>
                </a:cxnLst>
                <a:rect l="0" t="0" r="r" b="b"/>
                <a:pathLst>
                  <a:path w="32" h="65">
                    <a:moveTo>
                      <a:pt x="19" y="31"/>
                    </a:moveTo>
                    <a:cubicBezTo>
                      <a:pt x="17" y="31"/>
                      <a:pt x="17" y="31"/>
                      <a:pt x="17" y="31"/>
                    </a:cubicBezTo>
                    <a:cubicBezTo>
                      <a:pt x="13" y="40"/>
                      <a:pt x="9" y="47"/>
                      <a:pt x="7" y="52"/>
                    </a:cubicBezTo>
                    <a:cubicBezTo>
                      <a:pt x="5" y="56"/>
                      <a:pt x="3" y="59"/>
                      <a:pt x="2" y="61"/>
                    </a:cubicBezTo>
                    <a:cubicBezTo>
                      <a:pt x="1" y="63"/>
                      <a:pt x="0" y="64"/>
                      <a:pt x="0" y="64"/>
                    </a:cubicBezTo>
                    <a:cubicBezTo>
                      <a:pt x="2" y="65"/>
                      <a:pt x="2" y="65"/>
                      <a:pt x="2" y="65"/>
                    </a:cubicBezTo>
                    <a:cubicBezTo>
                      <a:pt x="2" y="65"/>
                      <a:pt x="9" y="53"/>
                      <a:pt x="19" y="31"/>
                    </a:cubicBezTo>
                    <a:moveTo>
                      <a:pt x="32" y="0"/>
                    </a:moveTo>
                    <a:cubicBezTo>
                      <a:pt x="30" y="0"/>
                      <a:pt x="30" y="0"/>
                      <a:pt x="30" y="0"/>
                    </a:cubicBezTo>
                    <a:cubicBezTo>
                      <a:pt x="28" y="7"/>
                      <a:pt x="25" y="13"/>
                      <a:pt x="23" y="18"/>
                    </a:cubicBezTo>
                    <a:cubicBezTo>
                      <a:pt x="21" y="23"/>
                      <a:pt x="19" y="27"/>
                      <a:pt x="17" y="31"/>
                    </a:cubicBezTo>
                    <a:cubicBezTo>
                      <a:pt x="19" y="31"/>
                      <a:pt x="19" y="31"/>
                      <a:pt x="19" y="31"/>
                    </a:cubicBezTo>
                    <a:cubicBezTo>
                      <a:pt x="23" y="22"/>
                      <a:pt x="28" y="12"/>
                      <a:pt x="3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16" name="Freeform 164"/>
              <p:cNvSpPr>
                <a:spLocks/>
              </p:cNvSpPr>
              <p:nvPr/>
            </p:nvSpPr>
            <p:spPr bwMode="auto">
              <a:xfrm>
                <a:off x="-3422" y="2810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17" name="Freeform 165"/>
              <p:cNvSpPr>
                <a:spLocks/>
              </p:cNvSpPr>
              <p:nvPr/>
            </p:nvSpPr>
            <p:spPr bwMode="auto">
              <a:xfrm>
                <a:off x="-3558" y="3276"/>
                <a:ext cx="8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18" name="Freeform 166"/>
              <p:cNvSpPr>
                <a:spLocks/>
              </p:cNvSpPr>
              <p:nvPr/>
            </p:nvSpPr>
            <p:spPr bwMode="auto">
              <a:xfrm>
                <a:off x="-3589" y="3352"/>
                <a:ext cx="5" cy="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19" name="Freeform 167"/>
              <p:cNvSpPr>
                <a:spLocks/>
              </p:cNvSpPr>
              <p:nvPr/>
            </p:nvSpPr>
            <p:spPr bwMode="auto">
              <a:xfrm>
                <a:off x="-3401" y="2498"/>
                <a:ext cx="6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20" name="Freeform 168"/>
              <p:cNvSpPr>
                <a:spLocks/>
              </p:cNvSpPr>
              <p:nvPr/>
            </p:nvSpPr>
            <p:spPr bwMode="auto">
              <a:xfrm>
                <a:off x="-3395" y="2256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21" name="Freeform 169"/>
              <p:cNvSpPr>
                <a:spLocks/>
              </p:cNvSpPr>
              <p:nvPr/>
            </p:nvSpPr>
            <p:spPr bwMode="auto">
              <a:xfrm>
                <a:off x="-3200" y="1987"/>
                <a:ext cx="3" cy="270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270"/>
                  </a:cxn>
                  <a:cxn ang="0">
                    <a:pos x="3" y="270"/>
                  </a:cxn>
                  <a:cxn ang="0">
                    <a:pos x="3" y="240"/>
                  </a:cxn>
                  <a:cxn ang="0">
                    <a:pos x="0" y="240"/>
                  </a:cxn>
                  <a:cxn ang="0">
                    <a:pos x="0" y="237"/>
                  </a:cxn>
                  <a:cxn ang="0">
                    <a:pos x="3" y="237"/>
                  </a:cxn>
                  <a:cxn ang="0">
                    <a:pos x="3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270">
                    <a:moveTo>
                      <a:pt x="3" y="0"/>
                    </a:moveTo>
                    <a:lnTo>
                      <a:pt x="0" y="0"/>
                    </a:lnTo>
                    <a:lnTo>
                      <a:pt x="0" y="270"/>
                    </a:lnTo>
                    <a:lnTo>
                      <a:pt x="3" y="270"/>
                    </a:lnTo>
                    <a:lnTo>
                      <a:pt x="3" y="240"/>
                    </a:lnTo>
                    <a:lnTo>
                      <a:pt x="0" y="240"/>
                    </a:lnTo>
                    <a:lnTo>
                      <a:pt x="0" y="237"/>
                    </a:lnTo>
                    <a:lnTo>
                      <a:pt x="3" y="237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22" name="Freeform 170"/>
              <p:cNvSpPr>
                <a:spLocks/>
              </p:cNvSpPr>
              <p:nvPr/>
            </p:nvSpPr>
            <p:spPr bwMode="auto">
              <a:xfrm>
                <a:off x="-3200" y="2222"/>
                <a:ext cx="3" cy="3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3" y="3"/>
                  </a:cxn>
                  <a:cxn ang="0">
                    <a:pos x="3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3">
                    <a:moveTo>
                      <a:pt x="3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23" name="Freeform 171"/>
              <p:cNvSpPr>
                <a:spLocks noEditPoints="1"/>
              </p:cNvSpPr>
              <p:nvPr/>
            </p:nvSpPr>
            <p:spPr bwMode="auto">
              <a:xfrm>
                <a:off x="-3203" y="1524"/>
                <a:ext cx="8" cy="998"/>
              </a:xfrm>
              <a:custGeom>
                <a:avLst/>
                <a:gdLst/>
                <a:ahLst/>
                <a:cxnLst>
                  <a:cxn ang="0">
                    <a:pos x="7" y="977"/>
                  </a:cxn>
                  <a:cxn ang="0">
                    <a:pos x="5" y="977"/>
                  </a:cxn>
                  <a:cxn ang="0">
                    <a:pos x="5" y="998"/>
                  </a:cxn>
                  <a:cxn ang="0">
                    <a:pos x="7" y="998"/>
                  </a:cxn>
                  <a:cxn ang="0">
                    <a:pos x="7" y="977"/>
                  </a:cxn>
                  <a:cxn ang="0">
                    <a:pos x="7" y="977"/>
                  </a:cxn>
                  <a:cxn ang="0">
                    <a:pos x="5" y="735"/>
                  </a:cxn>
                  <a:cxn ang="0">
                    <a:pos x="2" y="735"/>
                  </a:cxn>
                  <a:cxn ang="0">
                    <a:pos x="5" y="974"/>
                  </a:cxn>
                  <a:cxn ang="0">
                    <a:pos x="7" y="974"/>
                  </a:cxn>
                  <a:cxn ang="0">
                    <a:pos x="5" y="735"/>
                  </a:cxn>
                  <a:cxn ang="0">
                    <a:pos x="5" y="735"/>
                  </a:cxn>
                  <a:cxn ang="0">
                    <a:pos x="2" y="232"/>
                  </a:cxn>
                  <a:cxn ang="0">
                    <a:pos x="0" y="232"/>
                  </a:cxn>
                  <a:cxn ang="0">
                    <a:pos x="2" y="460"/>
                  </a:cxn>
                  <a:cxn ang="0">
                    <a:pos x="2" y="460"/>
                  </a:cxn>
                  <a:cxn ang="0">
                    <a:pos x="2" y="232"/>
                  </a:cxn>
                  <a:cxn ang="0">
                    <a:pos x="2" y="23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30"/>
                  </a:cxn>
                  <a:cxn ang="0">
                    <a:pos x="2" y="23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7" h="998">
                    <a:moveTo>
                      <a:pt x="7" y="977"/>
                    </a:moveTo>
                    <a:lnTo>
                      <a:pt x="5" y="977"/>
                    </a:lnTo>
                    <a:lnTo>
                      <a:pt x="5" y="998"/>
                    </a:lnTo>
                    <a:lnTo>
                      <a:pt x="7" y="998"/>
                    </a:lnTo>
                    <a:lnTo>
                      <a:pt x="7" y="977"/>
                    </a:lnTo>
                    <a:lnTo>
                      <a:pt x="7" y="977"/>
                    </a:lnTo>
                    <a:close/>
                    <a:moveTo>
                      <a:pt x="5" y="735"/>
                    </a:moveTo>
                    <a:lnTo>
                      <a:pt x="2" y="735"/>
                    </a:lnTo>
                    <a:lnTo>
                      <a:pt x="5" y="974"/>
                    </a:lnTo>
                    <a:lnTo>
                      <a:pt x="7" y="974"/>
                    </a:lnTo>
                    <a:lnTo>
                      <a:pt x="5" y="735"/>
                    </a:lnTo>
                    <a:lnTo>
                      <a:pt x="5" y="735"/>
                    </a:lnTo>
                    <a:close/>
                    <a:moveTo>
                      <a:pt x="2" y="232"/>
                    </a:moveTo>
                    <a:lnTo>
                      <a:pt x="0" y="232"/>
                    </a:lnTo>
                    <a:lnTo>
                      <a:pt x="2" y="460"/>
                    </a:lnTo>
                    <a:lnTo>
                      <a:pt x="2" y="460"/>
                    </a:lnTo>
                    <a:lnTo>
                      <a:pt x="2" y="232"/>
                    </a:lnTo>
                    <a:lnTo>
                      <a:pt x="2" y="232"/>
                    </a:lnTo>
                    <a:close/>
                    <a:moveTo>
                      <a:pt x="2" y="0"/>
                    </a:moveTo>
                    <a:lnTo>
                      <a:pt x="0" y="0"/>
                    </a:lnTo>
                    <a:lnTo>
                      <a:pt x="0" y="230"/>
                    </a:lnTo>
                    <a:lnTo>
                      <a:pt x="2" y="23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24" name="Freeform 172"/>
              <p:cNvSpPr>
                <a:spLocks/>
              </p:cNvSpPr>
              <p:nvPr/>
            </p:nvSpPr>
            <p:spPr bwMode="auto">
              <a:xfrm>
                <a:off x="-3203" y="1754"/>
                <a:ext cx="3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25" name="Freeform 173"/>
              <p:cNvSpPr>
                <a:spLocks/>
              </p:cNvSpPr>
              <p:nvPr/>
            </p:nvSpPr>
            <p:spPr bwMode="auto">
              <a:xfrm>
                <a:off x="-3197" y="2498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2" y="3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26" name="Freeform 174"/>
              <p:cNvSpPr>
                <a:spLocks/>
              </p:cNvSpPr>
              <p:nvPr/>
            </p:nvSpPr>
            <p:spPr bwMode="auto">
              <a:xfrm>
                <a:off x="-3200" y="2256"/>
                <a:ext cx="3" cy="3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3" y="3"/>
                  </a:cxn>
                  <a:cxn ang="0">
                    <a:pos x="3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3">
                    <a:moveTo>
                      <a:pt x="3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27" name="Freeform 175"/>
              <p:cNvSpPr>
                <a:spLocks noEditPoints="1"/>
              </p:cNvSpPr>
              <p:nvPr/>
            </p:nvSpPr>
            <p:spPr bwMode="auto">
              <a:xfrm>
                <a:off x="-3161" y="1524"/>
                <a:ext cx="152" cy="733"/>
              </a:xfrm>
              <a:custGeom>
                <a:avLst/>
                <a:gdLst/>
                <a:ahLst/>
                <a:cxnLst>
                  <a:cxn ang="0">
                    <a:pos x="50" y="195"/>
                  </a:cxn>
                  <a:cxn ang="0">
                    <a:pos x="48" y="195"/>
                  </a:cxn>
                  <a:cxn ang="0">
                    <a:pos x="62" y="309"/>
                  </a:cxn>
                  <a:cxn ang="0">
                    <a:pos x="64" y="309"/>
                  </a:cxn>
                  <a:cxn ang="0">
                    <a:pos x="50" y="195"/>
                  </a:cxn>
                  <a:cxn ang="0">
                    <a:pos x="29" y="98"/>
                  </a:cxn>
                  <a:cxn ang="0">
                    <a:pos x="27" y="98"/>
                  </a:cxn>
                  <a:cxn ang="0">
                    <a:pos x="48" y="194"/>
                  </a:cxn>
                  <a:cxn ang="0">
                    <a:pos x="50" y="194"/>
                  </a:cxn>
                  <a:cxn ang="0">
                    <a:pos x="29" y="98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2" y="9"/>
                  </a:cxn>
                  <a:cxn ang="0">
                    <a:pos x="19" y="66"/>
                  </a:cxn>
                  <a:cxn ang="0">
                    <a:pos x="21" y="66"/>
                  </a:cxn>
                  <a:cxn ang="0">
                    <a:pos x="21" y="67"/>
                  </a:cxn>
                  <a:cxn ang="0">
                    <a:pos x="19" y="67"/>
                  </a:cxn>
                  <a:cxn ang="0">
                    <a:pos x="27" y="97"/>
                  </a:cxn>
                  <a:cxn ang="0">
                    <a:pos x="29" y="97"/>
                  </a:cxn>
                  <a:cxn ang="0">
                    <a:pos x="2" y="0"/>
                  </a:cxn>
                </a:cxnLst>
                <a:rect l="0" t="0" r="r" b="b"/>
                <a:pathLst>
                  <a:path w="64" h="309">
                    <a:moveTo>
                      <a:pt x="50" y="195"/>
                    </a:moveTo>
                    <a:cubicBezTo>
                      <a:pt x="48" y="195"/>
                      <a:pt x="48" y="195"/>
                      <a:pt x="48" y="195"/>
                    </a:cubicBezTo>
                    <a:cubicBezTo>
                      <a:pt x="55" y="233"/>
                      <a:pt x="61" y="273"/>
                      <a:pt x="62" y="309"/>
                    </a:cubicBezTo>
                    <a:cubicBezTo>
                      <a:pt x="64" y="309"/>
                      <a:pt x="64" y="309"/>
                      <a:pt x="64" y="309"/>
                    </a:cubicBezTo>
                    <a:cubicBezTo>
                      <a:pt x="63" y="273"/>
                      <a:pt x="57" y="233"/>
                      <a:pt x="50" y="195"/>
                    </a:cubicBezTo>
                    <a:moveTo>
                      <a:pt x="29" y="98"/>
                    </a:moveTo>
                    <a:cubicBezTo>
                      <a:pt x="27" y="98"/>
                      <a:pt x="27" y="98"/>
                      <a:pt x="27" y="98"/>
                    </a:cubicBezTo>
                    <a:cubicBezTo>
                      <a:pt x="34" y="127"/>
                      <a:pt x="42" y="160"/>
                      <a:pt x="48" y="194"/>
                    </a:cubicBezTo>
                    <a:cubicBezTo>
                      <a:pt x="50" y="194"/>
                      <a:pt x="50" y="194"/>
                      <a:pt x="50" y="194"/>
                    </a:cubicBezTo>
                    <a:cubicBezTo>
                      <a:pt x="44" y="160"/>
                      <a:pt x="36" y="127"/>
                      <a:pt x="29" y="98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3"/>
                      <a:pt x="2" y="9"/>
                    </a:cubicBezTo>
                    <a:cubicBezTo>
                      <a:pt x="5" y="19"/>
                      <a:pt x="12" y="40"/>
                      <a:pt x="19" y="66"/>
                    </a:cubicBezTo>
                    <a:cubicBezTo>
                      <a:pt x="21" y="66"/>
                      <a:pt x="21" y="66"/>
                      <a:pt x="21" y="66"/>
                    </a:cubicBezTo>
                    <a:cubicBezTo>
                      <a:pt x="21" y="67"/>
                      <a:pt x="21" y="67"/>
                      <a:pt x="21" y="67"/>
                    </a:cubicBezTo>
                    <a:cubicBezTo>
                      <a:pt x="19" y="67"/>
                      <a:pt x="19" y="67"/>
                      <a:pt x="19" y="67"/>
                    </a:cubicBezTo>
                    <a:cubicBezTo>
                      <a:pt x="21" y="77"/>
                      <a:pt x="24" y="87"/>
                      <a:pt x="27" y="97"/>
                    </a:cubicBezTo>
                    <a:cubicBezTo>
                      <a:pt x="29" y="97"/>
                      <a:pt x="29" y="97"/>
                      <a:pt x="29" y="97"/>
                    </a:cubicBezTo>
                    <a:cubicBezTo>
                      <a:pt x="15" y="41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28" name="Freeform 176"/>
              <p:cNvSpPr>
                <a:spLocks/>
              </p:cNvSpPr>
              <p:nvPr/>
            </p:nvSpPr>
            <p:spPr bwMode="auto">
              <a:xfrm>
                <a:off x="-3097" y="1754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29" name="Freeform 177"/>
              <p:cNvSpPr>
                <a:spLocks/>
              </p:cNvSpPr>
              <p:nvPr/>
            </p:nvSpPr>
            <p:spPr bwMode="auto">
              <a:xfrm>
                <a:off x="-3116" y="1682"/>
                <a:ext cx="5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30" name="Line 178"/>
              <p:cNvSpPr>
                <a:spLocks noChangeShapeType="1"/>
              </p:cNvSpPr>
              <p:nvPr/>
            </p:nvSpPr>
            <p:spPr bwMode="auto">
              <a:xfrm>
                <a:off x="-3111" y="1682"/>
                <a:ext cx="2" cy="0"/>
              </a:xfrm>
              <a:prstGeom prst="lin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31" name="Line 179"/>
              <p:cNvSpPr>
                <a:spLocks noChangeShapeType="1"/>
              </p:cNvSpPr>
              <p:nvPr/>
            </p:nvSpPr>
            <p:spPr bwMode="auto">
              <a:xfrm>
                <a:off x="-3111" y="1682"/>
                <a:ext cx="2" cy="0"/>
              </a:xfrm>
              <a:prstGeom prst="lin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32" name="Freeform 180"/>
              <p:cNvSpPr>
                <a:spLocks noEditPoints="1"/>
              </p:cNvSpPr>
              <p:nvPr/>
            </p:nvSpPr>
            <p:spPr bwMode="auto">
              <a:xfrm>
                <a:off x="-3014" y="2260"/>
                <a:ext cx="92" cy="1016"/>
              </a:xfrm>
              <a:custGeom>
                <a:avLst/>
                <a:gdLst/>
                <a:ahLst/>
                <a:cxnLst>
                  <a:cxn ang="0">
                    <a:pos x="26" y="343"/>
                  </a:cxn>
                  <a:cxn ang="0">
                    <a:pos x="24" y="343"/>
                  </a:cxn>
                  <a:cxn ang="0">
                    <a:pos x="37" y="429"/>
                  </a:cxn>
                  <a:cxn ang="0">
                    <a:pos x="39" y="429"/>
                  </a:cxn>
                  <a:cxn ang="0">
                    <a:pos x="30" y="378"/>
                  </a:cxn>
                  <a:cxn ang="0">
                    <a:pos x="26" y="345"/>
                  </a:cxn>
                  <a:cxn ang="0">
                    <a:pos x="26" y="343"/>
                  </a:cxn>
                  <a:cxn ang="0">
                    <a:pos x="13" y="255"/>
                  </a:cxn>
                  <a:cxn ang="0">
                    <a:pos x="11" y="255"/>
                  </a:cxn>
                  <a:cxn ang="0">
                    <a:pos x="23" y="333"/>
                  </a:cxn>
                  <a:cxn ang="0">
                    <a:pos x="23" y="333"/>
                  </a:cxn>
                  <a:cxn ang="0">
                    <a:pos x="24" y="342"/>
                  </a:cxn>
                  <a:cxn ang="0">
                    <a:pos x="26" y="342"/>
                  </a:cxn>
                  <a:cxn ang="0">
                    <a:pos x="25" y="333"/>
                  </a:cxn>
                  <a:cxn ang="0">
                    <a:pos x="25" y="333"/>
                  </a:cxn>
                  <a:cxn ang="0">
                    <a:pos x="25" y="333"/>
                  </a:cxn>
                  <a:cxn ang="0">
                    <a:pos x="13" y="255"/>
                  </a:cxn>
                  <a:cxn ang="0">
                    <a:pos x="10" y="233"/>
                  </a:cxn>
                  <a:cxn ang="0">
                    <a:pos x="8" y="233"/>
                  </a:cxn>
                  <a:cxn ang="0">
                    <a:pos x="11" y="254"/>
                  </a:cxn>
                  <a:cxn ang="0">
                    <a:pos x="13" y="254"/>
                  </a:cxn>
                  <a:cxn ang="0">
                    <a:pos x="10" y="233"/>
                  </a:cxn>
                  <a:cxn ang="0">
                    <a:pos x="4" y="102"/>
                  </a:cxn>
                  <a:cxn ang="0">
                    <a:pos x="2" y="102"/>
                  </a:cxn>
                  <a:cxn ang="0">
                    <a:pos x="2" y="113"/>
                  </a:cxn>
                  <a:cxn ang="0">
                    <a:pos x="2" y="132"/>
                  </a:cxn>
                  <a:cxn ang="0">
                    <a:pos x="8" y="232"/>
                  </a:cxn>
                  <a:cxn ang="0">
                    <a:pos x="10" y="232"/>
                  </a:cxn>
                  <a:cxn ang="0">
                    <a:pos x="4" y="132"/>
                  </a:cxn>
                  <a:cxn ang="0">
                    <a:pos x="4" y="118"/>
                  </a:cxn>
                  <a:cxn ang="0">
                    <a:pos x="4" y="113"/>
                  </a:cxn>
                  <a:cxn ang="0">
                    <a:pos x="4" y="113"/>
                  </a:cxn>
                  <a:cxn ang="0">
                    <a:pos x="4" y="113"/>
                  </a:cxn>
                  <a:cxn ang="0">
                    <a:pos x="4" y="10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2" y="101"/>
                  </a:cxn>
                  <a:cxn ang="0">
                    <a:pos x="4" y="101"/>
                  </a:cxn>
                  <a:cxn ang="0">
                    <a:pos x="2" y="5"/>
                  </a:cxn>
                  <a:cxn ang="0">
                    <a:pos x="2" y="5"/>
                  </a:cxn>
                  <a:cxn ang="0">
                    <a:pos x="2" y="0"/>
                  </a:cxn>
                </a:cxnLst>
                <a:rect l="0" t="0" r="r" b="b"/>
                <a:pathLst>
                  <a:path w="39" h="429">
                    <a:moveTo>
                      <a:pt x="26" y="343"/>
                    </a:moveTo>
                    <a:cubicBezTo>
                      <a:pt x="24" y="343"/>
                      <a:pt x="24" y="343"/>
                      <a:pt x="24" y="343"/>
                    </a:cubicBezTo>
                    <a:cubicBezTo>
                      <a:pt x="26" y="358"/>
                      <a:pt x="29" y="390"/>
                      <a:pt x="37" y="429"/>
                    </a:cubicBezTo>
                    <a:cubicBezTo>
                      <a:pt x="39" y="429"/>
                      <a:pt x="39" y="429"/>
                      <a:pt x="39" y="429"/>
                    </a:cubicBezTo>
                    <a:cubicBezTo>
                      <a:pt x="35" y="410"/>
                      <a:pt x="32" y="393"/>
                      <a:pt x="30" y="378"/>
                    </a:cubicBezTo>
                    <a:cubicBezTo>
                      <a:pt x="28" y="364"/>
                      <a:pt x="27" y="353"/>
                      <a:pt x="26" y="345"/>
                    </a:cubicBezTo>
                    <a:cubicBezTo>
                      <a:pt x="26" y="344"/>
                      <a:pt x="26" y="344"/>
                      <a:pt x="26" y="343"/>
                    </a:cubicBezTo>
                    <a:moveTo>
                      <a:pt x="13" y="255"/>
                    </a:moveTo>
                    <a:cubicBezTo>
                      <a:pt x="11" y="255"/>
                      <a:pt x="11" y="255"/>
                      <a:pt x="11" y="255"/>
                    </a:cubicBezTo>
                    <a:cubicBezTo>
                      <a:pt x="14" y="279"/>
                      <a:pt x="18" y="305"/>
                      <a:pt x="23" y="333"/>
                    </a:cubicBezTo>
                    <a:cubicBezTo>
                      <a:pt x="23" y="333"/>
                      <a:pt x="23" y="333"/>
                      <a:pt x="23" y="333"/>
                    </a:cubicBezTo>
                    <a:cubicBezTo>
                      <a:pt x="23" y="334"/>
                      <a:pt x="24" y="337"/>
                      <a:pt x="24" y="342"/>
                    </a:cubicBezTo>
                    <a:cubicBezTo>
                      <a:pt x="26" y="342"/>
                      <a:pt x="26" y="342"/>
                      <a:pt x="26" y="342"/>
                    </a:cubicBezTo>
                    <a:cubicBezTo>
                      <a:pt x="25" y="336"/>
                      <a:pt x="25" y="333"/>
                      <a:pt x="25" y="333"/>
                    </a:cubicBezTo>
                    <a:cubicBezTo>
                      <a:pt x="25" y="333"/>
                      <a:pt x="25" y="333"/>
                      <a:pt x="25" y="333"/>
                    </a:cubicBezTo>
                    <a:cubicBezTo>
                      <a:pt x="25" y="333"/>
                      <a:pt x="25" y="333"/>
                      <a:pt x="25" y="333"/>
                    </a:cubicBezTo>
                    <a:cubicBezTo>
                      <a:pt x="20" y="305"/>
                      <a:pt x="16" y="279"/>
                      <a:pt x="13" y="255"/>
                    </a:cubicBezTo>
                    <a:moveTo>
                      <a:pt x="10" y="233"/>
                    </a:moveTo>
                    <a:cubicBezTo>
                      <a:pt x="8" y="233"/>
                      <a:pt x="8" y="233"/>
                      <a:pt x="8" y="233"/>
                    </a:cubicBezTo>
                    <a:cubicBezTo>
                      <a:pt x="9" y="240"/>
                      <a:pt x="10" y="247"/>
                      <a:pt x="11" y="254"/>
                    </a:cubicBezTo>
                    <a:cubicBezTo>
                      <a:pt x="13" y="254"/>
                      <a:pt x="13" y="254"/>
                      <a:pt x="13" y="254"/>
                    </a:cubicBezTo>
                    <a:cubicBezTo>
                      <a:pt x="12" y="247"/>
                      <a:pt x="11" y="240"/>
                      <a:pt x="10" y="233"/>
                    </a:cubicBezTo>
                    <a:moveTo>
                      <a:pt x="4" y="102"/>
                    </a:moveTo>
                    <a:cubicBezTo>
                      <a:pt x="2" y="102"/>
                      <a:pt x="2" y="102"/>
                      <a:pt x="2" y="102"/>
                    </a:cubicBezTo>
                    <a:cubicBezTo>
                      <a:pt x="2" y="105"/>
                      <a:pt x="2" y="109"/>
                      <a:pt x="2" y="113"/>
                    </a:cubicBezTo>
                    <a:cubicBezTo>
                      <a:pt x="2" y="113"/>
                      <a:pt x="2" y="120"/>
                      <a:pt x="2" y="132"/>
                    </a:cubicBezTo>
                    <a:cubicBezTo>
                      <a:pt x="2" y="152"/>
                      <a:pt x="3" y="186"/>
                      <a:pt x="8" y="232"/>
                    </a:cubicBezTo>
                    <a:cubicBezTo>
                      <a:pt x="10" y="232"/>
                      <a:pt x="10" y="232"/>
                      <a:pt x="10" y="232"/>
                    </a:cubicBezTo>
                    <a:cubicBezTo>
                      <a:pt x="5" y="186"/>
                      <a:pt x="4" y="152"/>
                      <a:pt x="4" y="132"/>
                    </a:cubicBezTo>
                    <a:cubicBezTo>
                      <a:pt x="4" y="126"/>
                      <a:pt x="4" y="121"/>
                      <a:pt x="4" y="118"/>
                    </a:cubicBezTo>
                    <a:cubicBezTo>
                      <a:pt x="4" y="115"/>
                      <a:pt x="4" y="113"/>
                      <a:pt x="4" y="113"/>
                    </a:cubicBezTo>
                    <a:cubicBezTo>
                      <a:pt x="4" y="113"/>
                      <a:pt x="4" y="113"/>
                      <a:pt x="4" y="113"/>
                    </a:cubicBezTo>
                    <a:cubicBezTo>
                      <a:pt x="4" y="113"/>
                      <a:pt x="4" y="113"/>
                      <a:pt x="4" y="113"/>
                    </a:cubicBezTo>
                    <a:cubicBezTo>
                      <a:pt x="4" y="109"/>
                      <a:pt x="4" y="106"/>
                      <a:pt x="4" y="102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3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6"/>
                      <a:pt x="1" y="19"/>
                      <a:pt x="2" y="101"/>
                    </a:cubicBezTo>
                    <a:cubicBezTo>
                      <a:pt x="4" y="101"/>
                      <a:pt x="4" y="101"/>
                      <a:pt x="4" y="101"/>
                    </a:cubicBezTo>
                    <a:cubicBezTo>
                      <a:pt x="3" y="13"/>
                      <a:pt x="2" y="5"/>
                      <a:pt x="2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3"/>
                      <a:pt x="2" y="1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33" name="Freeform 181"/>
              <p:cNvSpPr>
                <a:spLocks/>
              </p:cNvSpPr>
              <p:nvPr/>
            </p:nvSpPr>
            <p:spPr bwMode="auto">
              <a:xfrm>
                <a:off x="-2958" y="3070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34" name="Freeform 182"/>
              <p:cNvSpPr>
                <a:spLocks/>
              </p:cNvSpPr>
              <p:nvPr/>
            </p:nvSpPr>
            <p:spPr bwMode="auto">
              <a:xfrm>
                <a:off x="-2988" y="2861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35" name="Freeform 183"/>
              <p:cNvSpPr>
                <a:spLocks/>
              </p:cNvSpPr>
              <p:nvPr/>
            </p:nvSpPr>
            <p:spPr bwMode="auto">
              <a:xfrm>
                <a:off x="-2926" y="3278"/>
                <a:ext cx="23" cy="7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8" y="32"/>
                  </a:cxn>
                  <a:cxn ang="0">
                    <a:pos x="10" y="32"/>
                  </a:cxn>
                  <a:cxn ang="0">
                    <a:pos x="2" y="0"/>
                  </a:cxn>
                </a:cxnLst>
                <a:rect l="0" t="0" r="r" b="b"/>
                <a:pathLst>
                  <a:path w="10" h="32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2" y="10"/>
                      <a:pt x="5" y="21"/>
                      <a:pt x="8" y="32"/>
                    </a:cubicBezTo>
                    <a:cubicBezTo>
                      <a:pt x="10" y="32"/>
                      <a:pt x="10" y="32"/>
                      <a:pt x="10" y="32"/>
                    </a:cubicBezTo>
                    <a:cubicBezTo>
                      <a:pt x="7" y="21"/>
                      <a:pt x="5" y="1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36" name="Freeform 184"/>
              <p:cNvSpPr>
                <a:spLocks/>
              </p:cNvSpPr>
              <p:nvPr/>
            </p:nvSpPr>
            <p:spPr bwMode="auto">
              <a:xfrm>
                <a:off x="-2996" y="2810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37" name="Freeform 185"/>
              <p:cNvSpPr>
                <a:spLocks/>
              </p:cNvSpPr>
              <p:nvPr/>
            </p:nvSpPr>
            <p:spPr bwMode="auto">
              <a:xfrm>
                <a:off x="-2926" y="3276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38" name="Freeform 186"/>
              <p:cNvSpPr>
                <a:spLocks/>
              </p:cNvSpPr>
              <p:nvPr/>
            </p:nvSpPr>
            <p:spPr bwMode="auto">
              <a:xfrm>
                <a:off x="-2908" y="3357"/>
                <a:ext cx="20" cy="5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6" y="24"/>
                  </a:cxn>
                  <a:cxn ang="0">
                    <a:pos x="8" y="24"/>
                  </a:cxn>
                  <a:cxn ang="0">
                    <a:pos x="2" y="0"/>
                  </a:cxn>
                </a:cxnLst>
                <a:rect l="0" t="0" r="r" b="b"/>
                <a:pathLst>
                  <a:path w="8" h="24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2" y="8"/>
                      <a:pt x="4" y="16"/>
                      <a:pt x="6" y="24"/>
                    </a:cubicBezTo>
                    <a:cubicBezTo>
                      <a:pt x="8" y="24"/>
                      <a:pt x="8" y="24"/>
                      <a:pt x="8" y="24"/>
                    </a:cubicBezTo>
                    <a:cubicBezTo>
                      <a:pt x="6" y="16"/>
                      <a:pt x="4" y="8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39" name="Freeform 187"/>
              <p:cNvSpPr>
                <a:spLocks/>
              </p:cNvSpPr>
              <p:nvPr/>
            </p:nvSpPr>
            <p:spPr bwMode="auto">
              <a:xfrm>
                <a:off x="-2908" y="3355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40" name="Freeform 188"/>
              <p:cNvSpPr>
                <a:spLocks/>
              </p:cNvSpPr>
              <p:nvPr/>
            </p:nvSpPr>
            <p:spPr bwMode="auto">
              <a:xfrm>
                <a:off x="-3009" y="2498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41" name="Freeform 189"/>
              <p:cNvSpPr>
                <a:spLocks/>
              </p:cNvSpPr>
              <p:nvPr/>
            </p:nvSpPr>
            <p:spPr bwMode="auto">
              <a:xfrm>
                <a:off x="-3014" y="2256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42" name="Freeform 190"/>
              <p:cNvSpPr>
                <a:spLocks/>
              </p:cNvSpPr>
              <p:nvPr/>
            </p:nvSpPr>
            <p:spPr bwMode="auto">
              <a:xfrm>
                <a:off x="-2903" y="1987"/>
                <a:ext cx="83" cy="27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5"/>
                  </a:cxn>
                  <a:cxn ang="0">
                    <a:pos x="1" y="5"/>
                  </a:cxn>
                  <a:cxn ang="0">
                    <a:pos x="1" y="5"/>
                  </a:cxn>
                  <a:cxn ang="0">
                    <a:pos x="2" y="8"/>
                  </a:cxn>
                  <a:cxn ang="0">
                    <a:pos x="33" y="114"/>
                  </a:cxn>
                  <a:cxn ang="0">
                    <a:pos x="35" y="114"/>
                  </a:cxn>
                  <a:cxn ang="0">
                    <a:pos x="32" y="101"/>
                  </a:cxn>
                  <a:cxn ang="0">
                    <a:pos x="30" y="101"/>
                  </a:cxn>
                  <a:cxn ang="0">
                    <a:pos x="30" y="100"/>
                  </a:cxn>
                  <a:cxn ang="0">
                    <a:pos x="32" y="100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35" h="114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3"/>
                      <a:pt x="0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1" y="6"/>
                      <a:pt x="2" y="8"/>
                    </a:cubicBezTo>
                    <a:cubicBezTo>
                      <a:pt x="7" y="20"/>
                      <a:pt x="23" y="60"/>
                      <a:pt x="33" y="114"/>
                    </a:cubicBezTo>
                    <a:cubicBezTo>
                      <a:pt x="35" y="114"/>
                      <a:pt x="35" y="114"/>
                      <a:pt x="35" y="114"/>
                    </a:cubicBezTo>
                    <a:cubicBezTo>
                      <a:pt x="34" y="109"/>
                      <a:pt x="33" y="105"/>
                      <a:pt x="32" y="101"/>
                    </a:cubicBezTo>
                    <a:cubicBezTo>
                      <a:pt x="30" y="101"/>
                      <a:pt x="30" y="101"/>
                      <a:pt x="30" y="101"/>
                    </a:cubicBezTo>
                    <a:cubicBezTo>
                      <a:pt x="30" y="100"/>
                      <a:pt x="30" y="100"/>
                      <a:pt x="30" y="100"/>
                    </a:cubicBezTo>
                    <a:cubicBezTo>
                      <a:pt x="32" y="100"/>
                      <a:pt x="32" y="100"/>
                      <a:pt x="32" y="100"/>
                    </a:cubicBezTo>
                    <a:cubicBezTo>
                      <a:pt x="20" y="45"/>
                      <a:pt x="3" y="7"/>
                      <a:pt x="2" y="4"/>
                    </a:cubicBezTo>
                    <a:cubicBezTo>
                      <a:pt x="2" y="3"/>
                      <a:pt x="2" y="1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43" name="Freeform 191"/>
              <p:cNvSpPr>
                <a:spLocks/>
              </p:cNvSpPr>
              <p:nvPr/>
            </p:nvSpPr>
            <p:spPr bwMode="auto">
              <a:xfrm>
                <a:off x="-2832" y="2222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44" name="Freeform 192"/>
              <p:cNvSpPr>
                <a:spLocks noEditPoints="1"/>
              </p:cNvSpPr>
              <p:nvPr/>
            </p:nvSpPr>
            <p:spPr bwMode="auto">
              <a:xfrm>
                <a:off x="-3112" y="1522"/>
                <a:ext cx="214" cy="462"/>
              </a:xfrm>
              <a:custGeom>
                <a:avLst/>
                <a:gdLst/>
                <a:ahLst/>
                <a:cxnLst>
                  <a:cxn ang="0">
                    <a:pos x="67" y="99"/>
                  </a:cxn>
                  <a:cxn ang="0">
                    <a:pos x="65" y="99"/>
                  </a:cxn>
                  <a:cxn ang="0">
                    <a:pos x="89" y="195"/>
                  </a:cxn>
                  <a:cxn ang="0">
                    <a:pos x="91" y="195"/>
                  </a:cxn>
                  <a:cxn ang="0">
                    <a:pos x="67" y="99"/>
                  </a:cxn>
                  <a:cxn ang="0">
                    <a:pos x="53" y="68"/>
                  </a:cxn>
                  <a:cxn ang="0">
                    <a:pos x="53" y="68"/>
                  </a:cxn>
                  <a:cxn ang="0">
                    <a:pos x="51" y="68"/>
                  </a:cxn>
                  <a:cxn ang="0">
                    <a:pos x="64" y="98"/>
                  </a:cxn>
                  <a:cxn ang="0">
                    <a:pos x="66" y="98"/>
                  </a:cxn>
                  <a:cxn ang="0">
                    <a:pos x="53" y="68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50" y="67"/>
                  </a:cxn>
                  <a:cxn ang="0">
                    <a:pos x="52" y="67"/>
                  </a:cxn>
                  <a:cxn ang="0">
                    <a:pos x="2" y="0"/>
                  </a:cxn>
                </a:cxnLst>
                <a:rect l="0" t="0" r="r" b="b"/>
                <a:pathLst>
                  <a:path w="91" h="195">
                    <a:moveTo>
                      <a:pt x="67" y="99"/>
                    </a:moveTo>
                    <a:cubicBezTo>
                      <a:pt x="65" y="99"/>
                      <a:pt x="65" y="99"/>
                      <a:pt x="65" y="99"/>
                    </a:cubicBezTo>
                    <a:cubicBezTo>
                      <a:pt x="75" y="125"/>
                      <a:pt x="84" y="157"/>
                      <a:pt x="89" y="195"/>
                    </a:cubicBezTo>
                    <a:cubicBezTo>
                      <a:pt x="91" y="195"/>
                      <a:pt x="91" y="195"/>
                      <a:pt x="91" y="195"/>
                    </a:cubicBezTo>
                    <a:cubicBezTo>
                      <a:pt x="86" y="157"/>
                      <a:pt x="77" y="125"/>
                      <a:pt x="67" y="99"/>
                    </a:cubicBezTo>
                    <a:moveTo>
                      <a:pt x="53" y="68"/>
                    </a:moveTo>
                    <a:cubicBezTo>
                      <a:pt x="53" y="68"/>
                      <a:pt x="53" y="68"/>
                      <a:pt x="53" y="68"/>
                    </a:cubicBezTo>
                    <a:cubicBezTo>
                      <a:pt x="51" y="68"/>
                      <a:pt x="51" y="68"/>
                      <a:pt x="51" y="68"/>
                    </a:cubicBezTo>
                    <a:cubicBezTo>
                      <a:pt x="55" y="77"/>
                      <a:pt x="60" y="87"/>
                      <a:pt x="64" y="98"/>
                    </a:cubicBezTo>
                    <a:cubicBezTo>
                      <a:pt x="66" y="98"/>
                      <a:pt x="66" y="98"/>
                      <a:pt x="66" y="98"/>
                    </a:cubicBezTo>
                    <a:cubicBezTo>
                      <a:pt x="62" y="87"/>
                      <a:pt x="57" y="77"/>
                      <a:pt x="53" y="68"/>
                    </a:cubicBezTo>
                    <a:moveTo>
                      <a:pt x="2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6" y="6"/>
                      <a:pt x="28" y="26"/>
                      <a:pt x="50" y="67"/>
                    </a:cubicBezTo>
                    <a:cubicBezTo>
                      <a:pt x="52" y="67"/>
                      <a:pt x="52" y="67"/>
                      <a:pt x="52" y="67"/>
                    </a:cubicBezTo>
                    <a:cubicBezTo>
                      <a:pt x="30" y="24"/>
                      <a:pt x="6" y="3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45" name="Freeform 193"/>
              <p:cNvSpPr>
                <a:spLocks/>
              </p:cNvSpPr>
              <p:nvPr/>
            </p:nvSpPr>
            <p:spPr bwMode="auto">
              <a:xfrm>
                <a:off x="-2962" y="1754"/>
                <a:ext cx="8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46" name="Freeform 194"/>
              <p:cNvSpPr>
                <a:spLocks/>
              </p:cNvSpPr>
              <p:nvPr/>
            </p:nvSpPr>
            <p:spPr bwMode="auto">
              <a:xfrm>
                <a:off x="-2990" y="1682"/>
                <a:ext cx="2" cy="2"/>
              </a:xfrm>
              <a:custGeom>
                <a:avLst/>
                <a:gdLst/>
                <a:ahLst/>
                <a:cxnLst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cubicBezTo>
                      <a:pt x="1" y="1"/>
                      <a:pt x="0" y="1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47" name="Freeform 195"/>
              <p:cNvSpPr>
                <a:spLocks/>
              </p:cNvSpPr>
              <p:nvPr/>
            </p:nvSpPr>
            <p:spPr bwMode="auto">
              <a:xfrm>
                <a:off x="-2996" y="1682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48" name="Freeform 196"/>
              <p:cNvSpPr>
                <a:spLocks noEditPoints="1"/>
              </p:cNvSpPr>
              <p:nvPr/>
            </p:nvSpPr>
            <p:spPr bwMode="auto">
              <a:xfrm>
                <a:off x="-2824" y="2260"/>
                <a:ext cx="26" cy="1016"/>
              </a:xfrm>
              <a:custGeom>
                <a:avLst/>
                <a:gdLst/>
                <a:ahLst/>
                <a:cxnLst>
                  <a:cxn ang="0">
                    <a:pos x="8" y="343"/>
                  </a:cxn>
                  <a:cxn ang="0">
                    <a:pos x="6" y="343"/>
                  </a:cxn>
                  <a:cxn ang="0">
                    <a:pos x="6" y="429"/>
                  </a:cxn>
                  <a:cxn ang="0">
                    <a:pos x="8" y="429"/>
                  </a:cxn>
                  <a:cxn ang="0">
                    <a:pos x="8" y="343"/>
                  </a:cxn>
                  <a:cxn ang="0">
                    <a:pos x="11" y="233"/>
                  </a:cxn>
                  <a:cxn ang="0">
                    <a:pos x="9" y="233"/>
                  </a:cxn>
                  <a:cxn ang="0">
                    <a:pos x="5" y="333"/>
                  </a:cxn>
                  <a:cxn ang="0">
                    <a:pos x="6" y="342"/>
                  </a:cxn>
                  <a:cxn ang="0">
                    <a:pos x="8" y="342"/>
                  </a:cxn>
                  <a:cxn ang="0">
                    <a:pos x="8" y="333"/>
                  </a:cxn>
                  <a:cxn ang="0">
                    <a:pos x="11" y="233"/>
                  </a:cxn>
                  <a:cxn ang="0">
                    <a:pos x="10" y="102"/>
                  </a:cxn>
                  <a:cxn ang="0">
                    <a:pos x="8" y="102"/>
                  </a:cxn>
                  <a:cxn ang="0">
                    <a:pos x="9" y="178"/>
                  </a:cxn>
                  <a:cxn ang="0">
                    <a:pos x="9" y="232"/>
                  </a:cxn>
                  <a:cxn ang="0">
                    <a:pos x="11" y="232"/>
                  </a:cxn>
                  <a:cxn ang="0">
                    <a:pos x="11" y="178"/>
                  </a:cxn>
                  <a:cxn ang="0">
                    <a:pos x="10" y="10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7" y="60"/>
                  </a:cxn>
                  <a:cxn ang="0">
                    <a:pos x="7" y="69"/>
                  </a:cxn>
                  <a:cxn ang="0">
                    <a:pos x="8" y="101"/>
                  </a:cxn>
                  <a:cxn ang="0">
                    <a:pos x="10" y="101"/>
                  </a:cxn>
                  <a:cxn ang="0">
                    <a:pos x="9" y="60"/>
                  </a:cxn>
                  <a:cxn ang="0">
                    <a:pos x="2" y="0"/>
                  </a:cxn>
                </a:cxnLst>
                <a:rect l="0" t="0" r="r" b="b"/>
                <a:pathLst>
                  <a:path w="11" h="429">
                    <a:moveTo>
                      <a:pt x="8" y="343"/>
                    </a:moveTo>
                    <a:cubicBezTo>
                      <a:pt x="6" y="343"/>
                      <a:pt x="6" y="343"/>
                      <a:pt x="6" y="343"/>
                    </a:cubicBezTo>
                    <a:cubicBezTo>
                      <a:pt x="6" y="429"/>
                      <a:pt x="6" y="429"/>
                      <a:pt x="6" y="429"/>
                    </a:cubicBezTo>
                    <a:cubicBezTo>
                      <a:pt x="8" y="429"/>
                      <a:pt x="8" y="429"/>
                      <a:pt x="8" y="429"/>
                    </a:cubicBezTo>
                    <a:cubicBezTo>
                      <a:pt x="8" y="343"/>
                      <a:pt x="8" y="343"/>
                      <a:pt x="8" y="343"/>
                    </a:cubicBezTo>
                    <a:moveTo>
                      <a:pt x="11" y="233"/>
                    </a:moveTo>
                    <a:cubicBezTo>
                      <a:pt x="9" y="233"/>
                      <a:pt x="9" y="233"/>
                      <a:pt x="9" y="233"/>
                    </a:cubicBezTo>
                    <a:cubicBezTo>
                      <a:pt x="8" y="264"/>
                      <a:pt x="7" y="298"/>
                      <a:pt x="5" y="333"/>
                    </a:cubicBezTo>
                    <a:cubicBezTo>
                      <a:pt x="6" y="342"/>
                      <a:pt x="6" y="342"/>
                      <a:pt x="6" y="342"/>
                    </a:cubicBezTo>
                    <a:cubicBezTo>
                      <a:pt x="8" y="342"/>
                      <a:pt x="8" y="342"/>
                      <a:pt x="8" y="342"/>
                    </a:cubicBezTo>
                    <a:cubicBezTo>
                      <a:pt x="8" y="333"/>
                      <a:pt x="8" y="333"/>
                      <a:pt x="8" y="333"/>
                    </a:cubicBezTo>
                    <a:cubicBezTo>
                      <a:pt x="9" y="298"/>
                      <a:pt x="10" y="264"/>
                      <a:pt x="11" y="233"/>
                    </a:cubicBezTo>
                    <a:moveTo>
                      <a:pt x="10" y="102"/>
                    </a:moveTo>
                    <a:cubicBezTo>
                      <a:pt x="8" y="102"/>
                      <a:pt x="8" y="102"/>
                      <a:pt x="8" y="102"/>
                    </a:cubicBezTo>
                    <a:cubicBezTo>
                      <a:pt x="9" y="122"/>
                      <a:pt x="9" y="147"/>
                      <a:pt x="9" y="178"/>
                    </a:cubicBezTo>
                    <a:cubicBezTo>
                      <a:pt x="9" y="195"/>
                      <a:pt x="9" y="213"/>
                      <a:pt x="9" y="232"/>
                    </a:cubicBezTo>
                    <a:cubicBezTo>
                      <a:pt x="11" y="232"/>
                      <a:pt x="11" y="232"/>
                      <a:pt x="11" y="232"/>
                    </a:cubicBezTo>
                    <a:cubicBezTo>
                      <a:pt x="11" y="213"/>
                      <a:pt x="11" y="195"/>
                      <a:pt x="11" y="178"/>
                    </a:cubicBezTo>
                    <a:cubicBezTo>
                      <a:pt x="11" y="147"/>
                      <a:pt x="11" y="122"/>
                      <a:pt x="10" y="102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3" y="18"/>
                      <a:pt x="6" y="39"/>
                      <a:pt x="7" y="60"/>
                    </a:cubicBezTo>
                    <a:cubicBezTo>
                      <a:pt x="7" y="60"/>
                      <a:pt x="7" y="63"/>
                      <a:pt x="7" y="69"/>
                    </a:cubicBezTo>
                    <a:cubicBezTo>
                      <a:pt x="8" y="76"/>
                      <a:pt x="8" y="87"/>
                      <a:pt x="8" y="101"/>
                    </a:cubicBezTo>
                    <a:cubicBezTo>
                      <a:pt x="10" y="101"/>
                      <a:pt x="10" y="101"/>
                      <a:pt x="10" y="101"/>
                    </a:cubicBezTo>
                    <a:cubicBezTo>
                      <a:pt x="10" y="75"/>
                      <a:pt x="9" y="60"/>
                      <a:pt x="9" y="60"/>
                    </a:cubicBezTo>
                    <a:cubicBezTo>
                      <a:pt x="8" y="39"/>
                      <a:pt x="5" y="18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49" name="Freeform 197"/>
              <p:cNvSpPr>
                <a:spLocks/>
              </p:cNvSpPr>
              <p:nvPr/>
            </p:nvSpPr>
            <p:spPr bwMode="auto">
              <a:xfrm>
                <a:off x="-2811" y="3070"/>
                <a:ext cx="5" cy="2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4" y="3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3">
                    <a:moveTo>
                      <a:pt x="4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4" y="3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50" name="Freeform 198"/>
              <p:cNvSpPr>
                <a:spLocks/>
              </p:cNvSpPr>
              <p:nvPr/>
            </p:nvSpPr>
            <p:spPr bwMode="auto">
              <a:xfrm>
                <a:off x="-2811" y="3278"/>
                <a:ext cx="5" cy="77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76"/>
                  </a:cxn>
                  <a:cxn ang="0">
                    <a:pos x="4" y="76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76">
                    <a:moveTo>
                      <a:pt x="4" y="0"/>
                    </a:moveTo>
                    <a:lnTo>
                      <a:pt x="0" y="0"/>
                    </a:lnTo>
                    <a:lnTo>
                      <a:pt x="0" y="76"/>
                    </a:lnTo>
                    <a:lnTo>
                      <a:pt x="4" y="76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51" name="Freeform 199"/>
              <p:cNvSpPr>
                <a:spLocks/>
              </p:cNvSpPr>
              <p:nvPr/>
            </p:nvSpPr>
            <p:spPr bwMode="auto">
              <a:xfrm>
                <a:off x="-2803" y="281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52" name="Freeform 200"/>
              <p:cNvSpPr>
                <a:spLocks/>
              </p:cNvSpPr>
              <p:nvPr/>
            </p:nvSpPr>
            <p:spPr bwMode="auto">
              <a:xfrm>
                <a:off x="-2811" y="3276"/>
                <a:ext cx="5" cy="2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53" name="Freeform 201"/>
              <p:cNvSpPr>
                <a:spLocks/>
              </p:cNvSpPr>
              <p:nvPr/>
            </p:nvSpPr>
            <p:spPr bwMode="auto">
              <a:xfrm>
                <a:off x="-2811" y="3357"/>
                <a:ext cx="5" cy="71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71"/>
                  </a:cxn>
                  <a:cxn ang="0">
                    <a:pos x="4" y="71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71">
                    <a:moveTo>
                      <a:pt x="4" y="0"/>
                    </a:moveTo>
                    <a:lnTo>
                      <a:pt x="0" y="0"/>
                    </a:lnTo>
                    <a:lnTo>
                      <a:pt x="0" y="71"/>
                    </a:lnTo>
                    <a:lnTo>
                      <a:pt x="4" y="71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54" name="Freeform 202"/>
              <p:cNvSpPr>
                <a:spLocks/>
              </p:cNvSpPr>
              <p:nvPr/>
            </p:nvSpPr>
            <p:spPr bwMode="auto">
              <a:xfrm>
                <a:off x="-2811" y="3355"/>
                <a:ext cx="5" cy="2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55" name="Freeform 203"/>
              <p:cNvSpPr>
                <a:spLocks/>
              </p:cNvSpPr>
              <p:nvPr/>
            </p:nvSpPr>
            <p:spPr bwMode="auto">
              <a:xfrm>
                <a:off x="-2806" y="2498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56" name="Freeform 204"/>
              <p:cNvSpPr>
                <a:spLocks/>
              </p:cNvSpPr>
              <p:nvPr/>
            </p:nvSpPr>
            <p:spPr bwMode="auto">
              <a:xfrm>
                <a:off x="-2824" y="2256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63" name="Freeform 206"/>
            <p:cNvSpPr>
              <a:spLocks/>
            </p:cNvSpPr>
            <p:nvPr/>
          </p:nvSpPr>
          <p:spPr bwMode="auto">
            <a:xfrm>
              <a:off x="-4871258" y="2416156"/>
              <a:ext cx="349031" cy="36896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"/>
                </a:cxn>
                <a:cxn ang="0">
                  <a:pos x="1" y="2"/>
                </a:cxn>
                <a:cxn ang="0">
                  <a:pos x="91" y="98"/>
                </a:cxn>
                <a:cxn ang="0">
                  <a:pos x="93" y="98"/>
                </a:cxn>
                <a:cxn ang="0">
                  <a:pos x="71" y="68"/>
                </a:cxn>
                <a:cxn ang="0">
                  <a:pos x="70" y="68"/>
                </a:cxn>
                <a:cxn ang="0">
                  <a:pos x="70" y="68"/>
                </a:cxn>
                <a:cxn ang="0">
                  <a:pos x="0" y="0"/>
                </a:cxn>
              </a:cxnLst>
              <a:rect l="0" t="0" r="r" b="b"/>
              <a:pathLst>
                <a:path w="93" h="98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1" y="2"/>
                  </a:cubicBezTo>
                  <a:cubicBezTo>
                    <a:pt x="9" y="6"/>
                    <a:pt x="41" y="26"/>
                    <a:pt x="91" y="98"/>
                  </a:cubicBezTo>
                  <a:cubicBezTo>
                    <a:pt x="93" y="98"/>
                    <a:pt x="93" y="98"/>
                    <a:pt x="93" y="98"/>
                  </a:cubicBezTo>
                  <a:cubicBezTo>
                    <a:pt x="85" y="87"/>
                    <a:pt x="77" y="77"/>
                    <a:pt x="71" y="68"/>
                  </a:cubicBezTo>
                  <a:cubicBezTo>
                    <a:pt x="70" y="68"/>
                    <a:pt x="70" y="68"/>
                    <a:pt x="70" y="68"/>
                  </a:cubicBezTo>
                  <a:cubicBezTo>
                    <a:pt x="70" y="68"/>
                    <a:pt x="70" y="68"/>
                    <a:pt x="70" y="68"/>
                  </a:cubicBezTo>
                  <a:cubicBezTo>
                    <a:pt x="26" y="11"/>
                    <a:pt x="0" y="1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64" name="Freeform 207"/>
            <p:cNvSpPr>
              <a:spLocks/>
            </p:cNvSpPr>
            <p:nvPr/>
          </p:nvSpPr>
          <p:spPr bwMode="auto">
            <a:xfrm>
              <a:off x="-4608883" y="2671974"/>
              <a:ext cx="4814" cy="245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0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65" name="Freeform 208"/>
            <p:cNvSpPr>
              <a:spLocks/>
            </p:cNvSpPr>
            <p:nvPr/>
          </p:nvSpPr>
          <p:spPr bwMode="auto">
            <a:xfrm>
              <a:off x="-4818302" y="2418615"/>
              <a:ext cx="481423" cy="36651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1"/>
                </a:cxn>
                <a:cxn ang="0">
                  <a:pos x="3" y="1"/>
                </a:cxn>
                <a:cxn ang="0">
                  <a:pos x="102" y="66"/>
                </a:cxn>
                <a:cxn ang="0">
                  <a:pos x="103" y="66"/>
                </a:cxn>
                <a:cxn ang="0">
                  <a:pos x="103" y="67"/>
                </a:cxn>
                <a:cxn ang="0">
                  <a:pos x="103" y="67"/>
                </a:cxn>
                <a:cxn ang="0">
                  <a:pos x="127" y="97"/>
                </a:cxn>
                <a:cxn ang="0">
                  <a:pos x="128" y="97"/>
                </a:cxn>
                <a:cxn ang="0">
                  <a:pos x="1" y="0"/>
                </a:cxn>
              </a:cxnLst>
              <a:rect l="0" t="0" r="r" b="b"/>
              <a:pathLst>
                <a:path w="128" h="97">
                  <a:moveTo>
                    <a:pt x="1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1"/>
                    <a:pt x="3" y="1"/>
                  </a:cubicBezTo>
                  <a:cubicBezTo>
                    <a:pt x="15" y="4"/>
                    <a:pt x="57" y="19"/>
                    <a:pt x="102" y="66"/>
                  </a:cubicBezTo>
                  <a:cubicBezTo>
                    <a:pt x="103" y="66"/>
                    <a:pt x="103" y="66"/>
                    <a:pt x="103" y="66"/>
                  </a:cubicBezTo>
                  <a:cubicBezTo>
                    <a:pt x="103" y="67"/>
                    <a:pt x="103" y="67"/>
                    <a:pt x="103" y="67"/>
                  </a:cubicBezTo>
                  <a:cubicBezTo>
                    <a:pt x="103" y="67"/>
                    <a:pt x="103" y="67"/>
                    <a:pt x="103" y="67"/>
                  </a:cubicBezTo>
                  <a:cubicBezTo>
                    <a:pt x="111" y="76"/>
                    <a:pt x="119" y="86"/>
                    <a:pt x="127" y="97"/>
                  </a:cubicBezTo>
                  <a:cubicBezTo>
                    <a:pt x="128" y="97"/>
                    <a:pt x="128" y="97"/>
                    <a:pt x="128" y="97"/>
                  </a:cubicBezTo>
                  <a:cubicBezTo>
                    <a:pt x="68" y="13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66" name="Freeform 209"/>
            <p:cNvSpPr>
              <a:spLocks/>
            </p:cNvSpPr>
            <p:nvPr/>
          </p:nvSpPr>
          <p:spPr bwMode="auto">
            <a:xfrm>
              <a:off x="-4435571" y="2669513"/>
              <a:ext cx="4814" cy="2461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67" name="Freeform 210"/>
            <p:cNvSpPr>
              <a:spLocks noEditPoints="1"/>
            </p:cNvSpPr>
            <p:nvPr/>
          </p:nvSpPr>
          <p:spPr bwMode="auto">
            <a:xfrm>
              <a:off x="-2680782" y="3151632"/>
              <a:ext cx="72214" cy="430464"/>
            </a:xfrm>
            <a:custGeom>
              <a:avLst/>
              <a:gdLst/>
              <a:ahLst/>
              <a:cxnLst>
                <a:cxn ang="0">
                  <a:pos x="17" y="101"/>
                </a:cxn>
                <a:cxn ang="0">
                  <a:pos x="15" y="101"/>
                </a:cxn>
                <a:cxn ang="0">
                  <a:pos x="16" y="110"/>
                </a:cxn>
                <a:cxn ang="0">
                  <a:pos x="16" y="110"/>
                </a:cxn>
                <a:cxn ang="0">
                  <a:pos x="16" y="110"/>
                </a:cxn>
                <a:cxn ang="0">
                  <a:pos x="17" y="114"/>
                </a:cxn>
                <a:cxn ang="0">
                  <a:pos x="19" y="114"/>
                </a:cxn>
                <a:cxn ang="0">
                  <a:pos x="18" y="109"/>
                </a:cxn>
                <a:cxn ang="0">
                  <a:pos x="18" y="109"/>
                </a:cxn>
                <a:cxn ang="0">
                  <a:pos x="17" y="101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15" y="100"/>
                </a:cxn>
                <a:cxn ang="0">
                  <a:pos x="17" y="100"/>
                </a:cxn>
                <a:cxn ang="0">
                  <a:pos x="2" y="0"/>
                </a:cxn>
              </a:cxnLst>
              <a:rect l="0" t="0" r="r" b="b"/>
              <a:pathLst>
                <a:path w="19" h="114">
                  <a:moveTo>
                    <a:pt x="17" y="101"/>
                  </a:moveTo>
                  <a:cubicBezTo>
                    <a:pt x="15" y="101"/>
                    <a:pt x="15" y="101"/>
                    <a:pt x="15" y="101"/>
                  </a:cubicBezTo>
                  <a:cubicBezTo>
                    <a:pt x="16" y="104"/>
                    <a:pt x="16" y="107"/>
                    <a:pt x="16" y="110"/>
                  </a:cubicBezTo>
                  <a:cubicBezTo>
                    <a:pt x="16" y="110"/>
                    <a:pt x="16" y="110"/>
                    <a:pt x="16" y="110"/>
                  </a:cubicBezTo>
                  <a:cubicBezTo>
                    <a:pt x="16" y="110"/>
                    <a:pt x="16" y="110"/>
                    <a:pt x="16" y="110"/>
                  </a:cubicBezTo>
                  <a:cubicBezTo>
                    <a:pt x="16" y="110"/>
                    <a:pt x="16" y="111"/>
                    <a:pt x="17" y="114"/>
                  </a:cubicBezTo>
                  <a:cubicBezTo>
                    <a:pt x="19" y="114"/>
                    <a:pt x="19" y="114"/>
                    <a:pt x="19" y="114"/>
                  </a:cubicBezTo>
                  <a:cubicBezTo>
                    <a:pt x="18" y="111"/>
                    <a:pt x="18" y="109"/>
                    <a:pt x="18" y="109"/>
                  </a:cubicBezTo>
                  <a:cubicBezTo>
                    <a:pt x="18" y="109"/>
                    <a:pt x="18" y="109"/>
                    <a:pt x="18" y="109"/>
                  </a:cubicBezTo>
                  <a:cubicBezTo>
                    <a:pt x="18" y="106"/>
                    <a:pt x="18" y="104"/>
                    <a:pt x="17" y="101"/>
                  </a:cubicBezTo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" y="29"/>
                    <a:pt x="11" y="62"/>
                    <a:pt x="15" y="100"/>
                  </a:cubicBezTo>
                  <a:cubicBezTo>
                    <a:pt x="17" y="100"/>
                    <a:pt x="17" y="100"/>
                    <a:pt x="17" y="100"/>
                  </a:cubicBezTo>
                  <a:cubicBezTo>
                    <a:pt x="13" y="62"/>
                    <a:pt x="8" y="29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68" name="Freeform 211"/>
            <p:cNvSpPr>
              <a:spLocks/>
            </p:cNvSpPr>
            <p:nvPr/>
          </p:nvSpPr>
          <p:spPr bwMode="auto">
            <a:xfrm>
              <a:off x="-2623011" y="3527981"/>
              <a:ext cx="7221" cy="492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69" name="Freeform 212"/>
            <p:cNvSpPr>
              <a:spLocks noEditPoints="1"/>
            </p:cNvSpPr>
            <p:nvPr/>
          </p:nvSpPr>
          <p:spPr bwMode="auto">
            <a:xfrm>
              <a:off x="-2810766" y="3587016"/>
              <a:ext cx="233490" cy="1613622"/>
            </a:xfrm>
            <a:custGeom>
              <a:avLst/>
              <a:gdLst/>
              <a:ahLst/>
              <a:cxnLst>
                <a:cxn ang="0">
                  <a:pos x="31" y="343"/>
                </a:cxn>
                <a:cxn ang="0">
                  <a:pos x="29" y="343"/>
                </a:cxn>
                <a:cxn ang="0">
                  <a:pos x="0" y="429"/>
                </a:cxn>
                <a:cxn ang="0">
                  <a:pos x="2" y="429"/>
                </a:cxn>
                <a:cxn ang="0">
                  <a:pos x="31" y="343"/>
                </a:cxn>
                <a:cxn ang="0">
                  <a:pos x="55" y="233"/>
                </a:cxn>
                <a:cxn ang="0">
                  <a:pos x="53" y="233"/>
                </a:cxn>
                <a:cxn ang="0">
                  <a:pos x="52" y="239"/>
                </a:cxn>
                <a:cxn ang="0">
                  <a:pos x="29" y="342"/>
                </a:cxn>
                <a:cxn ang="0">
                  <a:pos x="29" y="342"/>
                </a:cxn>
                <a:cxn ang="0">
                  <a:pos x="31" y="342"/>
                </a:cxn>
                <a:cxn ang="0">
                  <a:pos x="55" y="233"/>
                </a:cxn>
                <a:cxn ang="0">
                  <a:pos x="61" y="102"/>
                </a:cxn>
                <a:cxn ang="0">
                  <a:pos x="59" y="102"/>
                </a:cxn>
                <a:cxn ang="0">
                  <a:pos x="60" y="129"/>
                </a:cxn>
                <a:cxn ang="0">
                  <a:pos x="54" y="231"/>
                </a:cxn>
                <a:cxn ang="0">
                  <a:pos x="54" y="231"/>
                </a:cxn>
                <a:cxn ang="0">
                  <a:pos x="54" y="232"/>
                </a:cxn>
                <a:cxn ang="0">
                  <a:pos x="56" y="232"/>
                </a:cxn>
                <a:cxn ang="0">
                  <a:pos x="56" y="231"/>
                </a:cxn>
                <a:cxn ang="0">
                  <a:pos x="56" y="231"/>
                </a:cxn>
                <a:cxn ang="0">
                  <a:pos x="62" y="129"/>
                </a:cxn>
                <a:cxn ang="0">
                  <a:pos x="61" y="102"/>
                </a:cxn>
                <a:cxn ang="0">
                  <a:pos x="54" y="0"/>
                </a:cxn>
                <a:cxn ang="0">
                  <a:pos x="52" y="0"/>
                </a:cxn>
                <a:cxn ang="0">
                  <a:pos x="53" y="5"/>
                </a:cxn>
                <a:cxn ang="0">
                  <a:pos x="59" y="101"/>
                </a:cxn>
                <a:cxn ang="0">
                  <a:pos x="61" y="101"/>
                </a:cxn>
                <a:cxn ang="0">
                  <a:pos x="54" y="0"/>
                </a:cxn>
              </a:cxnLst>
              <a:rect l="0" t="0" r="r" b="b"/>
              <a:pathLst>
                <a:path w="62" h="429">
                  <a:moveTo>
                    <a:pt x="31" y="343"/>
                  </a:moveTo>
                  <a:cubicBezTo>
                    <a:pt x="29" y="343"/>
                    <a:pt x="29" y="343"/>
                    <a:pt x="29" y="343"/>
                  </a:cubicBezTo>
                  <a:cubicBezTo>
                    <a:pt x="18" y="386"/>
                    <a:pt x="8" y="411"/>
                    <a:pt x="0" y="429"/>
                  </a:cubicBezTo>
                  <a:cubicBezTo>
                    <a:pt x="2" y="429"/>
                    <a:pt x="2" y="429"/>
                    <a:pt x="2" y="429"/>
                  </a:cubicBezTo>
                  <a:cubicBezTo>
                    <a:pt x="10" y="411"/>
                    <a:pt x="20" y="385"/>
                    <a:pt x="31" y="343"/>
                  </a:cubicBezTo>
                  <a:moveTo>
                    <a:pt x="55" y="233"/>
                  </a:moveTo>
                  <a:cubicBezTo>
                    <a:pt x="53" y="233"/>
                    <a:pt x="53" y="233"/>
                    <a:pt x="53" y="233"/>
                  </a:cubicBezTo>
                  <a:cubicBezTo>
                    <a:pt x="53" y="234"/>
                    <a:pt x="53" y="236"/>
                    <a:pt x="52" y="239"/>
                  </a:cubicBezTo>
                  <a:cubicBezTo>
                    <a:pt x="50" y="254"/>
                    <a:pt x="42" y="290"/>
                    <a:pt x="29" y="342"/>
                  </a:cubicBezTo>
                  <a:cubicBezTo>
                    <a:pt x="29" y="342"/>
                    <a:pt x="29" y="342"/>
                    <a:pt x="29" y="342"/>
                  </a:cubicBezTo>
                  <a:cubicBezTo>
                    <a:pt x="31" y="342"/>
                    <a:pt x="31" y="342"/>
                    <a:pt x="31" y="342"/>
                  </a:cubicBezTo>
                  <a:cubicBezTo>
                    <a:pt x="46" y="282"/>
                    <a:pt x="54" y="242"/>
                    <a:pt x="55" y="233"/>
                  </a:cubicBezTo>
                  <a:moveTo>
                    <a:pt x="61" y="102"/>
                  </a:moveTo>
                  <a:cubicBezTo>
                    <a:pt x="59" y="102"/>
                    <a:pt x="59" y="102"/>
                    <a:pt x="59" y="102"/>
                  </a:cubicBezTo>
                  <a:cubicBezTo>
                    <a:pt x="60" y="111"/>
                    <a:pt x="60" y="119"/>
                    <a:pt x="60" y="129"/>
                  </a:cubicBezTo>
                  <a:cubicBezTo>
                    <a:pt x="60" y="161"/>
                    <a:pt x="58" y="196"/>
                    <a:pt x="54" y="231"/>
                  </a:cubicBezTo>
                  <a:cubicBezTo>
                    <a:pt x="54" y="231"/>
                    <a:pt x="54" y="231"/>
                    <a:pt x="54" y="231"/>
                  </a:cubicBezTo>
                  <a:cubicBezTo>
                    <a:pt x="54" y="231"/>
                    <a:pt x="54" y="231"/>
                    <a:pt x="54" y="232"/>
                  </a:cubicBezTo>
                  <a:cubicBezTo>
                    <a:pt x="56" y="232"/>
                    <a:pt x="56" y="232"/>
                    <a:pt x="56" y="232"/>
                  </a:cubicBezTo>
                  <a:cubicBezTo>
                    <a:pt x="56" y="231"/>
                    <a:pt x="56" y="231"/>
                    <a:pt x="56" y="231"/>
                  </a:cubicBezTo>
                  <a:cubicBezTo>
                    <a:pt x="56" y="231"/>
                    <a:pt x="56" y="231"/>
                    <a:pt x="56" y="231"/>
                  </a:cubicBezTo>
                  <a:cubicBezTo>
                    <a:pt x="60" y="196"/>
                    <a:pt x="62" y="161"/>
                    <a:pt x="62" y="129"/>
                  </a:cubicBezTo>
                  <a:cubicBezTo>
                    <a:pt x="62" y="119"/>
                    <a:pt x="62" y="111"/>
                    <a:pt x="61" y="102"/>
                  </a:cubicBezTo>
                  <a:moveTo>
                    <a:pt x="54" y="0"/>
                  </a:moveTo>
                  <a:cubicBezTo>
                    <a:pt x="52" y="0"/>
                    <a:pt x="52" y="0"/>
                    <a:pt x="52" y="0"/>
                  </a:cubicBezTo>
                  <a:cubicBezTo>
                    <a:pt x="52" y="1"/>
                    <a:pt x="52" y="3"/>
                    <a:pt x="53" y="5"/>
                  </a:cubicBezTo>
                  <a:cubicBezTo>
                    <a:pt x="55" y="22"/>
                    <a:pt x="58" y="57"/>
                    <a:pt x="59" y="101"/>
                  </a:cubicBezTo>
                  <a:cubicBezTo>
                    <a:pt x="61" y="101"/>
                    <a:pt x="61" y="101"/>
                    <a:pt x="61" y="101"/>
                  </a:cubicBezTo>
                  <a:cubicBezTo>
                    <a:pt x="60" y="51"/>
                    <a:pt x="56" y="13"/>
                    <a:pt x="54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70" name="Freeform 213"/>
            <p:cNvSpPr>
              <a:spLocks/>
            </p:cNvSpPr>
            <p:nvPr/>
          </p:nvSpPr>
          <p:spPr bwMode="auto">
            <a:xfrm>
              <a:off x="-2702447" y="4871026"/>
              <a:ext cx="7222" cy="492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71" name="Freeform 214"/>
            <p:cNvSpPr>
              <a:spLocks noEditPoints="1"/>
            </p:cNvSpPr>
            <p:nvPr/>
          </p:nvSpPr>
          <p:spPr bwMode="auto">
            <a:xfrm>
              <a:off x="-2955193" y="2418615"/>
              <a:ext cx="281632" cy="2954209"/>
            </a:xfrm>
            <a:custGeom>
              <a:avLst/>
              <a:gdLst/>
              <a:ahLst/>
              <a:cxnLst>
                <a:cxn ang="0">
                  <a:pos x="39" y="740"/>
                </a:cxn>
                <a:cxn ang="0">
                  <a:pos x="37" y="740"/>
                </a:cxn>
                <a:cxn ang="0">
                  <a:pos x="19" y="774"/>
                </a:cxn>
                <a:cxn ang="0">
                  <a:pos x="19" y="774"/>
                </a:cxn>
                <a:cxn ang="0">
                  <a:pos x="15" y="784"/>
                </a:cxn>
                <a:cxn ang="0">
                  <a:pos x="16" y="785"/>
                </a:cxn>
                <a:cxn ang="0">
                  <a:pos x="21" y="775"/>
                </a:cxn>
                <a:cxn ang="0">
                  <a:pos x="21" y="775"/>
                </a:cxn>
                <a:cxn ang="0">
                  <a:pos x="22" y="773"/>
                </a:cxn>
                <a:cxn ang="0">
                  <a:pos x="21" y="773"/>
                </a:cxn>
                <a:cxn ang="0">
                  <a:pos x="21" y="772"/>
                </a:cxn>
                <a:cxn ang="0">
                  <a:pos x="22" y="772"/>
                </a:cxn>
                <a:cxn ang="0">
                  <a:pos x="39" y="740"/>
                </a:cxn>
                <a:cxn ang="0">
                  <a:pos x="49" y="98"/>
                </a:cxn>
                <a:cxn ang="0">
                  <a:pos x="47" y="98"/>
                </a:cxn>
                <a:cxn ang="0">
                  <a:pos x="73" y="194"/>
                </a:cxn>
                <a:cxn ang="0">
                  <a:pos x="75" y="194"/>
                </a:cxn>
                <a:cxn ang="0">
                  <a:pos x="49" y="98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1" y="2"/>
                </a:cxn>
                <a:cxn ang="0">
                  <a:pos x="47" y="97"/>
                </a:cxn>
                <a:cxn ang="0">
                  <a:pos x="49" y="97"/>
                </a:cxn>
                <a:cxn ang="0">
                  <a:pos x="1" y="0"/>
                </a:cxn>
              </a:cxnLst>
              <a:rect l="0" t="0" r="r" b="b"/>
              <a:pathLst>
                <a:path w="75" h="785">
                  <a:moveTo>
                    <a:pt x="39" y="740"/>
                  </a:moveTo>
                  <a:cubicBezTo>
                    <a:pt x="37" y="740"/>
                    <a:pt x="37" y="740"/>
                    <a:pt x="37" y="740"/>
                  </a:cubicBezTo>
                  <a:cubicBezTo>
                    <a:pt x="30" y="755"/>
                    <a:pt x="24" y="764"/>
                    <a:pt x="19" y="774"/>
                  </a:cubicBezTo>
                  <a:cubicBezTo>
                    <a:pt x="19" y="774"/>
                    <a:pt x="19" y="774"/>
                    <a:pt x="19" y="774"/>
                  </a:cubicBezTo>
                  <a:cubicBezTo>
                    <a:pt x="15" y="784"/>
                    <a:pt x="15" y="784"/>
                    <a:pt x="15" y="784"/>
                  </a:cubicBezTo>
                  <a:cubicBezTo>
                    <a:pt x="16" y="785"/>
                    <a:pt x="16" y="785"/>
                    <a:pt x="16" y="785"/>
                  </a:cubicBezTo>
                  <a:cubicBezTo>
                    <a:pt x="21" y="775"/>
                    <a:pt x="21" y="775"/>
                    <a:pt x="21" y="775"/>
                  </a:cubicBezTo>
                  <a:cubicBezTo>
                    <a:pt x="21" y="775"/>
                    <a:pt x="21" y="775"/>
                    <a:pt x="21" y="775"/>
                  </a:cubicBezTo>
                  <a:cubicBezTo>
                    <a:pt x="21" y="774"/>
                    <a:pt x="21" y="774"/>
                    <a:pt x="22" y="773"/>
                  </a:cubicBezTo>
                  <a:cubicBezTo>
                    <a:pt x="21" y="773"/>
                    <a:pt x="21" y="773"/>
                    <a:pt x="21" y="773"/>
                  </a:cubicBezTo>
                  <a:cubicBezTo>
                    <a:pt x="21" y="772"/>
                    <a:pt x="21" y="772"/>
                    <a:pt x="21" y="772"/>
                  </a:cubicBezTo>
                  <a:cubicBezTo>
                    <a:pt x="22" y="772"/>
                    <a:pt x="22" y="772"/>
                    <a:pt x="22" y="772"/>
                  </a:cubicBezTo>
                  <a:cubicBezTo>
                    <a:pt x="27" y="763"/>
                    <a:pt x="33" y="754"/>
                    <a:pt x="39" y="740"/>
                  </a:cubicBezTo>
                  <a:moveTo>
                    <a:pt x="49" y="98"/>
                  </a:moveTo>
                  <a:cubicBezTo>
                    <a:pt x="47" y="98"/>
                    <a:pt x="47" y="98"/>
                    <a:pt x="47" y="98"/>
                  </a:cubicBezTo>
                  <a:cubicBezTo>
                    <a:pt x="56" y="124"/>
                    <a:pt x="65" y="156"/>
                    <a:pt x="73" y="194"/>
                  </a:cubicBezTo>
                  <a:cubicBezTo>
                    <a:pt x="75" y="194"/>
                    <a:pt x="75" y="194"/>
                    <a:pt x="75" y="194"/>
                  </a:cubicBezTo>
                  <a:cubicBezTo>
                    <a:pt x="67" y="156"/>
                    <a:pt x="58" y="124"/>
                    <a:pt x="49" y="98"/>
                  </a:cubicBezTo>
                  <a:moveTo>
                    <a:pt x="1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1" y="2"/>
                  </a:cubicBezTo>
                  <a:cubicBezTo>
                    <a:pt x="5" y="7"/>
                    <a:pt x="26" y="36"/>
                    <a:pt x="47" y="97"/>
                  </a:cubicBezTo>
                  <a:cubicBezTo>
                    <a:pt x="49" y="97"/>
                    <a:pt x="49" y="97"/>
                    <a:pt x="49" y="97"/>
                  </a:cubicBezTo>
                  <a:cubicBezTo>
                    <a:pt x="25" y="28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72" name="Freeform 215"/>
            <p:cNvSpPr>
              <a:spLocks/>
            </p:cNvSpPr>
            <p:nvPr/>
          </p:nvSpPr>
          <p:spPr bwMode="auto">
            <a:xfrm>
              <a:off x="-2777067" y="2785124"/>
              <a:ext cx="7221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73" name="Freeform 216"/>
            <p:cNvSpPr>
              <a:spLocks/>
            </p:cNvSpPr>
            <p:nvPr/>
          </p:nvSpPr>
          <p:spPr bwMode="auto">
            <a:xfrm>
              <a:off x="-2613383" y="4460241"/>
              <a:ext cx="12035" cy="2461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3" y="0"/>
                </a:cxn>
              </a:cxnLst>
              <a:rect l="0" t="0" r="r" b="b"/>
              <a:pathLst>
                <a:path w="3" h="1">
                  <a:moveTo>
                    <a:pt x="3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1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0"/>
                    <a:pt x="3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74" name="Freeform 217"/>
            <p:cNvSpPr>
              <a:spLocks/>
            </p:cNvSpPr>
            <p:nvPr/>
          </p:nvSpPr>
          <p:spPr bwMode="auto">
            <a:xfrm>
              <a:off x="-2815581" y="5200638"/>
              <a:ext cx="12035" cy="2459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3" y="0"/>
                </a:cxn>
              </a:cxnLst>
              <a:rect l="0" t="0" r="r" b="b"/>
              <a:pathLst>
                <a:path w="3" h="1">
                  <a:moveTo>
                    <a:pt x="3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0"/>
                    <a:pt x="3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75" name="Freeform 218"/>
            <p:cNvSpPr>
              <a:spLocks/>
            </p:cNvSpPr>
            <p:nvPr/>
          </p:nvSpPr>
          <p:spPr bwMode="auto">
            <a:xfrm>
              <a:off x="-2875759" y="5323628"/>
              <a:ext cx="4814" cy="492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76" name="Freeform 219"/>
            <p:cNvSpPr>
              <a:spLocks/>
            </p:cNvSpPr>
            <p:nvPr/>
          </p:nvSpPr>
          <p:spPr bwMode="auto">
            <a:xfrm>
              <a:off x="-2591719" y="3965824"/>
              <a:ext cx="9628" cy="492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77" name="Freeform 220"/>
            <p:cNvSpPr>
              <a:spLocks/>
            </p:cNvSpPr>
            <p:nvPr/>
          </p:nvSpPr>
          <p:spPr bwMode="auto">
            <a:xfrm>
              <a:off x="-2615791" y="3582096"/>
              <a:ext cx="7222" cy="492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78" name="Freeform 221"/>
            <p:cNvSpPr>
              <a:spLocks/>
            </p:cNvSpPr>
            <p:nvPr/>
          </p:nvSpPr>
          <p:spPr bwMode="auto">
            <a:xfrm>
              <a:off x="-5802814" y="3149173"/>
              <a:ext cx="12036" cy="2459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3" y="0"/>
                </a:cxn>
              </a:cxnLst>
              <a:rect l="0" t="0" r="r" b="b"/>
              <a:pathLst>
                <a:path w="3" h="1">
                  <a:moveTo>
                    <a:pt x="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3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79" name="Freeform 222"/>
            <p:cNvSpPr>
              <a:spLocks/>
            </p:cNvSpPr>
            <p:nvPr/>
          </p:nvSpPr>
          <p:spPr bwMode="auto">
            <a:xfrm>
              <a:off x="-5566916" y="3149173"/>
              <a:ext cx="9628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80" name="Freeform 223"/>
            <p:cNvSpPr>
              <a:spLocks/>
            </p:cNvSpPr>
            <p:nvPr/>
          </p:nvSpPr>
          <p:spPr bwMode="auto">
            <a:xfrm>
              <a:off x="-5326204" y="3149173"/>
              <a:ext cx="7222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81" name="Freeform 224"/>
            <p:cNvSpPr>
              <a:spLocks/>
            </p:cNvSpPr>
            <p:nvPr/>
          </p:nvSpPr>
          <p:spPr bwMode="auto">
            <a:xfrm>
              <a:off x="-5080678" y="3149173"/>
              <a:ext cx="4814" cy="245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3" y="2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3" h="2">
                  <a:moveTo>
                    <a:pt x="0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3" y="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82" name="Freeform 225"/>
            <p:cNvSpPr>
              <a:spLocks/>
            </p:cNvSpPr>
            <p:nvPr/>
          </p:nvSpPr>
          <p:spPr bwMode="auto">
            <a:xfrm>
              <a:off x="-4837559" y="3149173"/>
              <a:ext cx="7221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83" name="Freeform 226"/>
            <p:cNvSpPr>
              <a:spLocks/>
            </p:cNvSpPr>
            <p:nvPr/>
          </p:nvSpPr>
          <p:spPr bwMode="auto">
            <a:xfrm>
              <a:off x="-4608883" y="3149173"/>
              <a:ext cx="7222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84" name="Freeform 227"/>
            <p:cNvSpPr>
              <a:spLocks/>
            </p:cNvSpPr>
            <p:nvPr/>
          </p:nvSpPr>
          <p:spPr bwMode="auto">
            <a:xfrm>
              <a:off x="-1956240" y="3149173"/>
              <a:ext cx="7222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85" name="Freeform 228"/>
            <p:cNvSpPr>
              <a:spLocks/>
            </p:cNvSpPr>
            <p:nvPr/>
          </p:nvSpPr>
          <p:spPr bwMode="auto">
            <a:xfrm>
              <a:off x="-3641222" y="3149173"/>
              <a:ext cx="4814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86" name="Freeform 229"/>
            <p:cNvSpPr>
              <a:spLocks/>
            </p:cNvSpPr>
            <p:nvPr/>
          </p:nvSpPr>
          <p:spPr bwMode="auto">
            <a:xfrm>
              <a:off x="-3422174" y="3149173"/>
              <a:ext cx="12035" cy="2459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3" y="1"/>
                </a:cxn>
                <a:cxn ang="0">
                  <a:pos x="3" y="0"/>
                </a:cxn>
              </a:cxnLst>
              <a:rect l="0" t="0" r="r" b="b"/>
              <a:pathLst>
                <a:path w="3" h="1">
                  <a:moveTo>
                    <a:pt x="3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87" name="Freeform 230"/>
            <p:cNvSpPr>
              <a:spLocks/>
            </p:cNvSpPr>
            <p:nvPr/>
          </p:nvSpPr>
          <p:spPr bwMode="auto">
            <a:xfrm>
              <a:off x="-3171834" y="3149173"/>
              <a:ext cx="7221" cy="2459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4" y="2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4" h="2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4" y="2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88" name="Freeform 231"/>
            <p:cNvSpPr>
              <a:spLocks/>
            </p:cNvSpPr>
            <p:nvPr/>
          </p:nvSpPr>
          <p:spPr bwMode="auto">
            <a:xfrm>
              <a:off x="-2921494" y="3149173"/>
              <a:ext cx="9628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89" name="Freeform 232"/>
            <p:cNvSpPr>
              <a:spLocks/>
            </p:cNvSpPr>
            <p:nvPr/>
          </p:nvSpPr>
          <p:spPr bwMode="auto">
            <a:xfrm>
              <a:off x="-2399150" y="3149173"/>
              <a:ext cx="4814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90" name="Freeform 233"/>
            <p:cNvSpPr>
              <a:spLocks/>
            </p:cNvSpPr>
            <p:nvPr/>
          </p:nvSpPr>
          <p:spPr bwMode="auto">
            <a:xfrm>
              <a:off x="-2187324" y="3149173"/>
              <a:ext cx="12036" cy="2459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0" y="0"/>
                </a:cxn>
                <a:cxn ang="0">
                  <a:pos x="1" y="1"/>
                </a:cxn>
                <a:cxn ang="0">
                  <a:pos x="3" y="1"/>
                </a:cxn>
                <a:cxn ang="0">
                  <a:pos x="3" y="0"/>
                </a:cxn>
              </a:cxnLst>
              <a:rect l="0" t="0" r="r" b="b"/>
              <a:pathLst>
                <a:path w="3" h="1">
                  <a:moveTo>
                    <a:pt x="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91" name="Freeform 234"/>
            <p:cNvSpPr>
              <a:spLocks/>
            </p:cNvSpPr>
            <p:nvPr/>
          </p:nvSpPr>
          <p:spPr bwMode="auto">
            <a:xfrm>
              <a:off x="-1515737" y="3149173"/>
              <a:ext cx="9628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3" y="1"/>
                </a:cxn>
                <a:cxn ang="0">
                  <a:pos x="2" y="0"/>
                </a:cxn>
              </a:cxnLst>
              <a:rect l="0" t="0" r="r" b="b"/>
              <a:pathLst>
                <a:path w="3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92" name="Freeform 235"/>
            <p:cNvSpPr>
              <a:spLocks/>
            </p:cNvSpPr>
            <p:nvPr/>
          </p:nvSpPr>
          <p:spPr bwMode="auto">
            <a:xfrm>
              <a:off x="-1746821" y="3149173"/>
              <a:ext cx="9628" cy="2459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0" y="0"/>
                </a:cxn>
                <a:cxn ang="0">
                  <a:pos x="1" y="1"/>
                </a:cxn>
                <a:cxn ang="0">
                  <a:pos x="3" y="1"/>
                </a:cxn>
                <a:cxn ang="0">
                  <a:pos x="3" y="0"/>
                </a:cxn>
              </a:cxnLst>
              <a:rect l="0" t="0" r="r" b="b"/>
              <a:pathLst>
                <a:path w="3" h="1">
                  <a:moveTo>
                    <a:pt x="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1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93" name="Freeform 236"/>
            <p:cNvSpPr>
              <a:spLocks/>
            </p:cNvSpPr>
            <p:nvPr/>
          </p:nvSpPr>
          <p:spPr bwMode="auto">
            <a:xfrm>
              <a:off x="-2680782" y="3149173"/>
              <a:ext cx="7221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94" name="Freeform 237"/>
            <p:cNvSpPr>
              <a:spLocks noEditPoints="1"/>
            </p:cNvSpPr>
            <p:nvPr/>
          </p:nvSpPr>
          <p:spPr bwMode="auto">
            <a:xfrm>
              <a:off x="-6346822" y="2366960"/>
              <a:ext cx="5613397" cy="3281360"/>
            </a:xfrm>
            <a:custGeom>
              <a:avLst/>
              <a:gdLst/>
              <a:ahLst/>
              <a:cxnLst>
                <a:cxn ang="0">
                  <a:pos x="215" y="38"/>
                </a:cxn>
                <a:cxn ang="0">
                  <a:pos x="535" y="111"/>
                </a:cxn>
                <a:cxn ang="0">
                  <a:pos x="485" y="112"/>
                </a:cxn>
                <a:cxn ang="0">
                  <a:pos x="527" y="211"/>
                </a:cxn>
                <a:cxn ang="0">
                  <a:pos x="575" y="331"/>
                </a:cxn>
                <a:cxn ang="0">
                  <a:pos x="605" y="324"/>
                </a:cxn>
                <a:cxn ang="0">
                  <a:pos x="651" y="221"/>
                </a:cxn>
                <a:cxn ang="0">
                  <a:pos x="704" y="118"/>
                </a:cxn>
                <a:cxn ang="0">
                  <a:pos x="688" y="109"/>
                </a:cxn>
                <a:cxn ang="0">
                  <a:pos x="894" y="6"/>
                </a:cxn>
                <a:cxn ang="0">
                  <a:pos x="1266" y="104"/>
                </a:cxn>
                <a:cxn ang="0">
                  <a:pos x="1344" y="208"/>
                </a:cxn>
                <a:cxn ang="0">
                  <a:pos x="1450" y="323"/>
                </a:cxn>
                <a:cxn ang="0">
                  <a:pos x="1492" y="475"/>
                </a:cxn>
                <a:cxn ang="0">
                  <a:pos x="1467" y="667"/>
                </a:cxn>
                <a:cxn ang="0">
                  <a:pos x="1428" y="807"/>
                </a:cxn>
                <a:cxn ang="0">
                  <a:pos x="1219" y="787"/>
                </a:cxn>
                <a:cxn ang="0">
                  <a:pos x="1138" y="666"/>
                </a:cxn>
                <a:cxn ang="0">
                  <a:pos x="1104" y="556"/>
                </a:cxn>
                <a:cxn ang="0">
                  <a:pos x="1085" y="446"/>
                </a:cxn>
                <a:cxn ang="0">
                  <a:pos x="1057" y="579"/>
                </a:cxn>
                <a:cxn ang="0">
                  <a:pos x="1023" y="667"/>
                </a:cxn>
                <a:cxn ang="0">
                  <a:pos x="958" y="787"/>
                </a:cxn>
                <a:cxn ang="0">
                  <a:pos x="749" y="787"/>
                </a:cxn>
                <a:cxn ang="0">
                  <a:pos x="712" y="667"/>
                </a:cxn>
                <a:cxn ang="0">
                  <a:pos x="679" y="557"/>
                </a:cxn>
                <a:cxn ang="0">
                  <a:pos x="669" y="459"/>
                </a:cxn>
                <a:cxn ang="0">
                  <a:pos x="625" y="668"/>
                </a:cxn>
                <a:cxn ang="0">
                  <a:pos x="584" y="786"/>
                </a:cxn>
                <a:cxn ang="0">
                  <a:pos x="502" y="863"/>
                </a:cxn>
                <a:cxn ang="0">
                  <a:pos x="417" y="787"/>
                </a:cxn>
                <a:cxn ang="0">
                  <a:pos x="403" y="753"/>
                </a:cxn>
                <a:cxn ang="0">
                  <a:pos x="353" y="578"/>
                </a:cxn>
                <a:cxn ang="0">
                  <a:pos x="339" y="435"/>
                </a:cxn>
                <a:cxn ang="0">
                  <a:pos x="319" y="557"/>
                </a:cxn>
                <a:cxn ang="0">
                  <a:pos x="270" y="668"/>
                </a:cxn>
                <a:cxn ang="0">
                  <a:pos x="214" y="785"/>
                </a:cxn>
                <a:cxn ang="0">
                  <a:pos x="46" y="785"/>
                </a:cxn>
                <a:cxn ang="0">
                  <a:pos x="28" y="667"/>
                </a:cxn>
                <a:cxn ang="0">
                  <a:pos x="10" y="574"/>
                </a:cxn>
                <a:cxn ang="0">
                  <a:pos x="1" y="452"/>
                </a:cxn>
                <a:cxn ang="0">
                  <a:pos x="23" y="324"/>
                </a:cxn>
                <a:cxn ang="0">
                  <a:pos x="29" y="309"/>
                </a:cxn>
                <a:cxn ang="0">
                  <a:pos x="84" y="209"/>
                </a:cxn>
                <a:cxn ang="0">
                  <a:pos x="162" y="81"/>
                </a:cxn>
                <a:cxn ang="0">
                  <a:pos x="214" y="36"/>
                </a:cxn>
                <a:cxn ang="0">
                  <a:pos x="23" y="318"/>
                </a:cxn>
                <a:cxn ang="0">
                  <a:pos x="38" y="769"/>
                </a:cxn>
                <a:cxn ang="0">
                  <a:pos x="273" y="667"/>
                </a:cxn>
                <a:cxn ang="0">
                  <a:pos x="464" y="848"/>
                </a:cxn>
                <a:cxn ang="0">
                  <a:pos x="590" y="776"/>
                </a:cxn>
                <a:cxn ang="0">
                  <a:pos x="899" y="852"/>
                </a:cxn>
                <a:cxn ang="0">
                  <a:pos x="1345" y="872"/>
                </a:cxn>
                <a:cxn ang="0">
                  <a:pos x="1474" y="366"/>
                </a:cxn>
                <a:cxn ang="0">
                  <a:pos x="1236" y="87"/>
                </a:cxn>
                <a:cxn ang="0">
                  <a:pos x="742" y="53"/>
                </a:cxn>
                <a:cxn ang="0">
                  <a:pos x="577" y="331"/>
                </a:cxn>
              </a:cxnLst>
              <a:rect l="0" t="0" r="r" b="b"/>
              <a:pathLst>
                <a:path w="1494" h="872">
                  <a:moveTo>
                    <a:pt x="484" y="111"/>
                  </a:moveTo>
                  <a:cubicBezTo>
                    <a:pt x="484" y="111"/>
                    <a:pt x="484" y="111"/>
                    <a:pt x="484" y="111"/>
                  </a:cubicBezTo>
                  <a:cubicBezTo>
                    <a:pt x="485" y="111"/>
                    <a:pt x="485" y="111"/>
                    <a:pt x="485" y="111"/>
                  </a:cubicBezTo>
                  <a:cubicBezTo>
                    <a:pt x="485" y="111"/>
                    <a:pt x="485" y="111"/>
                    <a:pt x="484" y="111"/>
                  </a:cubicBezTo>
                  <a:cubicBezTo>
                    <a:pt x="484" y="111"/>
                    <a:pt x="484" y="111"/>
                    <a:pt x="484" y="111"/>
                  </a:cubicBezTo>
                  <a:moveTo>
                    <a:pt x="165" y="78"/>
                  </a:moveTo>
                  <a:cubicBezTo>
                    <a:pt x="166" y="78"/>
                    <a:pt x="169" y="75"/>
                    <a:pt x="173" y="71"/>
                  </a:cubicBezTo>
                  <a:cubicBezTo>
                    <a:pt x="175" y="69"/>
                    <a:pt x="178" y="67"/>
                    <a:pt x="180" y="65"/>
                  </a:cubicBezTo>
                  <a:cubicBezTo>
                    <a:pt x="191" y="56"/>
                    <a:pt x="205" y="44"/>
                    <a:pt x="215" y="38"/>
                  </a:cubicBezTo>
                  <a:cubicBezTo>
                    <a:pt x="224" y="33"/>
                    <a:pt x="240" y="25"/>
                    <a:pt x="255" y="18"/>
                  </a:cubicBezTo>
                  <a:cubicBezTo>
                    <a:pt x="271" y="12"/>
                    <a:pt x="286" y="6"/>
                    <a:pt x="292" y="5"/>
                  </a:cubicBezTo>
                  <a:cubicBezTo>
                    <a:pt x="299" y="4"/>
                    <a:pt x="312" y="1"/>
                    <a:pt x="331" y="1"/>
                  </a:cubicBezTo>
                  <a:cubicBezTo>
                    <a:pt x="347" y="1"/>
                    <a:pt x="367" y="3"/>
                    <a:pt x="390" y="8"/>
                  </a:cubicBezTo>
                  <a:cubicBezTo>
                    <a:pt x="429" y="17"/>
                    <a:pt x="474" y="38"/>
                    <a:pt x="501" y="55"/>
                  </a:cubicBezTo>
                  <a:cubicBezTo>
                    <a:pt x="509" y="60"/>
                    <a:pt x="525" y="74"/>
                    <a:pt x="539" y="88"/>
                  </a:cubicBezTo>
                  <a:cubicBezTo>
                    <a:pt x="546" y="94"/>
                    <a:pt x="553" y="100"/>
                    <a:pt x="558" y="105"/>
                  </a:cubicBezTo>
                  <a:cubicBezTo>
                    <a:pt x="561" y="107"/>
                    <a:pt x="563" y="109"/>
                    <a:pt x="564" y="111"/>
                  </a:cubicBezTo>
                  <a:cubicBezTo>
                    <a:pt x="535" y="111"/>
                    <a:pt x="535" y="111"/>
                    <a:pt x="535" y="111"/>
                  </a:cubicBezTo>
                  <a:cubicBezTo>
                    <a:pt x="535" y="111"/>
                    <a:pt x="535" y="111"/>
                    <a:pt x="535" y="111"/>
                  </a:cubicBezTo>
                  <a:cubicBezTo>
                    <a:pt x="534" y="112"/>
                    <a:pt x="534" y="112"/>
                    <a:pt x="534" y="112"/>
                  </a:cubicBezTo>
                  <a:cubicBezTo>
                    <a:pt x="534" y="111"/>
                    <a:pt x="534" y="111"/>
                    <a:pt x="534" y="111"/>
                  </a:cubicBezTo>
                  <a:cubicBezTo>
                    <a:pt x="486" y="111"/>
                    <a:pt x="486" y="111"/>
                    <a:pt x="486" y="111"/>
                  </a:cubicBezTo>
                  <a:cubicBezTo>
                    <a:pt x="486" y="111"/>
                    <a:pt x="486" y="111"/>
                    <a:pt x="486" y="111"/>
                  </a:cubicBezTo>
                  <a:cubicBezTo>
                    <a:pt x="486" y="112"/>
                    <a:pt x="486" y="112"/>
                    <a:pt x="486" y="112"/>
                  </a:cubicBezTo>
                  <a:cubicBezTo>
                    <a:pt x="486" y="112"/>
                    <a:pt x="486" y="112"/>
                    <a:pt x="486" y="112"/>
                  </a:cubicBezTo>
                  <a:cubicBezTo>
                    <a:pt x="485" y="112"/>
                    <a:pt x="485" y="112"/>
                    <a:pt x="485" y="112"/>
                  </a:cubicBezTo>
                  <a:cubicBezTo>
                    <a:pt x="485" y="112"/>
                    <a:pt x="485" y="112"/>
                    <a:pt x="485" y="112"/>
                  </a:cubicBezTo>
                  <a:cubicBezTo>
                    <a:pt x="485" y="112"/>
                    <a:pt x="487" y="116"/>
                    <a:pt x="490" y="122"/>
                  </a:cubicBezTo>
                  <a:cubicBezTo>
                    <a:pt x="499" y="140"/>
                    <a:pt x="517" y="179"/>
                    <a:pt x="525" y="208"/>
                  </a:cubicBezTo>
                  <a:cubicBezTo>
                    <a:pt x="525" y="208"/>
                    <a:pt x="525" y="208"/>
                    <a:pt x="525" y="208"/>
                  </a:cubicBezTo>
                  <a:cubicBezTo>
                    <a:pt x="525" y="209"/>
                    <a:pt x="525" y="209"/>
                    <a:pt x="525" y="209"/>
                  </a:cubicBezTo>
                  <a:cubicBezTo>
                    <a:pt x="525" y="209"/>
                    <a:pt x="525" y="209"/>
                    <a:pt x="525" y="209"/>
                  </a:cubicBezTo>
                  <a:cubicBezTo>
                    <a:pt x="525" y="209"/>
                    <a:pt x="525" y="209"/>
                    <a:pt x="525" y="209"/>
                  </a:cubicBezTo>
                  <a:cubicBezTo>
                    <a:pt x="525" y="209"/>
                    <a:pt x="525" y="209"/>
                    <a:pt x="525" y="209"/>
                  </a:cubicBezTo>
                  <a:cubicBezTo>
                    <a:pt x="525" y="209"/>
                    <a:pt x="525" y="209"/>
                    <a:pt x="525" y="209"/>
                  </a:cubicBezTo>
                  <a:cubicBezTo>
                    <a:pt x="525" y="209"/>
                    <a:pt x="526" y="210"/>
                    <a:pt x="527" y="211"/>
                  </a:cubicBezTo>
                  <a:cubicBezTo>
                    <a:pt x="533" y="220"/>
                    <a:pt x="556" y="254"/>
                    <a:pt x="570" y="309"/>
                  </a:cubicBezTo>
                  <a:cubicBezTo>
                    <a:pt x="571" y="309"/>
                    <a:pt x="571" y="309"/>
                    <a:pt x="571" y="309"/>
                  </a:cubicBezTo>
                  <a:cubicBezTo>
                    <a:pt x="571" y="310"/>
                    <a:pt x="571" y="310"/>
                    <a:pt x="571" y="310"/>
                  </a:cubicBezTo>
                  <a:cubicBezTo>
                    <a:pt x="570" y="310"/>
                    <a:pt x="570" y="310"/>
                    <a:pt x="570" y="310"/>
                  </a:cubicBezTo>
                  <a:cubicBezTo>
                    <a:pt x="571" y="314"/>
                    <a:pt x="572" y="318"/>
                    <a:pt x="573" y="323"/>
                  </a:cubicBezTo>
                  <a:cubicBezTo>
                    <a:pt x="574" y="323"/>
                    <a:pt x="574" y="323"/>
                    <a:pt x="574" y="323"/>
                  </a:cubicBezTo>
                  <a:cubicBezTo>
                    <a:pt x="574" y="324"/>
                    <a:pt x="574" y="324"/>
                    <a:pt x="574" y="324"/>
                  </a:cubicBezTo>
                  <a:cubicBezTo>
                    <a:pt x="573" y="324"/>
                    <a:pt x="573" y="324"/>
                    <a:pt x="573" y="324"/>
                  </a:cubicBezTo>
                  <a:cubicBezTo>
                    <a:pt x="574" y="326"/>
                    <a:pt x="574" y="329"/>
                    <a:pt x="575" y="331"/>
                  </a:cubicBezTo>
                  <a:cubicBezTo>
                    <a:pt x="575" y="331"/>
                    <a:pt x="575" y="333"/>
                    <a:pt x="576" y="337"/>
                  </a:cubicBezTo>
                  <a:cubicBezTo>
                    <a:pt x="579" y="349"/>
                    <a:pt x="584" y="376"/>
                    <a:pt x="587" y="402"/>
                  </a:cubicBezTo>
                  <a:cubicBezTo>
                    <a:pt x="587" y="402"/>
                    <a:pt x="587" y="402"/>
                    <a:pt x="587" y="402"/>
                  </a:cubicBezTo>
                  <a:cubicBezTo>
                    <a:pt x="588" y="406"/>
                    <a:pt x="588" y="406"/>
                    <a:pt x="588" y="406"/>
                  </a:cubicBezTo>
                  <a:cubicBezTo>
                    <a:pt x="588" y="406"/>
                    <a:pt x="588" y="406"/>
                    <a:pt x="588" y="406"/>
                  </a:cubicBezTo>
                  <a:cubicBezTo>
                    <a:pt x="590" y="405"/>
                    <a:pt x="590" y="405"/>
                    <a:pt x="590" y="405"/>
                  </a:cubicBezTo>
                  <a:cubicBezTo>
                    <a:pt x="590" y="405"/>
                    <a:pt x="590" y="405"/>
                    <a:pt x="590" y="405"/>
                  </a:cubicBezTo>
                  <a:cubicBezTo>
                    <a:pt x="592" y="385"/>
                    <a:pt x="592" y="385"/>
                    <a:pt x="592" y="385"/>
                  </a:cubicBezTo>
                  <a:cubicBezTo>
                    <a:pt x="595" y="363"/>
                    <a:pt x="600" y="342"/>
                    <a:pt x="605" y="324"/>
                  </a:cubicBezTo>
                  <a:cubicBezTo>
                    <a:pt x="604" y="324"/>
                    <a:pt x="604" y="324"/>
                    <a:pt x="604" y="324"/>
                  </a:cubicBezTo>
                  <a:cubicBezTo>
                    <a:pt x="604" y="323"/>
                    <a:pt x="604" y="323"/>
                    <a:pt x="604" y="323"/>
                  </a:cubicBezTo>
                  <a:cubicBezTo>
                    <a:pt x="605" y="323"/>
                    <a:pt x="605" y="323"/>
                    <a:pt x="605" y="323"/>
                  </a:cubicBezTo>
                  <a:cubicBezTo>
                    <a:pt x="606" y="318"/>
                    <a:pt x="608" y="314"/>
                    <a:pt x="609" y="310"/>
                  </a:cubicBezTo>
                  <a:cubicBezTo>
                    <a:pt x="608" y="310"/>
                    <a:pt x="608" y="310"/>
                    <a:pt x="608" y="310"/>
                  </a:cubicBezTo>
                  <a:cubicBezTo>
                    <a:pt x="608" y="309"/>
                    <a:pt x="608" y="309"/>
                    <a:pt x="608" y="309"/>
                  </a:cubicBezTo>
                  <a:cubicBezTo>
                    <a:pt x="609" y="309"/>
                    <a:pt x="609" y="309"/>
                    <a:pt x="609" y="309"/>
                  </a:cubicBezTo>
                  <a:cubicBezTo>
                    <a:pt x="616" y="288"/>
                    <a:pt x="624" y="271"/>
                    <a:pt x="631" y="256"/>
                  </a:cubicBezTo>
                  <a:cubicBezTo>
                    <a:pt x="639" y="241"/>
                    <a:pt x="646" y="229"/>
                    <a:pt x="651" y="221"/>
                  </a:cubicBezTo>
                  <a:cubicBezTo>
                    <a:pt x="654" y="217"/>
                    <a:pt x="656" y="214"/>
                    <a:pt x="657" y="212"/>
                  </a:cubicBezTo>
                  <a:cubicBezTo>
                    <a:pt x="659" y="210"/>
                    <a:pt x="660" y="209"/>
                    <a:pt x="660" y="209"/>
                  </a:cubicBezTo>
                  <a:cubicBezTo>
                    <a:pt x="660" y="209"/>
                    <a:pt x="660" y="209"/>
                    <a:pt x="660" y="209"/>
                  </a:cubicBezTo>
                  <a:cubicBezTo>
                    <a:pt x="660" y="209"/>
                    <a:pt x="660" y="209"/>
                    <a:pt x="660" y="209"/>
                  </a:cubicBezTo>
                  <a:cubicBezTo>
                    <a:pt x="659" y="209"/>
                    <a:pt x="659" y="209"/>
                    <a:pt x="659" y="209"/>
                  </a:cubicBezTo>
                  <a:cubicBezTo>
                    <a:pt x="659" y="208"/>
                    <a:pt x="659" y="208"/>
                    <a:pt x="659" y="208"/>
                  </a:cubicBezTo>
                  <a:cubicBezTo>
                    <a:pt x="660" y="208"/>
                    <a:pt x="660" y="208"/>
                    <a:pt x="660" y="208"/>
                  </a:cubicBezTo>
                  <a:cubicBezTo>
                    <a:pt x="670" y="174"/>
                    <a:pt x="682" y="151"/>
                    <a:pt x="692" y="135"/>
                  </a:cubicBezTo>
                  <a:cubicBezTo>
                    <a:pt x="696" y="127"/>
                    <a:pt x="701" y="121"/>
                    <a:pt x="704" y="118"/>
                  </a:cubicBezTo>
                  <a:cubicBezTo>
                    <a:pt x="705" y="116"/>
                    <a:pt x="706" y="114"/>
                    <a:pt x="707" y="114"/>
                  </a:cubicBezTo>
                  <a:cubicBezTo>
                    <a:pt x="708" y="113"/>
                    <a:pt x="708" y="112"/>
                    <a:pt x="708" y="112"/>
                  </a:cubicBezTo>
                  <a:cubicBezTo>
                    <a:pt x="708" y="112"/>
                    <a:pt x="708" y="112"/>
                    <a:pt x="708" y="112"/>
                  </a:cubicBezTo>
                  <a:cubicBezTo>
                    <a:pt x="707" y="112"/>
                    <a:pt x="707" y="112"/>
                    <a:pt x="707" y="112"/>
                  </a:cubicBezTo>
                  <a:cubicBezTo>
                    <a:pt x="707" y="111"/>
                    <a:pt x="707" y="111"/>
                    <a:pt x="707" y="111"/>
                  </a:cubicBezTo>
                  <a:cubicBezTo>
                    <a:pt x="709" y="111"/>
                    <a:pt x="709" y="111"/>
                    <a:pt x="709" y="111"/>
                  </a:cubicBezTo>
                  <a:cubicBezTo>
                    <a:pt x="710" y="111"/>
                    <a:pt x="710" y="111"/>
                    <a:pt x="710" y="111"/>
                  </a:cubicBezTo>
                  <a:cubicBezTo>
                    <a:pt x="687" y="110"/>
                    <a:pt x="687" y="110"/>
                    <a:pt x="687" y="110"/>
                  </a:cubicBezTo>
                  <a:cubicBezTo>
                    <a:pt x="687" y="110"/>
                    <a:pt x="687" y="110"/>
                    <a:pt x="688" y="109"/>
                  </a:cubicBezTo>
                  <a:cubicBezTo>
                    <a:pt x="689" y="107"/>
                    <a:pt x="691" y="105"/>
                    <a:pt x="694" y="102"/>
                  </a:cubicBezTo>
                  <a:cubicBezTo>
                    <a:pt x="698" y="96"/>
                    <a:pt x="704" y="89"/>
                    <a:pt x="712" y="81"/>
                  </a:cubicBezTo>
                  <a:cubicBezTo>
                    <a:pt x="712" y="81"/>
                    <a:pt x="712" y="81"/>
                    <a:pt x="712" y="81"/>
                  </a:cubicBezTo>
                  <a:cubicBezTo>
                    <a:pt x="712" y="80"/>
                    <a:pt x="712" y="80"/>
                    <a:pt x="712" y="80"/>
                  </a:cubicBezTo>
                  <a:cubicBezTo>
                    <a:pt x="713" y="80"/>
                    <a:pt x="713" y="80"/>
                    <a:pt x="713" y="80"/>
                  </a:cubicBezTo>
                  <a:cubicBezTo>
                    <a:pt x="721" y="72"/>
                    <a:pt x="731" y="63"/>
                    <a:pt x="743" y="55"/>
                  </a:cubicBezTo>
                  <a:cubicBezTo>
                    <a:pt x="758" y="43"/>
                    <a:pt x="775" y="33"/>
                    <a:pt x="795" y="24"/>
                  </a:cubicBezTo>
                  <a:cubicBezTo>
                    <a:pt x="820" y="13"/>
                    <a:pt x="849" y="5"/>
                    <a:pt x="881" y="5"/>
                  </a:cubicBezTo>
                  <a:cubicBezTo>
                    <a:pt x="885" y="5"/>
                    <a:pt x="890" y="6"/>
                    <a:pt x="894" y="6"/>
                  </a:cubicBezTo>
                  <a:cubicBezTo>
                    <a:pt x="894" y="6"/>
                    <a:pt x="894" y="6"/>
                    <a:pt x="894" y="6"/>
                  </a:cubicBezTo>
                  <a:cubicBezTo>
                    <a:pt x="894" y="6"/>
                    <a:pt x="894" y="6"/>
                    <a:pt x="894" y="6"/>
                  </a:cubicBezTo>
                  <a:cubicBezTo>
                    <a:pt x="894" y="6"/>
                    <a:pt x="896" y="6"/>
                    <a:pt x="900" y="6"/>
                  </a:cubicBezTo>
                  <a:cubicBezTo>
                    <a:pt x="918" y="6"/>
                    <a:pt x="971" y="7"/>
                    <a:pt x="1029" y="19"/>
                  </a:cubicBezTo>
                  <a:cubicBezTo>
                    <a:pt x="1083" y="31"/>
                    <a:pt x="1129" y="40"/>
                    <a:pt x="1203" y="73"/>
                  </a:cubicBezTo>
                  <a:cubicBezTo>
                    <a:pt x="1207" y="75"/>
                    <a:pt x="1210" y="76"/>
                    <a:pt x="1214" y="78"/>
                  </a:cubicBezTo>
                  <a:cubicBezTo>
                    <a:pt x="1217" y="80"/>
                    <a:pt x="1221" y="81"/>
                    <a:pt x="1225" y="83"/>
                  </a:cubicBezTo>
                  <a:cubicBezTo>
                    <a:pt x="1228" y="85"/>
                    <a:pt x="1232" y="87"/>
                    <a:pt x="1235" y="88"/>
                  </a:cubicBezTo>
                  <a:cubicBezTo>
                    <a:pt x="1245" y="93"/>
                    <a:pt x="1255" y="98"/>
                    <a:pt x="1266" y="104"/>
                  </a:cubicBezTo>
                  <a:cubicBezTo>
                    <a:pt x="1274" y="109"/>
                    <a:pt x="1283" y="113"/>
                    <a:pt x="1292" y="118"/>
                  </a:cubicBezTo>
                  <a:cubicBezTo>
                    <a:pt x="1292" y="118"/>
                    <a:pt x="1294" y="120"/>
                    <a:pt x="1299" y="122"/>
                  </a:cubicBezTo>
                  <a:cubicBezTo>
                    <a:pt x="1303" y="125"/>
                    <a:pt x="1309" y="129"/>
                    <a:pt x="1317" y="134"/>
                  </a:cubicBezTo>
                  <a:cubicBezTo>
                    <a:pt x="1318" y="135"/>
                    <a:pt x="1319" y="136"/>
                    <a:pt x="1321" y="137"/>
                  </a:cubicBezTo>
                  <a:cubicBezTo>
                    <a:pt x="1322" y="138"/>
                    <a:pt x="1324" y="139"/>
                    <a:pt x="1325" y="140"/>
                  </a:cubicBezTo>
                  <a:cubicBezTo>
                    <a:pt x="1349" y="156"/>
                    <a:pt x="1380" y="179"/>
                    <a:pt x="1404" y="207"/>
                  </a:cubicBezTo>
                  <a:cubicBezTo>
                    <a:pt x="1344" y="207"/>
                    <a:pt x="1344" y="207"/>
                    <a:pt x="1344" y="207"/>
                  </a:cubicBezTo>
                  <a:cubicBezTo>
                    <a:pt x="1344" y="207"/>
                    <a:pt x="1344" y="208"/>
                    <a:pt x="1345" y="208"/>
                  </a:cubicBezTo>
                  <a:cubicBezTo>
                    <a:pt x="1344" y="208"/>
                    <a:pt x="1344" y="208"/>
                    <a:pt x="1344" y="208"/>
                  </a:cubicBezTo>
                  <a:cubicBezTo>
                    <a:pt x="1344" y="209"/>
                    <a:pt x="1344" y="209"/>
                    <a:pt x="1344" y="209"/>
                  </a:cubicBezTo>
                  <a:cubicBezTo>
                    <a:pt x="1343" y="209"/>
                    <a:pt x="1343" y="209"/>
                    <a:pt x="1343" y="209"/>
                  </a:cubicBezTo>
                  <a:cubicBezTo>
                    <a:pt x="1344" y="209"/>
                    <a:pt x="1344" y="209"/>
                    <a:pt x="1344" y="209"/>
                  </a:cubicBezTo>
                  <a:cubicBezTo>
                    <a:pt x="1344" y="209"/>
                    <a:pt x="1345" y="210"/>
                    <a:pt x="1348" y="212"/>
                  </a:cubicBezTo>
                  <a:cubicBezTo>
                    <a:pt x="1362" y="224"/>
                    <a:pt x="1407" y="263"/>
                    <a:pt x="1440" y="309"/>
                  </a:cubicBezTo>
                  <a:cubicBezTo>
                    <a:pt x="1442" y="309"/>
                    <a:pt x="1442" y="309"/>
                    <a:pt x="1442" y="309"/>
                  </a:cubicBezTo>
                  <a:cubicBezTo>
                    <a:pt x="1442" y="310"/>
                    <a:pt x="1442" y="310"/>
                    <a:pt x="1442" y="310"/>
                  </a:cubicBezTo>
                  <a:cubicBezTo>
                    <a:pt x="1441" y="310"/>
                    <a:pt x="1441" y="310"/>
                    <a:pt x="1441" y="310"/>
                  </a:cubicBezTo>
                  <a:cubicBezTo>
                    <a:pt x="1444" y="314"/>
                    <a:pt x="1447" y="318"/>
                    <a:pt x="1450" y="323"/>
                  </a:cubicBezTo>
                  <a:cubicBezTo>
                    <a:pt x="1451" y="323"/>
                    <a:pt x="1451" y="323"/>
                    <a:pt x="1451" y="323"/>
                  </a:cubicBezTo>
                  <a:cubicBezTo>
                    <a:pt x="1451" y="324"/>
                    <a:pt x="1451" y="324"/>
                    <a:pt x="1451" y="324"/>
                  </a:cubicBezTo>
                  <a:cubicBezTo>
                    <a:pt x="1450" y="324"/>
                    <a:pt x="1450" y="324"/>
                    <a:pt x="1450" y="324"/>
                  </a:cubicBezTo>
                  <a:cubicBezTo>
                    <a:pt x="1459" y="338"/>
                    <a:pt x="1467" y="352"/>
                    <a:pt x="1472" y="367"/>
                  </a:cubicBezTo>
                  <a:cubicBezTo>
                    <a:pt x="1480" y="388"/>
                    <a:pt x="1485" y="407"/>
                    <a:pt x="1488" y="425"/>
                  </a:cubicBezTo>
                  <a:cubicBezTo>
                    <a:pt x="1489" y="425"/>
                    <a:pt x="1489" y="425"/>
                    <a:pt x="1489" y="425"/>
                  </a:cubicBezTo>
                  <a:cubicBezTo>
                    <a:pt x="1489" y="426"/>
                    <a:pt x="1489" y="426"/>
                    <a:pt x="1489" y="426"/>
                  </a:cubicBezTo>
                  <a:cubicBezTo>
                    <a:pt x="1488" y="426"/>
                    <a:pt x="1488" y="426"/>
                    <a:pt x="1488" y="426"/>
                  </a:cubicBezTo>
                  <a:cubicBezTo>
                    <a:pt x="1491" y="442"/>
                    <a:pt x="1492" y="458"/>
                    <a:pt x="1492" y="475"/>
                  </a:cubicBezTo>
                  <a:cubicBezTo>
                    <a:pt x="1492" y="498"/>
                    <a:pt x="1490" y="524"/>
                    <a:pt x="1485" y="556"/>
                  </a:cubicBezTo>
                  <a:cubicBezTo>
                    <a:pt x="1486" y="556"/>
                    <a:pt x="1486" y="556"/>
                    <a:pt x="1486" y="556"/>
                  </a:cubicBezTo>
                  <a:cubicBezTo>
                    <a:pt x="1486" y="557"/>
                    <a:pt x="1486" y="557"/>
                    <a:pt x="1486" y="557"/>
                  </a:cubicBezTo>
                  <a:cubicBezTo>
                    <a:pt x="1485" y="557"/>
                    <a:pt x="1485" y="557"/>
                    <a:pt x="1485" y="557"/>
                  </a:cubicBezTo>
                  <a:cubicBezTo>
                    <a:pt x="1483" y="574"/>
                    <a:pt x="1480" y="593"/>
                    <a:pt x="1477" y="614"/>
                  </a:cubicBezTo>
                  <a:cubicBezTo>
                    <a:pt x="1474" y="632"/>
                    <a:pt x="1470" y="650"/>
                    <a:pt x="1467" y="666"/>
                  </a:cubicBezTo>
                  <a:cubicBezTo>
                    <a:pt x="1468" y="666"/>
                    <a:pt x="1468" y="666"/>
                    <a:pt x="1468" y="666"/>
                  </a:cubicBezTo>
                  <a:cubicBezTo>
                    <a:pt x="1468" y="667"/>
                    <a:pt x="1468" y="667"/>
                    <a:pt x="1468" y="667"/>
                  </a:cubicBezTo>
                  <a:cubicBezTo>
                    <a:pt x="1467" y="667"/>
                    <a:pt x="1467" y="667"/>
                    <a:pt x="1467" y="667"/>
                  </a:cubicBezTo>
                  <a:cubicBezTo>
                    <a:pt x="1460" y="703"/>
                    <a:pt x="1453" y="732"/>
                    <a:pt x="1447" y="753"/>
                  </a:cubicBezTo>
                  <a:cubicBezTo>
                    <a:pt x="1447" y="753"/>
                    <a:pt x="1447" y="753"/>
                    <a:pt x="1447" y="753"/>
                  </a:cubicBezTo>
                  <a:cubicBezTo>
                    <a:pt x="1447" y="754"/>
                    <a:pt x="1447" y="754"/>
                    <a:pt x="1447" y="754"/>
                  </a:cubicBezTo>
                  <a:cubicBezTo>
                    <a:pt x="1446" y="754"/>
                    <a:pt x="1446" y="754"/>
                    <a:pt x="1446" y="754"/>
                  </a:cubicBezTo>
                  <a:cubicBezTo>
                    <a:pt x="1446" y="756"/>
                    <a:pt x="1445" y="759"/>
                    <a:pt x="1444" y="761"/>
                  </a:cubicBezTo>
                  <a:cubicBezTo>
                    <a:pt x="1440" y="777"/>
                    <a:pt x="1436" y="788"/>
                    <a:pt x="1433" y="796"/>
                  </a:cubicBezTo>
                  <a:cubicBezTo>
                    <a:pt x="1431" y="799"/>
                    <a:pt x="1430" y="802"/>
                    <a:pt x="1429" y="804"/>
                  </a:cubicBezTo>
                  <a:cubicBezTo>
                    <a:pt x="1429" y="806"/>
                    <a:pt x="1428" y="807"/>
                    <a:pt x="1428" y="807"/>
                  </a:cubicBezTo>
                  <a:cubicBezTo>
                    <a:pt x="1428" y="807"/>
                    <a:pt x="1428" y="807"/>
                    <a:pt x="1428" y="807"/>
                  </a:cubicBezTo>
                  <a:cubicBezTo>
                    <a:pt x="1428" y="807"/>
                    <a:pt x="1428" y="807"/>
                    <a:pt x="1428" y="807"/>
                  </a:cubicBezTo>
                  <a:cubicBezTo>
                    <a:pt x="1428" y="807"/>
                    <a:pt x="1428" y="808"/>
                    <a:pt x="1427" y="809"/>
                  </a:cubicBezTo>
                  <a:cubicBezTo>
                    <a:pt x="1425" y="814"/>
                    <a:pt x="1419" y="828"/>
                    <a:pt x="1411" y="840"/>
                  </a:cubicBezTo>
                  <a:cubicBezTo>
                    <a:pt x="1403" y="853"/>
                    <a:pt x="1392" y="864"/>
                    <a:pt x="1381" y="867"/>
                  </a:cubicBezTo>
                  <a:cubicBezTo>
                    <a:pt x="1374" y="869"/>
                    <a:pt x="1365" y="870"/>
                    <a:pt x="1355" y="870"/>
                  </a:cubicBezTo>
                  <a:cubicBezTo>
                    <a:pt x="1330" y="870"/>
                    <a:pt x="1296" y="860"/>
                    <a:pt x="1250" y="816"/>
                  </a:cubicBezTo>
                  <a:cubicBezTo>
                    <a:pt x="1243" y="809"/>
                    <a:pt x="1236" y="803"/>
                    <a:pt x="1230" y="797"/>
                  </a:cubicBezTo>
                  <a:cubicBezTo>
                    <a:pt x="1227" y="793"/>
                    <a:pt x="1224" y="790"/>
                    <a:pt x="1221" y="787"/>
                  </a:cubicBezTo>
                  <a:cubicBezTo>
                    <a:pt x="1219" y="787"/>
                    <a:pt x="1219" y="787"/>
                    <a:pt x="1219" y="787"/>
                  </a:cubicBezTo>
                  <a:cubicBezTo>
                    <a:pt x="1219" y="786"/>
                    <a:pt x="1219" y="786"/>
                    <a:pt x="1219" y="786"/>
                  </a:cubicBezTo>
                  <a:cubicBezTo>
                    <a:pt x="1220" y="786"/>
                    <a:pt x="1220" y="786"/>
                    <a:pt x="1220" y="786"/>
                  </a:cubicBezTo>
                  <a:cubicBezTo>
                    <a:pt x="1209" y="775"/>
                    <a:pt x="1199" y="765"/>
                    <a:pt x="1191" y="754"/>
                  </a:cubicBezTo>
                  <a:cubicBezTo>
                    <a:pt x="1189" y="754"/>
                    <a:pt x="1189" y="754"/>
                    <a:pt x="1189" y="754"/>
                  </a:cubicBezTo>
                  <a:cubicBezTo>
                    <a:pt x="1189" y="753"/>
                    <a:pt x="1189" y="753"/>
                    <a:pt x="1189" y="753"/>
                  </a:cubicBezTo>
                  <a:cubicBezTo>
                    <a:pt x="1190" y="753"/>
                    <a:pt x="1190" y="753"/>
                    <a:pt x="1190" y="753"/>
                  </a:cubicBezTo>
                  <a:cubicBezTo>
                    <a:pt x="1169" y="726"/>
                    <a:pt x="1154" y="700"/>
                    <a:pt x="1139" y="667"/>
                  </a:cubicBezTo>
                  <a:cubicBezTo>
                    <a:pt x="1138" y="667"/>
                    <a:pt x="1138" y="667"/>
                    <a:pt x="1138" y="667"/>
                  </a:cubicBezTo>
                  <a:cubicBezTo>
                    <a:pt x="1138" y="666"/>
                    <a:pt x="1138" y="666"/>
                    <a:pt x="1138" y="666"/>
                  </a:cubicBezTo>
                  <a:cubicBezTo>
                    <a:pt x="1139" y="666"/>
                    <a:pt x="1139" y="666"/>
                    <a:pt x="1139" y="666"/>
                  </a:cubicBezTo>
                  <a:cubicBezTo>
                    <a:pt x="1137" y="662"/>
                    <a:pt x="1135" y="658"/>
                    <a:pt x="1133" y="654"/>
                  </a:cubicBezTo>
                  <a:cubicBezTo>
                    <a:pt x="1124" y="632"/>
                    <a:pt x="1116" y="606"/>
                    <a:pt x="1110" y="579"/>
                  </a:cubicBezTo>
                  <a:cubicBezTo>
                    <a:pt x="1110" y="579"/>
                    <a:pt x="1110" y="579"/>
                    <a:pt x="1110" y="579"/>
                  </a:cubicBezTo>
                  <a:cubicBezTo>
                    <a:pt x="1110" y="578"/>
                    <a:pt x="1110" y="578"/>
                    <a:pt x="1110" y="578"/>
                  </a:cubicBezTo>
                  <a:cubicBezTo>
                    <a:pt x="1110" y="578"/>
                    <a:pt x="1110" y="578"/>
                    <a:pt x="1110" y="578"/>
                  </a:cubicBezTo>
                  <a:cubicBezTo>
                    <a:pt x="1108" y="571"/>
                    <a:pt x="1107" y="564"/>
                    <a:pt x="1105" y="557"/>
                  </a:cubicBezTo>
                  <a:cubicBezTo>
                    <a:pt x="1104" y="557"/>
                    <a:pt x="1104" y="557"/>
                    <a:pt x="1104" y="557"/>
                  </a:cubicBezTo>
                  <a:cubicBezTo>
                    <a:pt x="1104" y="556"/>
                    <a:pt x="1104" y="556"/>
                    <a:pt x="1104" y="556"/>
                  </a:cubicBezTo>
                  <a:cubicBezTo>
                    <a:pt x="1105" y="556"/>
                    <a:pt x="1105" y="556"/>
                    <a:pt x="1105" y="556"/>
                  </a:cubicBezTo>
                  <a:cubicBezTo>
                    <a:pt x="1102" y="544"/>
                    <a:pt x="1100" y="532"/>
                    <a:pt x="1098" y="521"/>
                  </a:cubicBezTo>
                  <a:cubicBezTo>
                    <a:pt x="1094" y="500"/>
                    <a:pt x="1091" y="481"/>
                    <a:pt x="1090" y="467"/>
                  </a:cubicBezTo>
                  <a:cubicBezTo>
                    <a:pt x="1089" y="461"/>
                    <a:pt x="1088" y="455"/>
                    <a:pt x="1087" y="452"/>
                  </a:cubicBezTo>
                  <a:cubicBezTo>
                    <a:pt x="1087" y="448"/>
                    <a:pt x="1087" y="446"/>
                    <a:pt x="1087" y="446"/>
                  </a:cubicBezTo>
                  <a:cubicBezTo>
                    <a:pt x="1086" y="446"/>
                    <a:pt x="1086" y="446"/>
                    <a:pt x="1086" y="446"/>
                  </a:cubicBezTo>
                  <a:cubicBezTo>
                    <a:pt x="1086" y="446"/>
                    <a:pt x="1086" y="446"/>
                    <a:pt x="1086" y="446"/>
                  </a:cubicBezTo>
                  <a:cubicBezTo>
                    <a:pt x="1085" y="446"/>
                    <a:pt x="1085" y="446"/>
                    <a:pt x="1085" y="446"/>
                  </a:cubicBezTo>
                  <a:cubicBezTo>
                    <a:pt x="1085" y="446"/>
                    <a:pt x="1085" y="446"/>
                    <a:pt x="1085" y="446"/>
                  </a:cubicBezTo>
                  <a:cubicBezTo>
                    <a:pt x="1085" y="446"/>
                    <a:pt x="1085" y="446"/>
                    <a:pt x="1085" y="446"/>
                  </a:cubicBezTo>
                  <a:cubicBezTo>
                    <a:pt x="1085" y="446"/>
                    <a:pt x="1085" y="447"/>
                    <a:pt x="1085" y="450"/>
                  </a:cubicBezTo>
                  <a:cubicBezTo>
                    <a:pt x="1083" y="463"/>
                    <a:pt x="1078" y="509"/>
                    <a:pt x="1065" y="556"/>
                  </a:cubicBezTo>
                  <a:cubicBezTo>
                    <a:pt x="1065" y="557"/>
                    <a:pt x="1065" y="557"/>
                    <a:pt x="1065" y="557"/>
                  </a:cubicBezTo>
                  <a:cubicBezTo>
                    <a:pt x="1064" y="557"/>
                    <a:pt x="1064" y="557"/>
                    <a:pt x="1064" y="557"/>
                  </a:cubicBezTo>
                  <a:cubicBezTo>
                    <a:pt x="1062" y="564"/>
                    <a:pt x="1060" y="571"/>
                    <a:pt x="1058" y="578"/>
                  </a:cubicBezTo>
                  <a:cubicBezTo>
                    <a:pt x="1058" y="578"/>
                    <a:pt x="1058" y="578"/>
                    <a:pt x="1058" y="578"/>
                  </a:cubicBezTo>
                  <a:cubicBezTo>
                    <a:pt x="1058" y="579"/>
                    <a:pt x="1058" y="579"/>
                    <a:pt x="1058" y="579"/>
                  </a:cubicBezTo>
                  <a:cubicBezTo>
                    <a:pt x="1057" y="579"/>
                    <a:pt x="1057" y="579"/>
                    <a:pt x="1057" y="579"/>
                  </a:cubicBezTo>
                  <a:cubicBezTo>
                    <a:pt x="1057" y="579"/>
                    <a:pt x="1057" y="579"/>
                    <a:pt x="1057" y="579"/>
                  </a:cubicBezTo>
                  <a:cubicBezTo>
                    <a:pt x="1055" y="585"/>
                    <a:pt x="1053" y="591"/>
                    <a:pt x="1050" y="597"/>
                  </a:cubicBezTo>
                  <a:cubicBezTo>
                    <a:pt x="1050" y="597"/>
                    <a:pt x="1050" y="597"/>
                    <a:pt x="1050" y="597"/>
                  </a:cubicBezTo>
                  <a:cubicBezTo>
                    <a:pt x="1050" y="597"/>
                    <a:pt x="1050" y="597"/>
                    <a:pt x="1050" y="597"/>
                  </a:cubicBezTo>
                  <a:cubicBezTo>
                    <a:pt x="1050" y="597"/>
                    <a:pt x="1050" y="599"/>
                    <a:pt x="1049" y="601"/>
                  </a:cubicBezTo>
                  <a:cubicBezTo>
                    <a:pt x="1045" y="611"/>
                    <a:pt x="1036" y="636"/>
                    <a:pt x="1023" y="666"/>
                  </a:cubicBezTo>
                  <a:cubicBezTo>
                    <a:pt x="1024" y="666"/>
                    <a:pt x="1024" y="666"/>
                    <a:pt x="1024" y="666"/>
                  </a:cubicBezTo>
                  <a:cubicBezTo>
                    <a:pt x="1024" y="667"/>
                    <a:pt x="1024" y="667"/>
                    <a:pt x="1024" y="667"/>
                  </a:cubicBezTo>
                  <a:cubicBezTo>
                    <a:pt x="1023" y="667"/>
                    <a:pt x="1023" y="667"/>
                    <a:pt x="1023" y="667"/>
                  </a:cubicBezTo>
                  <a:cubicBezTo>
                    <a:pt x="1011" y="694"/>
                    <a:pt x="996" y="725"/>
                    <a:pt x="981" y="751"/>
                  </a:cubicBezTo>
                  <a:cubicBezTo>
                    <a:pt x="980" y="751"/>
                    <a:pt x="980" y="752"/>
                    <a:pt x="979" y="753"/>
                  </a:cubicBezTo>
                  <a:cubicBezTo>
                    <a:pt x="980" y="753"/>
                    <a:pt x="980" y="753"/>
                    <a:pt x="980" y="753"/>
                  </a:cubicBezTo>
                  <a:cubicBezTo>
                    <a:pt x="980" y="754"/>
                    <a:pt x="980" y="754"/>
                    <a:pt x="980" y="754"/>
                  </a:cubicBezTo>
                  <a:cubicBezTo>
                    <a:pt x="979" y="754"/>
                    <a:pt x="979" y="754"/>
                    <a:pt x="979" y="754"/>
                  </a:cubicBezTo>
                  <a:cubicBezTo>
                    <a:pt x="971" y="766"/>
                    <a:pt x="965" y="777"/>
                    <a:pt x="958" y="786"/>
                  </a:cubicBezTo>
                  <a:cubicBezTo>
                    <a:pt x="959" y="786"/>
                    <a:pt x="959" y="786"/>
                    <a:pt x="959" y="786"/>
                  </a:cubicBezTo>
                  <a:cubicBezTo>
                    <a:pt x="959" y="787"/>
                    <a:pt x="959" y="787"/>
                    <a:pt x="959" y="787"/>
                  </a:cubicBezTo>
                  <a:cubicBezTo>
                    <a:pt x="958" y="787"/>
                    <a:pt x="958" y="787"/>
                    <a:pt x="958" y="787"/>
                  </a:cubicBezTo>
                  <a:cubicBezTo>
                    <a:pt x="953" y="795"/>
                    <a:pt x="948" y="802"/>
                    <a:pt x="944" y="808"/>
                  </a:cubicBezTo>
                  <a:cubicBezTo>
                    <a:pt x="932" y="824"/>
                    <a:pt x="920" y="837"/>
                    <a:pt x="898" y="850"/>
                  </a:cubicBezTo>
                  <a:cubicBezTo>
                    <a:pt x="886" y="858"/>
                    <a:pt x="878" y="862"/>
                    <a:pt x="871" y="865"/>
                  </a:cubicBezTo>
                  <a:cubicBezTo>
                    <a:pt x="864" y="868"/>
                    <a:pt x="859" y="869"/>
                    <a:pt x="854" y="869"/>
                  </a:cubicBezTo>
                  <a:cubicBezTo>
                    <a:pt x="854" y="869"/>
                    <a:pt x="854" y="869"/>
                    <a:pt x="854" y="869"/>
                  </a:cubicBezTo>
                  <a:cubicBezTo>
                    <a:pt x="848" y="869"/>
                    <a:pt x="841" y="867"/>
                    <a:pt x="829" y="865"/>
                  </a:cubicBezTo>
                  <a:cubicBezTo>
                    <a:pt x="804" y="860"/>
                    <a:pt x="786" y="846"/>
                    <a:pt x="769" y="821"/>
                  </a:cubicBezTo>
                  <a:cubicBezTo>
                    <a:pt x="767" y="818"/>
                    <a:pt x="765" y="815"/>
                    <a:pt x="763" y="813"/>
                  </a:cubicBezTo>
                  <a:cubicBezTo>
                    <a:pt x="759" y="805"/>
                    <a:pt x="754" y="797"/>
                    <a:pt x="749" y="787"/>
                  </a:cubicBezTo>
                  <a:cubicBezTo>
                    <a:pt x="748" y="787"/>
                    <a:pt x="748" y="787"/>
                    <a:pt x="748" y="787"/>
                  </a:cubicBezTo>
                  <a:cubicBezTo>
                    <a:pt x="748" y="786"/>
                    <a:pt x="748" y="786"/>
                    <a:pt x="748" y="786"/>
                  </a:cubicBezTo>
                  <a:cubicBezTo>
                    <a:pt x="748" y="786"/>
                    <a:pt x="748" y="786"/>
                    <a:pt x="748" y="786"/>
                  </a:cubicBezTo>
                  <a:cubicBezTo>
                    <a:pt x="743" y="777"/>
                    <a:pt x="739" y="766"/>
                    <a:pt x="734" y="754"/>
                  </a:cubicBezTo>
                  <a:cubicBezTo>
                    <a:pt x="733" y="754"/>
                    <a:pt x="733" y="754"/>
                    <a:pt x="733" y="754"/>
                  </a:cubicBezTo>
                  <a:cubicBezTo>
                    <a:pt x="733" y="753"/>
                    <a:pt x="733" y="753"/>
                    <a:pt x="733" y="753"/>
                  </a:cubicBezTo>
                  <a:cubicBezTo>
                    <a:pt x="734" y="753"/>
                    <a:pt x="734" y="753"/>
                    <a:pt x="734" y="753"/>
                  </a:cubicBezTo>
                  <a:cubicBezTo>
                    <a:pt x="724" y="728"/>
                    <a:pt x="716" y="699"/>
                    <a:pt x="713" y="667"/>
                  </a:cubicBezTo>
                  <a:cubicBezTo>
                    <a:pt x="712" y="667"/>
                    <a:pt x="712" y="667"/>
                    <a:pt x="712" y="667"/>
                  </a:cubicBezTo>
                  <a:cubicBezTo>
                    <a:pt x="712" y="666"/>
                    <a:pt x="712" y="666"/>
                    <a:pt x="712" y="666"/>
                  </a:cubicBezTo>
                  <a:cubicBezTo>
                    <a:pt x="713" y="666"/>
                    <a:pt x="713" y="666"/>
                    <a:pt x="713" y="666"/>
                  </a:cubicBezTo>
                  <a:cubicBezTo>
                    <a:pt x="713" y="666"/>
                    <a:pt x="712" y="666"/>
                    <a:pt x="712" y="665"/>
                  </a:cubicBezTo>
                  <a:cubicBezTo>
                    <a:pt x="710" y="662"/>
                    <a:pt x="695" y="638"/>
                    <a:pt x="684" y="579"/>
                  </a:cubicBezTo>
                  <a:cubicBezTo>
                    <a:pt x="683" y="579"/>
                    <a:pt x="683" y="579"/>
                    <a:pt x="683" y="579"/>
                  </a:cubicBezTo>
                  <a:cubicBezTo>
                    <a:pt x="683" y="578"/>
                    <a:pt x="683" y="578"/>
                    <a:pt x="683" y="578"/>
                  </a:cubicBezTo>
                  <a:cubicBezTo>
                    <a:pt x="684" y="578"/>
                    <a:pt x="684" y="578"/>
                    <a:pt x="684" y="578"/>
                  </a:cubicBezTo>
                  <a:cubicBezTo>
                    <a:pt x="682" y="571"/>
                    <a:pt x="681" y="565"/>
                    <a:pt x="680" y="557"/>
                  </a:cubicBezTo>
                  <a:cubicBezTo>
                    <a:pt x="679" y="557"/>
                    <a:pt x="679" y="557"/>
                    <a:pt x="679" y="557"/>
                  </a:cubicBezTo>
                  <a:cubicBezTo>
                    <a:pt x="679" y="556"/>
                    <a:pt x="679" y="556"/>
                    <a:pt x="679" y="556"/>
                  </a:cubicBezTo>
                  <a:cubicBezTo>
                    <a:pt x="680" y="556"/>
                    <a:pt x="680" y="556"/>
                    <a:pt x="680" y="556"/>
                  </a:cubicBezTo>
                  <a:cubicBezTo>
                    <a:pt x="676" y="530"/>
                    <a:pt x="673" y="497"/>
                    <a:pt x="671" y="459"/>
                  </a:cubicBezTo>
                  <a:cubicBezTo>
                    <a:pt x="671" y="458"/>
                    <a:pt x="671" y="458"/>
                    <a:pt x="671" y="458"/>
                  </a:cubicBezTo>
                  <a:cubicBezTo>
                    <a:pt x="671" y="458"/>
                    <a:pt x="671" y="458"/>
                    <a:pt x="671" y="458"/>
                  </a:cubicBezTo>
                  <a:cubicBezTo>
                    <a:pt x="671" y="458"/>
                    <a:pt x="671" y="458"/>
                    <a:pt x="671" y="458"/>
                  </a:cubicBezTo>
                  <a:cubicBezTo>
                    <a:pt x="670" y="458"/>
                    <a:pt x="670" y="458"/>
                    <a:pt x="670" y="458"/>
                  </a:cubicBezTo>
                  <a:cubicBezTo>
                    <a:pt x="669" y="458"/>
                    <a:pt x="669" y="458"/>
                    <a:pt x="669" y="458"/>
                  </a:cubicBezTo>
                  <a:cubicBezTo>
                    <a:pt x="669" y="459"/>
                    <a:pt x="669" y="459"/>
                    <a:pt x="669" y="459"/>
                  </a:cubicBezTo>
                  <a:cubicBezTo>
                    <a:pt x="669" y="467"/>
                    <a:pt x="668" y="505"/>
                    <a:pt x="658" y="556"/>
                  </a:cubicBezTo>
                  <a:cubicBezTo>
                    <a:pt x="659" y="556"/>
                    <a:pt x="659" y="556"/>
                    <a:pt x="659" y="556"/>
                  </a:cubicBezTo>
                  <a:cubicBezTo>
                    <a:pt x="659" y="557"/>
                    <a:pt x="659" y="557"/>
                    <a:pt x="659" y="557"/>
                  </a:cubicBezTo>
                  <a:cubicBezTo>
                    <a:pt x="658" y="557"/>
                    <a:pt x="658" y="557"/>
                    <a:pt x="658" y="557"/>
                  </a:cubicBezTo>
                  <a:cubicBezTo>
                    <a:pt x="652" y="590"/>
                    <a:pt x="642" y="627"/>
                    <a:pt x="625" y="666"/>
                  </a:cubicBezTo>
                  <a:cubicBezTo>
                    <a:pt x="626" y="666"/>
                    <a:pt x="626" y="666"/>
                    <a:pt x="626" y="666"/>
                  </a:cubicBezTo>
                  <a:cubicBezTo>
                    <a:pt x="626" y="667"/>
                    <a:pt x="626" y="667"/>
                    <a:pt x="626" y="667"/>
                  </a:cubicBezTo>
                  <a:cubicBezTo>
                    <a:pt x="625" y="667"/>
                    <a:pt x="625" y="667"/>
                    <a:pt x="625" y="667"/>
                  </a:cubicBezTo>
                  <a:cubicBezTo>
                    <a:pt x="625" y="668"/>
                    <a:pt x="625" y="668"/>
                    <a:pt x="625" y="668"/>
                  </a:cubicBezTo>
                  <a:cubicBezTo>
                    <a:pt x="624" y="676"/>
                    <a:pt x="619" y="708"/>
                    <a:pt x="598" y="753"/>
                  </a:cubicBezTo>
                  <a:cubicBezTo>
                    <a:pt x="599" y="753"/>
                    <a:pt x="599" y="753"/>
                    <a:pt x="599" y="753"/>
                  </a:cubicBezTo>
                  <a:cubicBezTo>
                    <a:pt x="599" y="754"/>
                    <a:pt x="599" y="754"/>
                    <a:pt x="599" y="754"/>
                  </a:cubicBezTo>
                  <a:cubicBezTo>
                    <a:pt x="598" y="754"/>
                    <a:pt x="598" y="754"/>
                    <a:pt x="598" y="754"/>
                  </a:cubicBezTo>
                  <a:cubicBezTo>
                    <a:pt x="595" y="761"/>
                    <a:pt x="592" y="768"/>
                    <a:pt x="588" y="776"/>
                  </a:cubicBezTo>
                  <a:cubicBezTo>
                    <a:pt x="588" y="776"/>
                    <a:pt x="588" y="776"/>
                    <a:pt x="588" y="776"/>
                  </a:cubicBezTo>
                  <a:cubicBezTo>
                    <a:pt x="584" y="786"/>
                    <a:pt x="584" y="786"/>
                    <a:pt x="584" y="786"/>
                  </a:cubicBezTo>
                  <a:cubicBezTo>
                    <a:pt x="584" y="786"/>
                    <a:pt x="584" y="786"/>
                    <a:pt x="584" y="786"/>
                  </a:cubicBezTo>
                  <a:cubicBezTo>
                    <a:pt x="584" y="786"/>
                    <a:pt x="584" y="786"/>
                    <a:pt x="584" y="786"/>
                  </a:cubicBezTo>
                  <a:cubicBezTo>
                    <a:pt x="584" y="786"/>
                    <a:pt x="584" y="786"/>
                    <a:pt x="584" y="786"/>
                  </a:cubicBezTo>
                  <a:cubicBezTo>
                    <a:pt x="584" y="787"/>
                    <a:pt x="584" y="787"/>
                    <a:pt x="584" y="787"/>
                  </a:cubicBezTo>
                  <a:cubicBezTo>
                    <a:pt x="583" y="787"/>
                    <a:pt x="583" y="787"/>
                    <a:pt x="583" y="787"/>
                  </a:cubicBezTo>
                  <a:cubicBezTo>
                    <a:pt x="580" y="798"/>
                    <a:pt x="576" y="804"/>
                    <a:pt x="570" y="815"/>
                  </a:cubicBezTo>
                  <a:cubicBezTo>
                    <a:pt x="562" y="826"/>
                    <a:pt x="554" y="837"/>
                    <a:pt x="549" y="843"/>
                  </a:cubicBezTo>
                  <a:cubicBezTo>
                    <a:pt x="546" y="847"/>
                    <a:pt x="541" y="851"/>
                    <a:pt x="536" y="854"/>
                  </a:cubicBezTo>
                  <a:cubicBezTo>
                    <a:pt x="528" y="859"/>
                    <a:pt x="518" y="863"/>
                    <a:pt x="506" y="863"/>
                  </a:cubicBezTo>
                  <a:cubicBezTo>
                    <a:pt x="505" y="863"/>
                    <a:pt x="504" y="863"/>
                    <a:pt x="503" y="863"/>
                  </a:cubicBezTo>
                  <a:cubicBezTo>
                    <a:pt x="502" y="863"/>
                    <a:pt x="502" y="863"/>
                    <a:pt x="502" y="863"/>
                  </a:cubicBezTo>
                  <a:cubicBezTo>
                    <a:pt x="491" y="863"/>
                    <a:pt x="481" y="859"/>
                    <a:pt x="475" y="854"/>
                  </a:cubicBezTo>
                  <a:cubicBezTo>
                    <a:pt x="472" y="852"/>
                    <a:pt x="469" y="850"/>
                    <a:pt x="468" y="849"/>
                  </a:cubicBezTo>
                  <a:cubicBezTo>
                    <a:pt x="467" y="848"/>
                    <a:pt x="466" y="847"/>
                    <a:pt x="466" y="847"/>
                  </a:cubicBezTo>
                  <a:cubicBezTo>
                    <a:pt x="465" y="846"/>
                    <a:pt x="465" y="846"/>
                    <a:pt x="465" y="846"/>
                  </a:cubicBezTo>
                  <a:cubicBezTo>
                    <a:pt x="465" y="846"/>
                    <a:pt x="465" y="846"/>
                    <a:pt x="465" y="846"/>
                  </a:cubicBezTo>
                  <a:cubicBezTo>
                    <a:pt x="465" y="846"/>
                    <a:pt x="465" y="846"/>
                    <a:pt x="465" y="846"/>
                  </a:cubicBezTo>
                  <a:cubicBezTo>
                    <a:pt x="450" y="834"/>
                    <a:pt x="437" y="818"/>
                    <a:pt x="427" y="803"/>
                  </a:cubicBezTo>
                  <a:cubicBezTo>
                    <a:pt x="424" y="798"/>
                    <a:pt x="421" y="792"/>
                    <a:pt x="418" y="787"/>
                  </a:cubicBezTo>
                  <a:cubicBezTo>
                    <a:pt x="417" y="787"/>
                    <a:pt x="417" y="787"/>
                    <a:pt x="417" y="787"/>
                  </a:cubicBezTo>
                  <a:cubicBezTo>
                    <a:pt x="417" y="786"/>
                    <a:pt x="417" y="786"/>
                    <a:pt x="417" y="786"/>
                  </a:cubicBezTo>
                  <a:cubicBezTo>
                    <a:pt x="417" y="786"/>
                    <a:pt x="417" y="786"/>
                    <a:pt x="417" y="786"/>
                  </a:cubicBezTo>
                  <a:cubicBezTo>
                    <a:pt x="414" y="781"/>
                    <a:pt x="412" y="776"/>
                    <a:pt x="410" y="772"/>
                  </a:cubicBezTo>
                  <a:cubicBezTo>
                    <a:pt x="408" y="768"/>
                    <a:pt x="407" y="764"/>
                    <a:pt x="406" y="762"/>
                  </a:cubicBezTo>
                  <a:cubicBezTo>
                    <a:pt x="405" y="759"/>
                    <a:pt x="404" y="758"/>
                    <a:pt x="404" y="758"/>
                  </a:cubicBezTo>
                  <a:cubicBezTo>
                    <a:pt x="404" y="758"/>
                    <a:pt x="404" y="757"/>
                    <a:pt x="403" y="754"/>
                  </a:cubicBezTo>
                  <a:cubicBezTo>
                    <a:pt x="402" y="754"/>
                    <a:pt x="402" y="754"/>
                    <a:pt x="402" y="754"/>
                  </a:cubicBezTo>
                  <a:cubicBezTo>
                    <a:pt x="402" y="753"/>
                    <a:pt x="402" y="753"/>
                    <a:pt x="402" y="753"/>
                  </a:cubicBezTo>
                  <a:cubicBezTo>
                    <a:pt x="403" y="753"/>
                    <a:pt x="403" y="753"/>
                    <a:pt x="403" y="753"/>
                  </a:cubicBezTo>
                  <a:cubicBezTo>
                    <a:pt x="402" y="752"/>
                    <a:pt x="402" y="752"/>
                    <a:pt x="402" y="751"/>
                  </a:cubicBezTo>
                  <a:cubicBezTo>
                    <a:pt x="397" y="737"/>
                    <a:pt x="387" y="704"/>
                    <a:pt x="383" y="667"/>
                  </a:cubicBezTo>
                  <a:cubicBezTo>
                    <a:pt x="382" y="667"/>
                    <a:pt x="382" y="667"/>
                    <a:pt x="382" y="667"/>
                  </a:cubicBezTo>
                  <a:cubicBezTo>
                    <a:pt x="382" y="666"/>
                    <a:pt x="382" y="666"/>
                    <a:pt x="382" y="666"/>
                  </a:cubicBezTo>
                  <a:cubicBezTo>
                    <a:pt x="382" y="666"/>
                    <a:pt x="382" y="666"/>
                    <a:pt x="382" y="666"/>
                  </a:cubicBezTo>
                  <a:cubicBezTo>
                    <a:pt x="382" y="666"/>
                    <a:pt x="382" y="665"/>
                    <a:pt x="381" y="663"/>
                  </a:cubicBezTo>
                  <a:cubicBezTo>
                    <a:pt x="377" y="653"/>
                    <a:pt x="363" y="619"/>
                    <a:pt x="355" y="579"/>
                  </a:cubicBezTo>
                  <a:cubicBezTo>
                    <a:pt x="353" y="579"/>
                    <a:pt x="353" y="579"/>
                    <a:pt x="353" y="579"/>
                  </a:cubicBezTo>
                  <a:cubicBezTo>
                    <a:pt x="353" y="578"/>
                    <a:pt x="353" y="578"/>
                    <a:pt x="353" y="578"/>
                  </a:cubicBezTo>
                  <a:cubicBezTo>
                    <a:pt x="354" y="578"/>
                    <a:pt x="354" y="578"/>
                    <a:pt x="354" y="578"/>
                  </a:cubicBezTo>
                  <a:cubicBezTo>
                    <a:pt x="353" y="571"/>
                    <a:pt x="351" y="564"/>
                    <a:pt x="350" y="557"/>
                  </a:cubicBezTo>
                  <a:cubicBezTo>
                    <a:pt x="349" y="557"/>
                    <a:pt x="349" y="557"/>
                    <a:pt x="349" y="557"/>
                  </a:cubicBezTo>
                  <a:cubicBezTo>
                    <a:pt x="349" y="556"/>
                    <a:pt x="349" y="556"/>
                    <a:pt x="349" y="556"/>
                  </a:cubicBezTo>
                  <a:cubicBezTo>
                    <a:pt x="350" y="556"/>
                    <a:pt x="350" y="556"/>
                    <a:pt x="350" y="556"/>
                  </a:cubicBezTo>
                  <a:cubicBezTo>
                    <a:pt x="350" y="552"/>
                    <a:pt x="349" y="548"/>
                    <a:pt x="349" y="543"/>
                  </a:cubicBezTo>
                  <a:cubicBezTo>
                    <a:pt x="345" y="513"/>
                    <a:pt x="343" y="486"/>
                    <a:pt x="342" y="466"/>
                  </a:cubicBezTo>
                  <a:cubicBezTo>
                    <a:pt x="341" y="457"/>
                    <a:pt x="340" y="449"/>
                    <a:pt x="340" y="443"/>
                  </a:cubicBezTo>
                  <a:cubicBezTo>
                    <a:pt x="339" y="438"/>
                    <a:pt x="339" y="435"/>
                    <a:pt x="339" y="435"/>
                  </a:cubicBezTo>
                  <a:cubicBezTo>
                    <a:pt x="339" y="435"/>
                    <a:pt x="339" y="435"/>
                    <a:pt x="339" y="435"/>
                  </a:cubicBezTo>
                  <a:cubicBezTo>
                    <a:pt x="339" y="435"/>
                    <a:pt x="339" y="435"/>
                    <a:pt x="339" y="435"/>
                  </a:cubicBezTo>
                  <a:cubicBezTo>
                    <a:pt x="338" y="435"/>
                    <a:pt x="338" y="435"/>
                    <a:pt x="338" y="435"/>
                  </a:cubicBezTo>
                  <a:cubicBezTo>
                    <a:pt x="338" y="435"/>
                    <a:pt x="338" y="435"/>
                    <a:pt x="338" y="435"/>
                  </a:cubicBezTo>
                  <a:cubicBezTo>
                    <a:pt x="337" y="435"/>
                    <a:pt x="337" y="435"/>
                    <a:pt x="337" y="435"/>
                  </a:cubicBezTo>
                  <a:cubicBezTo>
                    <a:pt x="337" y="435"/>
                    <a:pt x="337" y="440"/>
                    <a:pt x="336" y="449"/>
                  </a:cubicBezTo>
                  <a:cubicBezTo>
                    <a:pt x="335" y="473"/>
                    <a:pt x="330" y="524"/>
                    <a:pt x="319" y="556"/>
                  </a:cubicBezTo>
                  <a:cubicBezTo>
                    <a:pt x="319" y="556"/>
                    <a:pt x="319" y="556"/>
                    <a:pt x="319" y="556"/>
                  </a:cubicBezTo>
                  <a:cubicBezTo>
                    <a:pt x="319" y="557"/>
                    <a:pt x="319" y="557"/>
                    <a:pt x="319" y="557"/>
                  </a:cubicBezTo>
                  <a:cubicBezTo>
                    <a:pt x="318" y="557"/>
                    <a:pt x="318" y="557"/>
                    <a:pt x="318" y="557"/>
                  </a:cubicBezTo>
                  <a:cubicBezTo>
                    <a:pt x="318" y="559"/>
                    <a:pt x="317" y="561"/>
                    <a:pt x="316" y="562"/>
                  </a:cubicBezTo>
                  <a:cubicBezTo>
                    <a:pt x="308" y="583"/>
                    <a:pt x="296" y="609"/>
                    <a:pt x="287" y="630"/>
                  </a:cubicBezTo>
                  <a:cubicBezTo>
                    <a:pt x="282" y="640"/>
                    <a:pt x="278" y="649"/>
                    <a:pt x="275" y="656"/>
                  </a:cubicBezTo>
                  <a:cubicBezTo>
                    <a:pt x="273" y="662"/>
                    <a:pt x="271" y="666"/>
                    <a:pt x="271" y="666"/>
                  </a:cubicBezTo>
                  <a:cubicBezTo>
                    <a:pt x="272" y="666"/>
                    <a:pt x="272" y="666"/>
                    <a:pt x="272" y="666"/>
                  </a:cubicBezTo>
                  <a:cubicBezTo>
                    <a:pt x="272" y="667"/>
                    <a:pt x="272" y="667"/>
                    <a:pt x="272" y="667"/>
                  </a:cubicBezTo>
                  <a:cubicBezTo>
                    <a:pt x="270" y="667"/>
                    <a:pt x="270" y="667"/>
                    <a:pt x="270" y="667"/>
                  </a:cubicBezTo>
                  <a:cubicBezTo>
                    <a:pt x="270" y="668"/>
                    <a:pt x="270" y="668"/>
                    <a:pt x="270" y="668"/>
                  </a:cubicBezTo>
                  <a:cubicBezTo>
                    <a:pt x="268" y="677"/>
                    <a:pt x="259" y="712"/>
                    <a:pt x="234" y="753"/>
                  </a:cubicBezTo>
                  <a:cubicBezTo>
                    <a:pt x="235" y="753"/>
                    <a:pt x="235" y="753"/>
                    <a:pt x="235" y="753"/>
                  </a:cubicBezTo>
                  <a:cubicBezTo>
                    <a:pt x="235" y="754"/>
                    <a:pt x="235" y="754"/>
                    <a:pt x="235" y="754"/>
                  </a:cubicBezTo>
                  <a:cubicBezTo>
                    <a:pt x="234" y="754"/>
                    <a:pt x="234" y="754"/>
                    <a:pt x="234" y="754"/>
                  </a:cubicBezTo>
                  <a:cubicBezTo>
                    <a:pt x="232" y="757"/>
                    <a:pt x="230" y="759"/>
                    <a:pt x="229" y="762"/>
                  </a:cubicBezTo>
                  <a:cubicBezTo>
                    <a:pt x="223" y="771"/>
                    <a:pt x="218" y="778"/>
                    <a:pt x="214" y="785"/>
                  </a:cubicBezTo>
                  <a:cubicBezTo>
                    <a:pt x="214" y="785"/>
                    <a:pt x="214" y="785"/>
                    <a:pt x="214" y="785"/>
                  </a:cubicBezTo>
                  <a:cubicBezTo>
                    <a:pt x="214" y="785"/>
                    <a:pt x="214" y="785"/>
                    <a:pt x="214" y="785"/>
                  </a:cubicBezTo>
                  <a:cubicBezTo>
                    <a:pt x="214" y="785"/>
                    <a:pt x="214" y="785"/>
                    <a:pt x="214" y="785"/>
                  </a:cubicBezTo>
                  <a:cubicBezTo>
                    <a:pt x="210" y="791"/>
                    <a:pt x="206" y="796"/>
                    <a:pt x="203" y="800"/>
                  </a:cubicBezTo>
                  <a:cubicBezTo>
                    <a:pt x="189" y="821"/>
                    <a:pt x="181" y="828"/>
                    <a:pt x="170" y="836"/>
                  </a:cubicBezTo>
                  <a:cubicBezTo>
                    <a:pt x="162" y="841"/>
                    <a:pt x="150" y="849"/>
                    <a:pt x="136" y="854"/>
                  </a:cubicBezTo>
                  <a:cubicBezTo>
                    <a:pt x="127" y="857"/>
                    <a:pt x="117" y="860"/>
                    <a:pt x="108" y="860"/>
                  </a:cubicBezTo>
                  <a:cubicBezTo>
                    <a:pt x="104" y="860"/>
                    <a:pt x="100" y="859"/>
                    <a:pt x="96" y="858"/>
                  </a:cubicBezTo>
                  <a:cubicBezTo>
                    <a:pt x="83" y="855"/>
                    <a:pt x="72" y="844"/>
                    <a:pt x="64" y="830"/>
                  </a:cubicBezTo>
                  <a:cubicBezTo>
                    <a:pt x="55" y="816"/>
                    <a:pt x="50" y="799"/>
                    <a:pt x="47" y="785"/>
                  </a:cubicBezTo>
                  <a:cubicBezTo>
                    <a:pt x="46" y="785"/>
                    <a:pt x="46" y="785"/>
                    <a:pt x="46" y="785"/>
                  </a:cubicBezTo>
                  <a:cubicBezTo>
                    <a:pt x="46" y="785"/>
                    <a:pt x="46" y="785"/>
                    <a:pt x="46" y="785"/>
                  </a:cubicBezTo>
                  <a:cubicBezTo>
                    <a:pt x="47" y="785"/>
                    <a:pt x="47" y="785"/>
                    <a:pt x="47" y="785"/>
                  </a:cubicBezTo>
                  <a:cubicBezTo>
                    <a:pt x="47" y="784"/>
                    <a:pt x="47" y="784"/>
                    <a:pt x="47" y="784"/>
                  </a:cubicBezTo>
                  <a:cubicBezTo>
                    <a:pt x="46" y="784"/>
                    <a:pt x="46" y="784"/>
                    <a:pt x="46" y="784"/>
                  </a:cubicBezTo>
                  <a:cubicBezTo>
                    <a:pt x="46" y="784"/>
                    <a:pt x="42" y="780"/>
                    <a:pt x="38" y="764"/>
                  </a:cubicBezTo>
                  <a:cubicBezTo>
                    <a:pt x="38" y="761"/>
                    <a:pt x="37" y="758"/>
                    <a:pt x="36" y="754"/>
                  </a:cubicBezTo>
                  <a:cubicBezTo>
                    <a:pt x="36" y="754"/>
                    <a:pt x="36" y="754"/>
                    <a:pt x="36" y="754"/>
                  </a:cubicBezTo>
                  <a:cubicBezTo>
                    <a:pt x="36" y="753"/>
                    <a:pt x="36" y="753"/>
                    <a:pt x="36" y="753"/>
                  </a:cubicBezTo>
                  <a:cubicBezTo>
                    <a:pt x="36" y="753"/>
                    <a:pt x="36" y="753"/>
                    <a:pt x="36" y="753"/>
                  </a:cubicBezTo>
                  <a:cubicBezTo>
                    <a:pt x="33" y="736"/>
                    <a:pt x="30" y="709"/>
                    <a:pt x="28" y="667"/>
                  </a:cubicBezTo>
                  <a:cubicBezTo>
                    <a:pt x="27" y="667"/>
                    <a:pt x="27" y="667"/>
                    <a:pt x="27" y="667"/>
                  </a:cubicBezTo>
                  <a:cubicBezTo>
                    <a:pt x="27" y="666"/>
                    <a:pt x="27" y="666"/>
                    <a:pt x="27" y="666"/>
                  </a:cubicBezTo>
                  <a:cubicBezTo>
                    <a:pt x="28" y="666"/>
                    <a:pt x="28" y="666"/>
                    <a:pt x="28" y="666"/>
                  </a:cubicBezTo>
                  <a:cubicBezTo>
                    <a:pt x="28" y="665"/>
                    <a:pt x="27" y="663"/>
                    <a:pt x="26" y="659"/>
                  </a:cubicBezTo>
                  <a:cubicBezTo>
                    <a:pt x="23" y="646"/>
                    <a:pt x="16" y="616"/>
                    <a:pt x="11" y="579"/>
                  </a:cubicBezTo>
                  <a:cubicBezTo>
                    <a:pt x="10" y="579"/>
                    <a:pt x="10" y="579"/>
                    <a:pt x="10" y="579"/>
                  </a:cubicBezTo>
                  <a:cubicBezTo>
                    <a:pt x="10" y="578"/>
                    <a:pt x="10" y="578"/>
                    <a:pt x="10" y="578"/>
                  </a:cubicBezTo>
                  <a:cubicBezTo>
                    <a:pt x="10" y="578"/>
                    <a:pt x="10" y="578"/>
                    <a:pt x="10" y="578"/>
                  </a:cubicBezTo>
                  <a:cubicBezTo>
                    <a:pt x="10" y="577"/>
                    <a:pt x="10" y="576"/>
                    <a:pt x="10" y="574"/>
                  </a:cubicBezTo>
                  <a:cubicBezTo>
                    <a:pt x="10" y="574"/>
                    <a:pt x="10" y="574"/>
                    <a:pt x="10" y="574"/>
                  </a:cubicBezTo>
                  <a:cubicBezTo>
                    <a:pt x="9" y="557"/>
                    <a:pt x="9" y="557"/>
                    <a:pt x="9" y="557"/>
                  </a:cubicBezTo>
                  <a:cubicBezTo>
                    <a:pt x="8" y="557"/>
                    <a:pt x="8" y="557"/>
                    <a:pt x="8" y="557"/>
                  </a:cubicBezTo>
                  <a:cubicBezTo>
                    <a:pt x="8" y="556"/>
                    <a:pt x="8" y="556"/>
                    <a:pt x="8" y="556"/>
                  </a:cubicBezTo>
                  <a:cubicBezTo>
                    <a:pt x="9" y="556"/>
                    <a:pt x="9" y="556"/>
                    <a:pt x="9" y="556"/>
                  </a:cubicBezTo>
                  <a:cubicBezTo>
                    <a:pt x="8" y="551"/>
                    <a:pt x="8" y="551"/>
                    <a:pt x="8" y="551"/>
                  </a:cubicBezTo>
                  <a:cubicBezTo>
                    <a:pt x="8" y="551"/>
                    <a:pt x="8" y="551"/>
                    <a:pt x="8" y="551"/>
                  </a:cubicBezTo>
                  <a:cubicBezTo>
                    <a:pt x="8" y="551"/>
                    <a:pt x="8" y="548"/>
                    <a:pt x="7" y="543"/>
                  </a:cubicBezTo>
                  <a:cubicBezTo>
                    <a:pt x="5" y="526"/>
                    <a:pt x="1" y="488"/>
                    <a:pt x="1" y="452"/>
                  </a:cubicBezTo>
                  <a:cubicBezTo>
                    <a:pt x="1" y="445"/>
                    <a:pt x="1" y="439"/>
                    <a:pt x="1" y="432"/>
                  </a:cubicBezTo>
                  <a:cubicBezTo>
                    <a:pt x="1" y="432"/>
                    <a:pt x="1" y="432"/>
                    <a:pt x="1" y="432"/>
                  </a:cubicBezTo>
                  <a:cubicBezTo>
                    <a:pt x="2" y="430"/>
                    <a:pt x="2" y="428"/>
                    <a:pt x="2" y="426"/>
                  </a:cubicBezTo>
                  <a:cubicBezTo>
                    <a:pt x="1" y="426"/>
                    <a:pt x="1" y="426"/>
                    <a:pt x="1" y="426"/>
                  </a:cubicBezTo>
                  <a:cubicBezTo>
                    <a:pt x="1" y="425"/>
                    <a:pt x="1" y="425"/>
                    <a:pt x="1" y="425"/>
                  </a:cubicBezTo>
                  <a:cubicBezTo>
                    <a:pt x="2" y="425"/>
                    <a:pt x="2" y="425"/>
                    <a:pt x="2" y="425"/>
                  </a:cubicBezTo>
                  <a:cubicBezTo>
                    <a:pt x="4" y="400"/>
                    <a:pt x="9" y="375"/>
                    <a:pt x="14" y="355"/>
                  </a:cubicBezTo>
                  <a:cubicBezTo>
                    <a:pt x="17" y="345"/>
                    <a:pt x="19" y="336"/>
                    <a:pt x="21" y="329"/>
                  </a:cubicBezTo>
                  <a:cubicBezTo>
                    <a:pt x="22" y="327"/>
                    <a:pt x="23" y="325"/>
                    <a:pt x="23" y="324"/>
                  </a:cubicBezTo>
                  <a:cubicBezTo>
                    <a:pt x="22" y="324"/>
                    <a:pt x="22" y="324"/>
                    <a:pt x="22" y="324"/>
                  </a:cubicBezTo>
                  <a:cubicBezTo>
                    <a:pt x="22" y="323"/>
                    <a:pt x="22" y="323"/>
                    <a:pt x="22" y="323"/>
                  </a:cubicBezTo>
                  <a:cubicBezTo>
                    <a:pt x="23" y="323"/>
                    <a:pt x="23" y="323"/>
                    <a:pt x="23" y="323"/>
                  </a:cubicBezTo>
                  <a:cubicBezTo>
                    <a:pt x="24" y="321"/>
                    <a:pt x="24" y="319"/>
                    <a:pt x="25" y="319"/>
                  </a:cubicBezTo>
                  <a:cubicBezTo>
                    <a:pt x="25" y="319"/>
                    <a:pt x="25" y="319"/>
                    <a:pt x="25" y="319"/>
                  </a:cubicBezTo>
                  <a:cubicBezTo>
                    <a:pt x="26" y="316"/>
                    <a:pt x="27" y="313"/>
                    <a:pt x="28" y="310"/>
                  </a:cubicBezTo>
                  <a:cubicBezTo>
                    <a:pt x="27" y="310"/>
                    <a:pt x="27" y="310"/>
                    <a:pt x="27" y="310"/>
                  </a:cubicBezTo>
                  <a:cubicBezTo>
                    <a:pt x="27" y="309"/>
                    <a:pt x="27" y="309"/>
                    <a:pt x="27" y="309"/>
                  </a:cubicBezTo>
                  <a:cubicBezTo>
                    <a:pt x="29" y="309"/>
                    <a:pt x="29" y="309"/>
                    <a:pt x="29" y="309"/>
                  </a:cubicBezTo>
                  <a:cubicBezTo>
                    <a:pt x="30" y="306"/>
                    <a:pt x="31" y="303"/>
                    <a:pt x="32" y="300"/>
                  </a:cubicBezTo>
                  <a:cubicBezTo>
                    <a:pt x="51" y="258"/>
                    <a:pt x="64" y="235"/>
                    <a:pt x="72" y="223"/>
                  </a:cubicBezTo>
                  <a:cubicBezTo>
                    <a:pt x="76" y="217"/>
                    <a:pt x="79" y="213"/>
                    <a:pt x="81" y="211"/>
                  </a:cubicBezTo>
                  <a:cubicBezTo>
                    <a:pt x="82" y="210"/>
                    <a:pt x="83" y="210"/>
                    <a:pt x="83" y="209"/>
                  </a:cubicBezTo>
                  <a:cubicBezTo>
                    <a:pt x="84" y="209"/>
                    <a:pt x="84" y="209"/>
                    <a:pt x="84" y="209"/>
                  </a:cubicBezTo>
                  <a:cubicBezTo>
                    <a:pt x="84" y="209"/>
                    <a:pt x="84" y="209"/>
                    <a:pt x="84" y="209"/>
                  </a:cubicBezTo>
                  <a:cubicBezTo>
                    <a:pt x="84" y="209"/>
                    <a:pt x="84" y="209"/>
                    <a:pt x="84" y="209"/>
                  </a:cubicBezTo>
                  <a:cubicBezTo>
                    <a:pt x="84" y="209"/>
                    <a:pt x="84" y="209"/>
                    <a:pt x="84" y="209"/>
                  </a:cubicBezTo>
                  <a:cubicBezTo>
                    <a:pt x="84" y="209"/>
                    <a:pt x="84" y="209"/>
                    <a:pt x="84" y="209"/>
                  </a:cubicBezTo>
                  <a:cubicBezTo>
                    <a:pt x="83" y="209"/>
                    <a:pt x="83" y="209"/>
                    <a:pt x="83" y="209"/>
                  </a:cubicBezTo>
                  <a:cubicBezTo>
                    <a:pt x="83" y="208"/>
                    <a:pt x="83" y="208"/>
                    <a:pt x="83" y="208"/>
                  </a:cubicBezTo>
                  <a:cubicBezTo>
                    <a:pt x="85" y="208"/>
                    <a:pt x="85" y="208"/>
                    <a:pt x="85" y="208"/>
                  </a:cubicBezTo>
                  <a:cubicBezTo>
                    <a:pt x="85" y="207"/>
                    <a:pt x="85" y="206"/>
                    <a:pt x="86" y="205"/>
                  </a:cubicBezTo>
                  <a:cubicBezTo>
                    <a:pt x="90" y="194"/>
                    <a:pt x="106" y="154"/>
                    <a:pt x="137" y="112"/>
                  </a:cubicBezTo>
                  <a:cubicBezTo>
                    <a:pt x="136" y="112"/>
                    <a:pt x="136" y="112"/>
                    <a:pt x="136" y="112"/>
                  </a:cubicBezTo>
                  <a:cubicBezTo>
                    <a:pt x="136" y="111"/>
                    <a:pt x="136" y="111"/>
                    <a:pt x="136" y="111"/>
                  </a:cubicBezTo>
                  <a:cubicBezTo>
                    <a:pt x="137" y="111"/>
                    <a:pt x="137" y="111"/>
                    <a:pt x="137" y="111"/>
                  </a:cubicBezTo>
                  <a:cubicBezTo>
                    <a:pt x="145" y="101"/>
                    <a:pt x="153" y="91"/>
                    <a:pt x="162" y="81"/>
                  </a:cubicBezTo>
                  <a:cubicBezTo>
                    <a:pt x="162" y="81"/>
                    <a:pt x="162" y="81"/>
                    <a:pt x="162" y="81"/>
                  </a:cubicBezTo>
                  <a:cubicBezTo>
                    <a:pt x="162" y="80"/>
                    <a:pt x="162" y="80"/>
                    <a:pt x="162" y="80"/>
                  </a:cubicBezTo>
                  <a:cubicBezTo>
                    <a:pt x="163" y="80"/>
                    <a:pt x="163" y="80"/>
                    <a:pt x="163" y="80"/>
                  </a:cubicBezTo>
                  <a:cubicBezTo>
                    <a:pt x="164" y="80"/>
                    <a:pt x="165" y="79"/>
                    <a:pt x="165" y="78"/>
                  </a:cubicBezTo>
                  <a:moveTo>
                    <a:pt x="347" y="0"/>
                  </a:moveTo>
                  <a:cubicBezTo>
                    <a:pt x="315" y="0"/>
                    <a:pt x="315" y="0"/>
                    <a:pt x="315" y="0"/>
                  </a:cubicBezTo>
                  <a:cubicBezTo>
                    <a:pt x="304" y="1"/>
                    <a:pt x="296" y="2"/>
                    <a:pt x="291" y="3"/>
                  </a:cubicBezTo>
                  <a:cubicBezTo>
                    <a:pt x="285" y="4"/>
                    <a:pt x="270" y="10"/>
                    <a:pt x="255" y="16"/>
                  </a:cubicBezTo>
                  <a:cubicBezTo>
                    <a:pt x="239" y="23"/>
                    <a:pt x="223" y="31"/>
                    <a:pt x="214" y="36"/>
                  </a:cubicBezTo>
                  <a:cubicBezTo>
                    <a:pt x="204" y="43"/>
                    <a:pt x="190" y="54"/>
                    <a:pt x="179" y="63"/>
                  </a:cubicBezTo>
                  <a:cubicBezTo>
                    <a:pt x="177" y="65"/>
                    <a:pt x="174" y="68"/>
                    <a:pt x="172" y="69"/>
                  </a:cubicBezTo>
                  <a:cubicBezTo>
                    <a:pt x="167" y="74"/>
                    <a:pt x="164" y="76"/>
                    <a:pt x="164" y="76"/>
                  </a:cubicBezTo>
                  <a:cubicBezTo>
                    <a:pt x="164" y="76"/>
                    <a:pt x="164" y="76"/>
                    <a:pt x="164" y="76"/>
                  </a:cubicBezTo>
                  <a:cubicBezTo>
                    <a:pt x="164" y="76"/>
                    <a:pt x="164" y="76"/>
                    <a:pt x="164" y="76"/>
                  </a:cubicBezTo>
                  <a:cubicBezTo>
                    <a:pt x="108" y="134"/>
                    <a:pt x="85" y="202"/>
                    <a:pt x="83" y="207"/>
                  </a:cubicBezTo>
                  <a:cubicBezTo>
                    <a:pt x="81" y="208"/>
                    <a:pt x="78" y="211"/>
                    <a:pt x="70" y="222"/>
                  </a:cubicBezTo>
                  <a:cubicBezTo>
                    <a:pt x="62" y="234"/>
                    <a:pt x="49" y="257"/>
                    <a:pt x="30" y="299"/>
                  </a:cubicBezTo>
                  <a:cubicBezTo>
                    <a:pt x="28" y="306"/>
                    <a:pt x="25" y="312"/>
                    <a:pt x="23" y="318"/>
                  </a:cubicBezTo>
                  <a:cubicBezTo>
                    <a:pt x="23" y="318"/>
                    <a:pt x="23" y="318"/>
                    <a:pt x="23" y="318"/>
                  </a:cubicBezTo>
                  <a:cubicBezTo>
                    <a:pt x="23" y="318"/>
                    <a:pt x="3" y="377"/>
                    <a:pt x="0" y="430"/>
                  </a:cubicBezTo>
                  <a:cubicBezTo>
                    <a:pt x="0" y="476"/>
                    <a:pt x="0" y="476"/>
                    <a:pt x="0" y="476"/>
                  </a:cubicBezTo>
                  <a:cubicBezTo>
                    <a:pt x="1" y="516"/>
                    <a:pt x="6" y="551"/>
                    <a:pt x="6" y="551"/>
                  </a:cubicBezTo>
                  <a:cubicBezTo>
                    <a:pt x="6" y="551"/>
                    <a:pt x="6" y="551"/>
                    <a:pt x="6" y="551"/>
                  </a:cubicBezTo>
                  <a:cubicBezTo>
                    <a:pt x="8" y="575"/>
                    <a:pt x="8" y="575"/>
                    <a:pt x="8" y="575"/>
                  </a:cubicBezTo>
                  <a:cubicBezTo>
                    <a:pt x="8" y="575"/>
                    <a:pt x="8" y="575"/>
                    <a:pt x="8" y="575"/>
                  </a:cubicBezTo>
                  <a:cubicBezTo>
                    <a:pt x="15" y="626"/>
                    <a:pt x="25" y="664"/>
                    <a:pt x="26" y="667"/>
                  </a:cubicBezTo>
                  <a:cubicBezTo>
                    <a:pt x="29" y="724"/>
                    <a:pt x="33" y="753"/>
                    <a:pt x="38" y="769"/>
                  </a:cubicBezTo>
                  <a:cubicBezTo>
                    <a:pt x="41" y="782"/>
                    <a:pt x="44" y="785"/>
                    <a:pt x="45" y="786"/>
                  </a:cubicBezTo>
                  <a:cubicBezTo>
                    <a:pt x="48" y="800"/>
                    <a:pt x="54" y="817"/>
                    <a:pt x="62" y="831"/>
                  </a:cubicBezTo>
                  <a:cubicBezTo>
                    <a:pt x="71" y="845"/>
                    <a:pt x="82" y="857"/>
                    <a:pt x="96" y="860"/>
                  </a:cubicBezTo>
                  <a:cubicBezTo>
                    <a:pt x="100" y="861"/>
                    <a:pt x="104" y="862"/>
                    <a:pt x="108" y="862"/>
                  </a:cubicBezTo>
                  <a:cubicBezTo>
                    <a:pt x="118" y="862"/>
                    <a:pt x="128" y="859"/>
                    <a:pt x="137" y="855"/>
                  </a:cubicBezTo>
                  <a:cubicBezTo>
                    <a:pt x="151" y="850"/>
                    <a:pt x="163" y="843"/>
                    <a:pt x="171" y="837"/>
                  </a:cubicBezTo>
                  <a:cubicBezTo>
                    <a:pt x="182" y="830"/>
                    <a:pt x="190" y="822"/>
                    <a:pt x="205" y="802"/>
                  </a:cubicBezTo>
                  <a:cubicBezTo>
                    <a:pt x="212" y="792"/>
                    <a:pt x="220" y="780"/>
                    <a:pt x="230" y="763"/>
                  </a:cubicBezTo>
                  <a:cubicBezTo>
                    <a:pt x="263" y="713"/>
                    <a:pt x="272" y="669"/>
                    <a:pt x="273" y="667"/>
                  </a:cubicBezTo>
                  <a:cubicBezTo>
                    <a:pt x="274" y="664"/>
                    <a:pt x="301" y="604"/>
                    <a:pt x="318" y="563"/>
                  </a:cubicBezTo>
                  <a:cubicBezTo>
                    <a:pt x="327" y="542"/>
                    <a:pt x="332" y="510"/>
                    <a:pt x="335" y="483"/>
                  </a:cubicBezTo>
                  <a:cubicBezTo>
                    <a:pt x="337" y="470"/>
                    <a:pt x="338" y="459"/>
                    <a:pt x="338" y="450"/>
                  </a:cubicBezTo>
                  <a:cubicBezTo>
                    <a:pt x="340" y="469"/>
                    <a:pt x="342" y="504"/>
                    <a:pt x="347" y="544"/>
                  </a:cubicBezTo>
                  <a:cubicBezTo>
                    <a:pt x="353" y="602"/>
                    <a:pt x="379" y="663"/>
                    <a:pt x="381" y="667"/>
                  </a:cubicBezTo>
                  <a:cubicBezTo>
                    <a:pt x="386" y="716"/>
                    <a:pt x="402" y="757"/>
                    <a:pt x="402" y="759"/>
                  </a:cubicBezTo>
                  <a:cubicBezTo>
                    <a:pt x="402" y="759"/>
                    <a:pt x="402" y="759"/>
                    <a:pt x="402" y="759"/>
                  </a:cubicBezTo>
                  <a:cubicBezTo>
                    <a:pt x="402" y="759"/>
                    <a:pt x="410" y="780"/>
                    <a:pt x="426" y="805"/>
                  </a:cubicBezTo>
                  <a:cubicBezTo>
                    <a:pt x="435" y="819"/>
                    <a:pt x="448" y="835"/>
                    <a:pt x="464" y="848"/>
                  </a:cubicBezTo>
                  <a:cubicBezTo>
                    <a:pt x="465" y="849"/>
                    <a:pt x="479" y="865"/>
                    <a:pt x="502" y="865"/>
                  </a:cubicBezTo>
                  <a:cubicBezTo>
                    <a:pt x="503" y="865"/>
                    <a:pt x="503" y="865"/>
                    <a:pt x="503" y="865"/>
                  </a:cubicBezTo>
                  <a:cubicBezTo>
                    <a:pt x="504" y="865"/>
                    <a:pt x="505" y="865"/>
                    <a:pt x="506" y="865"/>
                  </a:cubicBezTo>
                  <a:cubicBezTo>
                    <a:pt x="519" y="865"/>
                    <a:pt x="529" y="861"/>
                    <a:pt x="537" y="856"/>
                  </a:cubicBezTo>
                  <a:cubicBezTo>
                    <a:pt x="542" y="853"/>
                    <a:pt x="547" y="848"/>
                    <a:pt x="551" y="844"/>
                  </a:cubicBezTo>
                  <a:cubicBezTo>
                    <a:pt x="556" y="838"/>
                    <a:pt x="564" y="828"/>
                    <a:pt x="571" y="816"/>
                  </a:cubicBezTo>
                  <a:cubicBezTo>
                    <a:pt x="578" y="805"/>
                    <a:pt x="583" y="798"/>
                    <a:pt x="586" y="786"/>
                  </a:cubicBezTo>
                  <a:cubicBezTo>
                    <a:pt x="586" y="786"/>
                    <a:pt x="586" y="786"/>
                    <a:pt x="586" y="786"/>
                  </a:cubicBezTo>
                  <a:cubicBezTo>
                    <a:pt x="590" y="776"/>
                    <a:pt x="590" y="776"/>
                    <a:pt x="590" y="776"/>
                  </a:cubicBezTo>
                  <a:cubicBezTo>
                    <a:pt x="622" y="713"/>
                    <a:pt x="627" y="669"/>
                    <a:pt x="627" y="667"/>
                  </a:cubicBezTo>
                  <a:cubicBezTo>
                    <a:pt x="659" y="590"/>
                    <a:pt x="668" y="517"/>
                    <a:pt x="670" y="481"/>
                  </a:cubicBezTo>
                  <a:cubicBezTo>
                    <a:pt x="679" y="617"/>
                    <a:pt x="708" y="663"/>
                    <a:pt x="711" y="667"/>
                  </a:cubicBezTo>
                  <a:cubicBezTo>
                    <a:pt x="716" y="730"/>
                    <a:pt x="742" y="783"/>
                    <a:pt x="762" y="814"/>
                  </a:cubicBezTo>
                  <a:cubicBezTo>
                    <a:pt x="763" y="817"/>
                    <a:pt x="765" y="819"/>
                    <a:pt x="767" y="822"/>
                  </a:cubicBezTo>
                  <a:cubicBezTo>
                    <a:pt x="785" y="848"/>
                    <a:pt x="803" y="862"/>
                    <a:pt x="829" y="867"/>
                  </a:cubicBezTo>
                  <a:cubicBezTo>
                    <a:pt x="840" y="869"/>
                    <a:pt x="847" y="871"/>
                    <a:pt x="854" y="871"/>
                  </a:cubicBezTo>
                  <a:cubicBezTo>
                    <a:pt x="860" y="871"/>
                    <a:pt x="865" y="870"/>
                    <a:pt x="872" y="867"/>
                  </a:cubicBezTo>
                  <a:cubicBezTo>
                    <a:pt x="879" y="864"/>
                    <a:pt x="887" y="859"/>
                    <a:pt x="899" y="852"/>
                  </a:cubicBezTo>
                  <a:cubicBezTo>
                    <a:pt x="921" y="839"/>
                    <a:pt x="934" y="825"/>
                    <a:pt x="945" y="809"/>
                  </a:cubicBezTo>
                  <a:cubicBezTo>
                    <a:pt x="957" y="794"/>
                    <a:pt x="967" y="776"/>
                    <a:pt x="982" y="752"/>
                  </a:cubicBezTo>
                  <a:cubicBezTo>
                    <a:pt x="1020" y="689"/>
                    <a:pt x="1052" y="598"/>
                    <a:pt x="1052" y="598"/>
                  </a:cubicBezTo>
                  <a:cubicBezTo>
                    <a:pt x="1052" y="598"/>
                    <a:pt x="1052" y="598"/>
                    <a:pt x="1052" y="598"/>
                  </a:cubicBezTo>
                  <a:cubicBezTo>
                    <a:pt x="1075" y="545"/>
                    <a:pt x="1083" y="480"/>
                    <a:pt x="1086" y="456"/>
                  </a:cubicBezTo>
                  <a:cubicBezTo>
                    <a:pt x="1090" y="487"/>
                    <a:pt x="1104" y="589"/>
                    <a:pt x="1132" y="655"/>
                  </a:cubicBezTo>
                  <a:cubicBezTo>
                    <a:pt x="1156" y="712"/>
                    <a:pt x="1179" y="748"/>
                    <a:pt x="1228" y="798"/>
                  </a:cubicBezTo>
                  <a:cubicBezTo>
                    <a:pt x="1235" y="804"/>
                    <a:pt x="1241" y="811"/>
                    <a:pt x="1249" y="818"/>
                  </a:cubicBezTo>
                  <a:cubicBezTo>
                    <a:pt x="1289" y="856"/>
                    <a:pt x="1321" y="869"/>
                    <a:pt x="1345" y="872"/>
                  </a:cubicBezTo>
                  <a:cubicBezTo>
                    <a:pt x="1366" y="872"/>
                    <a:pt x="1366" y="872"/>
                    <a:pt x="1366" y="872"/>
                  </a:cubicBezTo>
                  <a:cubicBezTo>
                    <a:pt x="1371" y="871"/>
                    <a:pt x="1377" y="870"/>
                    <a:pt x="1382" y="869"/>
                  </a:cubicBezTo>
                  <a:cubicBezTo>
                    <a:pt x="1396" y="866"/>
                    <a:pt x="1408" y="850"/>
                    <a:pt x="1416" y="836"/>
                  </a:cubicBezTo>
                  <a:cubicBezTo>
                    <a:pt x="1425" y="822"/>
                    <a:pt x="1430" y="808"/>
                    <a:pt x="1430" y="807"/>
                  </a:cubicBezTo>
                  <a:cubicBezTo>
                    <a:pt x="1430" y="807"/>
                    <a:pt x="1430" y="807"/>
                    <a:pt x="1430" y="807"/>
                  </a:cubicBezTo>
                  <a:cubicBezTo>
                    <a:pt x="1430" y="807"/>
                    <a:pt x="1457" y="750"/>
                    <a:pt x="1479" y="614"/>
                  </a:cubicBezTo>
                  <a:cubicBezTo>
                    <a:pt x="1487" y="564"/>
                    <a:pt x="1492" y="527"/>
                    <a:pt x="1494" y="496"/>
                  </a:cubicBezTo>
                  <a:cubicBezTo>
                    <a:pt x="1494" y="456"/>
                    <a:pt x="1494" y="456"/>
                    <a:pt x="1494" y="456"/>
                  </a:cubicBezTo>
                  <a:cubicBezTo>
                    <a:pt x="1492" y="426"/>
                    <a:pt x="1486" y="399"/>
                    <a:pt x="1474" y="366"/>
                  </a:cubicBezTo>
                  <a:cubicBezTo>
                    <a:pt x="1448" y="293"/>
                    <a:pt x="1362" y="221"/>
                    <a:pt x="1347" y="209"/>
                  </a:cubicBezTo>
                  <a:cubicBezTo>
                    <a:pt x="1409" y="209"/>
                    <a:pt x="1409" y="209"/>
                    <a:pt x="1409" y="209"/>
                  </a:cubicBezTo>
                  <a:cubicBezTo>
                    <a:pt x="1407" y="208"/>
                    <a:pt x="1407" y="208"/>
                    <a:pt x="1407" y="208"/>
                  </a:cubicBezTo>
                  <a:cubicBezTo>
                    <a:pt x="1383" y="178"/>
                    <a:pt x="1351" y="155"/>
                    <a:pt x="1327" y="138"/>
                  </a:cubicBezTo>
                  <a:cubicBezTo>
                    <a:pt x="1325" y="137"/>
                    <a:pt x="1323" y="136"/>
                    <a:pt x="1322" y="135"/>
                  </a:cubicBezTo>
                  <a:cubicBezTo>
                    <a:pt x="1320" y="134"/>
                    <a:pt x="1319" y="133"/>
                    <a:pt x="1318" y="132"/>
                  </a:cubicBezTo>
                  <a:cubicBezTo>
                    <a:pt x="1303" y="122"/>
                    <a:pt x="1293" y="117"/>
                    <a:pt x="1293" y="117"/>
                  </a:cubicBezTo>
                  <a:cubicBezTo>
                    <a:pt x="1284" y="112"/>
                    <a:pt x="1275" y="107"/>
                    <a:pt x="1267" y="102"/>
                  </a:cubicBezTo>
                  <a:cubicBezTo>
                    <a:pt x="1256" y="97"/>
                    <a:pt x="1246" y="91"/>
                    <a:pt x="1236" y="87"/>
                  </a:cubicBezTo>
                  <a:cubicBezTo>
                    <a:pt x="1233" y="85"/>
                    <a:pt x="1229" y="83"/>
                    <a:pt x="1225" y="81"/>
                  </a:cubicBezTo>
                  <a:cubicBezTo>
                    <a:pt x="1222" y="80"/>
                    <a:pt x="1218" y="78"/>
                    <a:pt x="1215" y="76"/>
                  </a:cubicBezTo>
                  <a:cubicBezTo>
                    <a:pt x="1211" y="74"/>
                    <a:pt x="1207" y="73"/>
                    <a:pt x="1204" y="71"/>
                  </a:cubicBezTo>
                  <a:cubicBezTo>
                    <a:pt x="1130" y="38"/>
                    <a:pt x="1083" y="29"/>
                    <a:pt x="1030" y="17"/>
                  </a:cubicBezTo>
                  <a:cubicBezTo>
                    <a:pt x="972" y="5"/>
                    <a:pt x="918" y="4"/>
                    <a:pt x="900" y="4"/>
                  </a:cubicBezTo>
                  <a:cubicBezTo>
                    <a:pt x="897" y="4"/>
                    <a:pt x="895" y="4"/>
                    <a:pt x="894" y="4"/>
                  </a:cubicBezTo>
                  <a:cubicBezTo>
                    <a:pt x="890" y="4"/>
                    <a:pt x="885" y="3"/>
                    <a:pt x="881" y="3"/>
                  </a:cubicBezTo>
                  <a:cubicBezTo>
                    <a:pt x="848" y="3"/>
                    <a:pt x="819" y="11"/>
                    <a:pt x="794" y="22"/>
                  </a:cubicBezTo>
                  <a:cubicBezTo>
                    <a:pt x="774" y="31"/>
                    <a:pt x="757" y="42"/>
                    <a:pt x="742" y="53"/>
                  </a:cubicBezTo>
                  <a:cubicBezTo>
                    <a:pt x="718" y="71"/>
                    <a:pt x="701" y="89"/>
                    <a:pt x="692" y="100"/>
                  </a:cubicBezTo>
                  <a:cubicBezTo>
                    <a:pt x="687" y="107"/>
                    <a:pt x="684" y="111"/>
                    <a:pt x="684" y="111"/>
                  </a:cubicBezTo>
                  <a:cubicBezTo>
                    <a:pt x="683" y="112"/>
                    <a:pt x="683" y="112"/>
                    <a:pt x="683" y="112"/>
                  </a:cubicBezTo>
                  <a:cubicBezTo>
                    <a:pt x="705" y="112"/>
                    <a:pt x="705" y="112"/>
                    <a:pt x="705" y="112"/>
                  </a:cubicBezTo>
                  <a:cubicBezTo>
                    <a:pt x="699" y="120"/>
                    <a:pt x="676" y="149"/>
                    <a:pt x="658" y="208"/>
                  </a:cubicBezTo>
                  <a:cubicBezTo>
                    <a:pt x="655" y="211"/>
                    <a:pt x="603" y="279"/>
                    <a:pt x="590" y="385"/>
                  </a:cubicBezTo>
                  <a:cubicBezTo>
                    <a:pt x="589" y="398"/>
                    <a:pt x="589" y="398"/>
                    <a:pt x="589" y="398"/>
                  </a:cubicBezTo>
                  <a:cubicBezTo>
                    <a:pt x="584" y="364"/>
                    <a:pt x="577" y="331"/>
                    <a:pt x="577" y="331"/>
                  </a:cubicBezTo>
                  <a:cubicBezTo>
                    <a:pt x="577" y="331"/>
                    <a:pt x="577" y="331"/>
                    <a:pt x="577" y="331"/>
                  </a:cubicBezTo>
                  <a:cubicBezTo>
                    <a:pt x="563" y="256"/>
                    <a:pt x="529" y="211"/>
                    <a:pt x="527" y="208"/>
                  </a:cubicBezTo>
                  <a:cubicBezTo>
                    <a:pt x="518" y="174"/>
                    <a:pt x="492" y="122"/>
                    <a:pt x="487" y="113"/>
                  </a:cubicBezTo>
                  <a:cubicBezTo>
                    <a:pt x="569" y="113"/>
                    <a:pt x="569" y="113"/>
                    <a:pt x="569" y="113"/>
                  </a:cubicBezTo>
                  <a:cubicBezTo>
                    <a:pt x="567" y="111"/>
                    <a:pt x="567" y="111"/>
                    <a:pt x="567" y="111"/>
                  </a:cubicBezTo>
                  <a:cubicBezTo>
                    <a:pt x="567" y="111"/>
                    <a:pt x="555" y="99"/>
                    <a:pt x="541" y="86"/>
                  </a:cubicBezTo>
                  <a:cubicBezTo>
                    <a:pt x="526" y="73"/>
                    <a:pt x="510" y="59"/>
                    <a:pt x="502" y="53"/>
                  </a:cubicBezTo>
                  <a:cubicBezTo>
                    <a:pt x="474" y="36"/>
                    <a:pt x="429" y="15"/>
                    <a:pt x="390" y="6"/>
                  </a:cubicBezTo>
                  <a:cubicBezTo>
                    <a:pt x="374" y="3"/>
                    <a:pt x="360" y="1"/>
                    <a:pt x="34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95" name="Freeform 238"/>
            <p:cNvSpPr>
              <a:spLocks noEditPoints="1"/>
            </p:cNvSpPr>
            <p:nvPr/>
          </p:nvSpPr>
          <p:spPr bwMode="auto">
            <a:xfrm>
              <a:off x="-4912180" y="4871026"/>
              <a:ext cx="917112" cy="492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244" y="0"/>
                </a:cxn>
                <a:cxn ang="0">
                  <a:pos x="243" y="0"/>
                </a:cxn>
                <a:cxn ang="0">
                  <a:pos x="243" y="0"/>
                </a:cxn>
                <a:cxn ang="0">
                  <a:pos x="243" y="0"/>
                </a:cxn>
                <a:cxn ang="0">
                  <a:pos x="243" y="0"/>
                </a:cxn>
                <a:cxn ang="0">
                  <a:pos x="243" y="1"/>
                </a:cxn>
                <a:cxn ang="0">
                  <a:pos x="244" y="1"/>
                </a:cxn>
                <a:cxn ang="0">
                  <a:pos x="244" y="0"/>
                </a:cxn>
              </a:cxnLst>
              <a:rect l="0" t="0" r="r" b="b"/>
              <a:pathLst>
                <a:path w="244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244" y="0"/>
                  </a:move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1"/>
                    <a:pt x="243" y="1"/>
                    <a:pt x="243" y="1"/>
                  </a:cubicBezTo>
                  <a:cubicBezTo>
                    <a:pt x="244" y="1"/>
                    <a:pt x="244" y="1"/>
                    <a:pt x="244" y="1"/>
                  </a:cubicBezTo>
                  <a:cubicBezTo>
                    <a:pt x="244" y="0"/>
                    <a:pt x="244" y="0"/>
                    <a:pt x="244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96" name="Freeform 239"/>
            <p:cNvSpPr>
              <a:spLocks noEditPoints="1"/>
            </p:cNvSpPr>
            <p:nvPr/>
          </p:nvSpPr>
          <p:spPr bwMode="auto">
            <a:xfrm>
              <a:off x="-3672514" y="4871026"/>
              <a:ext cx="1172265" cy="492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312" y="0"/>
                </a:cxn>
                <a:cxn ang="0">
                  <a:pos x="311" y="0"/>
                </a:cxn>
                <a:cxn ang="0">
                  <a:pos x="311" y="1"/>
                </a:cxn>
                <a:cxn ang="0">
                  <a:pos x="312" y="1"/>
                </a:cxn>
                <a:cxn ang="0">
                  <a:pos x="312" y="0"/>
                </a:cxn>
              </a:cxnLst>
              <a:rect l="0" t="0" r="r" b="b"/>
              <a:pathLst>
                <a:path w="312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312" y="0"/>
                  </a:moveTo>
                  <a:cubicBezTo>
                    <a:pt x="311" y="0"/>
                    <a:pt x="311" y="0"/>
                    <a:pt x="311" y="0"/>
                  </a:cubicBezTo>
                  <a:cubicBezTo>
                    <a:pt x="311" y="1"/>
                    <a:pt x="311" y="1"/>
                    <a:pt x="311" y="1"/>
                  </a:cubicBezTo>
                  <a:cubicBezTo>
                    <a:pt x="312" y="1"/>
                    <a:pt x="312" y="1"/>
                    <a:pt x="312" y="1"/>
                  </a:cubicBezTo>
                  <a:cubicBezTo>
                    <a:pt x="312" y="0"/>
                    <a:pt x="312" y="0"/>
                    <a:pt x="31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97" name="Freeform 240"/>
            <p:cNvSpPr>
              <a:spLocks noEditPoints="1"/>
            </p:cNvSpPr>
            <p:nvPr/>
          </p:nvSpPr>
          <p:spPr bwMode="auto">
            <a:xfrm>
              <a:off x="-2071782" y="4871026"/>
              <a:ext cx="1239666" cy="492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330" y="0"/>
                </a:cxn>
                <a:cxn ang="0">
                  <a:pos x="329" y="0"/>
                </a:cxn>
                <a:cxn ang="0">
                  <a:pos x="329" y="1"/>
                </a:cxn>
                <a:cxn ang="0">
                  <a:pos x="330" y="1"/>
                </a:cxn>
                <a:cxn ang="0">
                  <a:pos x="330" y="0"/>
                </a:cxn>
              </a:cxnLst>
              <a:rect l="0" t="0" r="r" b="b"/>
              <a:pathLst>
                <a:path w="330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330" y="0"/>
                  </a:moveTo>
                  <a:cubicBezTo>
                    <a:pt x="329" y="0"/>
                    <a:pt x="329" y="0"/>
                    <a:pt x="329" y="0"/>
                  </a:cubicBezTo>
                  <a:cubicBezTo>
                    <a:pt x="329" y="1"/>
                    <a:pt x="329" y="1"/>
                    <a:pt x="329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0"/>
                    <a:pt x="330" y="0"/>
                    <a:pt x="33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98" name="Freeform 241"/>
            <p:cNvSpPr>
              <a:spLocks noEditPoints="1"/>
            </p:cNvSpPr>
            <p:nvPr/>
          </p:nvSpPr>
          <p:spPr bwMode="auto">
            <a:xfrm>
              <a:off x="-6245723" y="4871026"/>
              <a:ext cx="919519" cy="492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245" y="0"/>
                </a:cxn>
                <a:cxn ang="0">
                  <a:pos x="244" y="0"/>
                </a:cxn>
                <a:cxn ang="0">
                  <a:pos x="244" y="0"/>
                </a:cxn>
                <a:cxn ang="0">
                  <a:pos x="244" y="0"/>
                </a:cxn>
                <a:cxn ang="0">
                  <a:pos x="244" y="0"/>
                </a:cxn>
                <a:cxn ang="0">
                  <a:pos x="243" y="1"/>
                </a:cxn>
                <a:cxn ang="0">
                  <a:pos x="245" y="1"/>
                </a:cxn>
                <a:cxn ang="0">
                  <a:pos x="245" y="0"/>
                </a:cxn>
              </a:cxnLst>
              <a:rect l="0" t="0" r="r" b="b"/>
              <a:pathLst>
                <a:path w="245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245" y="0"/>
                  </a:moveTo>
                  <a:cubicBezTo>
                    <a:pt x="244" y="0"/>
                    <a:pt x="244" y="0"/>
                    <a:pt x="244" y="0"/>
                  </a:cubicBezTo>
                  <a:cubicBezTo>
                    <a:pt x="244" y="0"/>
                    <a:pt x="244" y="0"/>
                    <a:pt x="244" y="0"/>
                  </a:cubicBezTo>
                  <a:cubicBezTo>
                    <a:pt x="244" y="0"/>
                    <a:pt x="244" y="0"/>
                    <a:pt x="244" y="0"/>
                  </a:cubicBezTo>
                  <a:cubicBezTo>
                    <a:pt x="244" y="0"/>
                    <a:pt x="244" y="0"/>
                    <a:pt x="244" y="0"/>
                  </a:cubicBezTo>
                  <a:cubicBezTo>
                    <a:pt x="244" y="0"/>
                    <a:pt x="244" y="0"/>
                    <a:pt x="243" y="1"/>
                  </a:cubicBezTo>
                  <a:cubicBezTo>
                    <a:pt x="245" y="1"/>
                    <a:pt x="245" y="1"/>
                    <a:pt x="245" y="1"/>
                  </a:cubicBezTo>
                  <a:cubicBezTo>
                    <a:pt x="245" y="0"/>
                    <a:pt x="245" y="0"/>
                    <a:pt x="245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99" name="Freeform 242"/>
            <p:cNvSpPr>
              <a:spLocks/>
            </p:cNvSpPr>
            <p:nvPr/>
          </p:nvSpPr>
          <p:spPr bwMode="auto">
            <a:xfrm>
              <a:off x="-5020500" y="4541414"/>
              <a:ext cx="7221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1" y="0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00" name="Freeform 243"/>
            <p:cNvSpPr>
              <a:spLocks noEditPoints="1"/>
            </p:cNvSpPr>
            <p:nvPr/>
          </p:nvSpPr>
          <p:spPr bwMode="auto">
            <a:xfrm>
              <a:off x="-3780835" y="4541414"/>
              <a:ext cx="1408164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375" y="0"/>
                </a:cxn>
                <a:cxn ang="0">
                  <a:pos x="375" y="0"/>
                </a:cxn>
                <a:cxn ang="0">
                  <a:pos x="374" y="1"/>
                </a:cxn>
                <a:cxn ang="0">
                  <a:pos x="374" y="1"/>
                </a:cxn>
                <a:cxn ang="0">
                  <a:pos x="375" y="1"/>
                </a:cxn>
                <a:cxn ang="0">
                  <a:pos x="375" y="0"/>
                </a:cxn>
              </a:cxnLst>
              <a:rect l="0" t="0" r="r" b="b"/>
              <a:pathLst>
                <a:path w="375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375" y="0"/>
                  </a:moveTo>
                  <a:cubicBezTo>
                    <a:pt x="375" y="0"/>
                    <a:pt x="375" y="0"/>
                    <a:pt x="375" y="0"/>
                  </a:cubicBezTo>
                  <a:cubicBezTo>
                    <a:pt x="375" y="0"/>
                    <a:pt x="375" y="0"/>
                    <a:pt x="374" y="1"/>
                  </a:cubicBezTo>
                  <a:cubicBezTo>
                    <a:pt x="374" y="1"/>
                    <a:pt x="374" y="1"/>
                    <a:pt x="374" y="1"/>
                  </a:cubicBezTo>
                  <a:cubicBezTo>
                    <a:pt x="375" y="1"/>
                    <a:pt x="375" y="1"/>
                    <a:pt x="375" y="1"/>
                  </a:cubicBezTo>
                  <a:cubicBezTo>
                    <a:pt x="375" y="0"/>
                    <a:pt x="375" y="0"/>
                    <a:pt x="375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01" name="Freeform 244"/>
            <p:cNvSpPr>
              <a:spLocks/>
            </p:cNvSpPr>
            <p:nvPr/>
          </p:nvSpPr>
          <p:spPr bwMode="auto">
            <a:xfrm>
              <a:off x="-2175287" y="4541414"/>
              <a:ext cx="0" cy="245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0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02" name="Freeform 245"/>
            <p:cNvSpPr>
              <a:spLocks/>
            </p:cNvSpPr>
            <p:nvPr/>
          </p:nvSpPr>
          <p:spPr bwMode="auto">
            <a:xfrm>
              <a:off x="-6310714" y="4541414"/>
              <a:ext cx="4814" cy="245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0" y="0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0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03" name="Freeform 246"/>
            <p:cNvSpPr>
              <a:spLocks noEditPoints="1"/>
            </p:cNvSpPr>
            <p:nvPr/>
          </p:nvSpPr>
          <p:spPr bwMode="auto">
            <a:xfrm>
              <a:off x="-4062467" y="3527981"/>
              <a:ext cx="3134066" cy="492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834" y="0"/>
                </a:cxn>
                <a:cxn ang="0">
                  <a:pos x="832" y="0"/>
                </a:cxn>
                <a:cxn ang="0">
                  <a:pos x="833" y="1"/>
                </a:cxn>
                <a:cxn ang="0">
                  <a:pos x="834" y="1"/>
                </a:cxn>
                <a:cxn ang="0">
                  <a:pos x="834" y="0"/>
                </a:cxn>
              </a:cxnLst>
              <a:rect l="0" t="0" r="r" b="b"/>
              <a:pathLst>
                <a:path w="834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834" y="0"/>
                  </a:moveTo>
                  <a:cubicBezTo>
                    <a:pt x="832" y="0"/>
                    <a:pt x="832" y="0"/>
                    <a:pt x="832" y="0"/>
                  </a:cubicBezTo>
                  <a:cubicBezTo>
                    <a:pt x="833" y="0"/>
                    <a:pt x="833" y="0"/>
                    <a:pt x="833" y="1"/>
                  </a:cubicBezTo>
                  <a:cubicBezTo>
                    <a:pt x="834" y="1"/>
                    <a:pt x="834" y="1"/>
                    <a:pt x="834" y="1"/>
                  </a:cubicBezTo>
                  <a:cubicBezTo>
                    <a:pt x="834" y="0"/>
                    <a:pt x="834" y="0"/>
                    <a:pt x="834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04" name="Freeform 247"/>
            <p:cNvSpPr>
              <a:spLocks noEditPoints="1"/>
            </p:cNvSpPr>
            <p:nvPr/>
          </p:nvSpPr>
          <p:spPr bwMode="auto">
            <a:xfrm>
              <a:off x="-6245723" y="3527981"/>
              <a:ext cx="2043643" cy="492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544" y="0"/>
                </a:cxn>
                <a:cxn ang="0">
                  <a:pos x="543" y="0"/>
                </a:cxn>
                <a:cxn ang="0">
                  <a:pos x="543" y="1"/>
                </a:cxn>
                <a:cxn ang="0">
                  <a:pos x="544" y="1"/>
                </a:cxn>
                <a:cxn ang="0">
                  <a:pos x="544" y="0"/>
                </a:cxn>
              </a:cxnLst>
              <a:rect l="0" t="0" r="r" b="b"/>
              <a:pathLst>
                <a:path w="544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2" y="0"/>
                    <a:pt x="2" y="0"/>
                  </a:cubicBezTo>
                  <a:moveTo>
                    <a:pt x="544" y="0"/>
                  </a:moveTo>
                  <a:cubicBezTo>
                    <a:pt x="543" y="0"/>
                    <a:pt x="543" y="0"/>
                    <a:pt x="543" y="0"/>
                  </a:cubicBezTo>
                  <a:cubicBezTo>
                    <a:pt x="543" y="0"/>
                    <a:pt x="543" y="0"/>
                    <a:pt x="543" y="1"/>
                  </a:cubicBezTo>
                  <a:cubicBezTo>
                    <a:pt x="544" y="1"/>
                    <a:pt x="544" y="1"/>
                    <a:pt x="544" y="1"/>
                  </a:cubicBezTo>
                  <a:cubicBezTo>
                    <a:pt x="544" y="0"/>
                    <a:pt x="544" y="0"/>
                    <a:pt x="544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05" name="Freeform 248"/>
            <p:cNvSpPr>
              <a:spLocks/>
            </p:cNvSpPr>
            <p:nvPr/>
          </p:nvSpPr>
          <p:spPr bwMode="auto">
            <a:xfrm>
              <a:off x="-3691771" y="2785124"/>
              <a:ext cx="9628" cy="2459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2" y="2"/>
                </a:cxn>
                <a:cxn ang="0">
                  <a:pos x="5" y="0"/>
                </a:cxn>
                <a:cxn ang="0">
                  <a:pos x="5" y="0"/>
                </a:cxn>
              </a:cxnLst>
              <a:rect l="0" t="0" r="r" b="b"/>
              <a:pathLst>
                <a:path w="5" h="2">
                  <a:moveTo>
                    <a:pt x="5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2" y="2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06" name="Freeform 249"/>
            <p:cNvSpPr>
              <a:spLocks noEditPoints="1"/>
            </p:cNvSpPr>
            <p:nvPr/>
          </p:nvSpPr>
          <p:spPr bwMode="auto">
            <a:xfrm>
              <a:off x="-5836513" y="2785124"/>
              <a:ext cx="1314286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349" y="0"/>
                </a:cxn>
                <a:cxn ang="0">
                  <a:pos x="348" y="0"/>
                </a:cxn>
                <a:cxn ang="0">
                  <a:pos x="349" y="1"/>
                </a:cxn>
                <a:cxn ang="0">
                  <a:pos x="350" y="1"/>
                </a:cxn>
                <a:cxn ang="0">
                  <a:pos x="350" y="1"/>
                </a:cxn>
                <a:cxn ang="0">
                  <a:pos x="349" y="1"/>
                </a:cxn>
                <a:cxn ang="0">
                  <a:pos x="349" y="0"/>
                </a:cxn>
              </a:cxnLst>
              <a:rect l="0" t="0" r="r" b="b"/>
              <a:pathLst>
                <a:path w="350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349" y="0"/>
                  </a:moveTo>
                  <a:cubicBezTo>
                    <a:pt x="348" y="0"/>
                    <a:pt x="348" y="0"/>
                    <a:pt x="348" y="0"/>
                  </a:cubicBezTo>
                  <a:cubicBezTo>
                    <a:pt x="349" y="1"/>
                    <a:pt x="349" y="1"/>
                    <a:pt x="349" y="1"/>
                  </a:cubicBezTo>
                  <a:cubicBezTo>
                    <a:pt x="350" y="1"/>
                    <a:pt x="350" y="1"/>
                    <a:pt x="350" y="1"/>
                  </a:cubicBezTo>
                  <a:cubicBezTo>
                    <a:pt x="350" y="1"/>
                    <a:pt x="350" y="1"/>
                    <a:pt x="350" y="1"/>
                  </a:cubicBezTo>
                  <a:cubicBezTo>
                    <a:pt x="349" y="1"/>
                    <a:pt x="349" y="1"/>
                    <a:pt x="349" y="1"/>
                  </a:cubicBezTo>
                  <a:cubicBezTo>
                    <a:pt x="349" y="0"/>
                    <a:pt x="349" y="0"/>
                    <a:pt x="34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07" name="Freeform 250"/>
            <p:cNvSpPr>
              <a:spLocks/>
            </p:cNvSpPr>
            <p:nvPr/>
          </p:nvSpPr>
          <p:spPr bwMode="auto">
            <a:xfrm>
              <a:off x="-3672514" y="2669513"/>
              <a:ext cx="4814" cy="2461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1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08" name="Freeform 251"/>
            <p:cNvSpPr>
              <a:spLocks/>
            </p:cNvSpPr>
            <p:nvPr/>
          </p:nvSpPr>
          <p:spPr bwMode="auto">
            <a:xfrm>
              <a:off x="-1308725" y="3146713"/>
              <a:ext cx="7221" cy="2461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1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09" name="Freeform 252"/>
            <p:cNvSpPr>
              <a:spLocks/>
            </p:cNvSpPr>
            <p:nvPr/>
          </p:nvSpPr>
          <p:spPr bwMode="auto">
            <a:xfrm>
              <a:off x="-5737821" y="2669513"/>
              <a:ext cx="2406" cy="2461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10" name="Freeform 253"/>
            <p:cNvSpPr>
              <a:spLocks noEditPoints="1"/>
            </p:cNvSpPr>
            <p:nvPr/>
          </p:nvSpPr>
          <p:spPr bwMode="auto">
            <a:xfrm>
              <a:off x="-5034942" y="4460241"/>
              <a:ext cx="1162637" cy="2461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310" y="0"/>
                </a:cxn>
                <a:cxn ang="0">
                  <a:pos x="309" y="0"/>
                </a:cxn>
                <a:cxn ang="0">
                  <a:pos x="309" y="1"/>
                </a:cxn>
                <a:cxn ang="0">
                  <a:pos x="310" y="1"/>
                </a:cxn>
                <a:cxn ang="0">
                  <a:pos x="310" y="0"/>
                </a:cxn>
              </a:cxnLst>
              <a:rect l="0" t="0" r="r" b="b"/>
              <a:pathLst>
                <a:path w="310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310" y="0"/>
                  </a:moveTo>
                  <a:cubicBezTo>
                    <a:pt x="309" y="0"/>
                    <a:pt x="309" y="0"/>
                    <a:pt x="309" y="0"/>
                  </a:cubicBezTo>
                  <a:cubicBezTo>
                    <a:pt x="309" y="1"/>
                    <a:pt x="309" y="1"/>
                    <a:pt x="309" y="1"/>
                  </a:cubicBezTo>
                  <a:cubicBezTo>
                    <a:pt x="310" y="1"/>
                    <a:pt x="310" y="1"/>
                    <a:pt x="310" y="1"/>
                  </a:cubicBezTo>
                  <a:cubicBezTo>
                    <a:pt x="310" y="0"/>
                    <a:pt x="310" y="0"/>
                    <a:pt x="31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11" name="Freeform 254"/>
            <p:cNvSpPr>
              <a:spLocks noEditPoints="1"/>
            </p:cNvSpPr>
            <p:nvPr/>
          </p:nvSpPr>
          <p:spPr bwMode="auto">
            <a:xfrm>
              <a:off x="-3795278" y="4460241"/>
              <a:ext cx="1449084" cy="2461"/>
            </a:xfrm>
            <a:custGeom>
              <a:avLst/>
              <a:gdLst/>
              <a:ahLst/>
              <a:cxnLst>
                <a:cxn ang="0">
                  <a:pos x="386" y="0"/>
                </a:cxn>
                <a:cxn ang="0">
                  <a:pos x="385" y="1"/>
                </a:cxn>
                <a:cxn ang="0">
                  <a:pos x="386" y="1"/>
                </a:cxn>
                <a:cxn ang="0">
                  <a:pos x="386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</a:cxnLst>
              <a:rect l="0" t="0" r="r" b="b"/>
              <a:pathLst>
                <a:path w="386" h="1">
                  <a:moveTo>
                    <a:pt x="386" y="0"/>
                  </a:moveTo>
                  <a:cubicBezTo>
                    <a:pt x="385" y="1"/>
                    <a:pt x="385" y="1"/>
                    <a:pt x="385" y="1"/>
                  </a:cubicBezTo>
                  <a:cubicBezTo>
                    <a:pt x="386" y="1"/>
                    <a:pt x="386" y="1"/>
                    <a:pt x="386" y="1"/>
                  </a:cubicBezTo>
                  <a:cubicBezTo>
                    <a:pt x="386" y="0"/>
                    <a:pt x="386" y="0"/>
                    <a:pt x="386" y="0"/>
                  </a:cubicBezTo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12" name="Freeform 255"/>
            <p:cNvSpPr>
              <a:spLocks noEditPoints="1"/>
            </p:cNvSpPr>
            <p:nvPr/>
          </p:nvSpPr>
          <p:spPr bwMode="auto">
            <a:xfrm>
              <a:off x="-2199359" y="4460241"/>
              <a:ext cx="1434642" cy="2461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382" y="0"/>
                </a:cxn>
                <a:cxn ang="0">
                  <a:pos x="381" y="0"/>
                </a:cxn>
                <a:cxn ang="0">
                  <a:pos x="381" y="1"/>
                </a:cxn>
                <a:cxn ang="0">
                  <a:pos x="382" y="1"/>
                </a:cxn>
                <a:cxn ang="0">
                  <a:pos x="382" y="0"/>
                </a:cxn>
              </a:cxnLst>
              <a:rect l="0" t="0" r="r" b="b"/>
              <a:pathLst>
                <a:path w="382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382" y="0"/>
                  </a:moveTo>
                  <a:cubicBezTo>
                    <a:pt x="381" y="0"/>
                    <a:pt x="381" y="0"/>
                    <a:pt x="381" y="0"/>
                  </a:cubicBezTo>
                  <a:cubicBezTo>
                    <a:pt x="381" y="1"/>
                    <a:pt x="381" y="1"/>
                    <a:pt x="381" y="1"/>
                  </a:cubicBezTo>
                  <a:cubicBezTo>
                    <a:pt x="382" y="1"/>
                    <a:pt x="382" y="1"/>
                    <a:pt x="382" y="1"/>
                  </a:cubicBezTo>
                  <a:cubicBezTo>
                    <a:pt x="382" y="0"/>
                    <a:pt x="382" y="0"/>
                    <a:pt x="38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13" name="Freeform 256"/>
            <p:cNvSpPr>
              <a:spLocks noEditPoints="1"/>
            </p:cNvSpPr>
            <p:nvPr/>
          </p:nvSpPr>
          <p:spPr bwMode="auto">
            <a:xfrm>
              <a:off x="-6315529" y="4460241"/>
              <a:ext cx="1167451" cy="2461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311" y="0"/>
                </a:cxn>
                <a:cxn ang="0">
                  <a:pos x="311" y="0"/>
                </a:cxn>
                <a:cxn ang="0">
                  <a:pos x="310" y="1"/>
                </a:cxn>
                <a:cxn ang="0">
                  <a:pos x="311" y="1"/>
                </a:cxn>
                <a:cxn ang="0">
                  <a:pos x="311" y="0"/>
                </a:cxn>
              </a:cxnLst>
              <a:rect l="0" t="0" r="r" b="b"/>
              <a:pathLst>
                <a:path w="31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311" y="0"/>
                  </a:moveTo>
                  <a:cubicBezTo>
                    <a:pt x="311" y="0"/>
                    <a:pt x="311" y="0"/>
                    <a:pt x="311" y="0"/>
                  </a:cubicBezTo>
                  <a:cubicBezTo>
                    <a:pt x="311" y="0"/>
                    <a:pt x="311" y="1"/>
                    <a:pt x="310" y="1"/>
                  </a:cubicBezTo>
                  <a:cubicBezTo>
                    <a:pt x="311" y="1"/>
                    <a:pt x="311" y="1"/>
                    <a:pt x="311" y="1"/>
                  </a:cubicBezTo>
                  <a:cubicBezTo>
                    <a:pt x="311" y="0"/>
                    <a:pt x="311" y="0"/>
                    <a:pt x="31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14" name="Freeform 257"/>
            <p:cNvSpPr>
              <a:spLocks noEditPoints="1"/>
            </p:cNvSpPr>
            <p:nvPr/>
          </p:nvSpPr>
          <p:spPr bwMode="auto">
            <a:xfrm>
              <a:off x="-6212023" y="5200638"/>
              <a:ext cx="748614" cy="245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199" y="0"/>
                </a:cxn>
                <a:cxn ang="0">
                  <a:pos x="198" y="0"/>
                </a:cxn>
                <a:cxn ang="0">
                  <a:pos x="198" y="1"/>
                </a:cxn>
                <a:cxn ang="0">
                  <a:pos x="199" y="1"/>
                </a:cxn>
                <a:cxn ang="0">
                  <a:pos x="199" y="0"/>
                </a:cxn>
              </a:cxnLst>
              <a:rect l="0" t="0" r="r" b="b"/>
              <a:pathLst>
                <a:path w="199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199" y="0"/>
                  </a:moveTo>
                  <a:cubicBezTo>
                    <a:pt x="198" y="0"/>
                    <a:pt x="198" y="0"/>
                    <a:pt x="198" y="0"/>
                  </a:cubicBezTo>
                  <a:cubicBezTo>
                    <a:pt x="198" y="1"/>
                    <a:pt x="198" y="1"/>
                    <a:pt x="198" y="1"/>
                  </a:cubicBezTo>
                  <a:cubicBezTo>
                    <a:pt x="199" y="1"/>
                    <a:pt x="199" y="1"/>
                    <a:pt x="199" y="1"/>
                  </a:cubicBezTo>
                  <a:cubicBezTo>
                    <a:pt x="199" y="0"/>
                    <a:pt x="199" y="0"/>
                    <a:pt x="19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15" name="Freeform 258"/>
            <p:cNvSpPr>
              <a:spLocks noEditPoints="1"/>
            </p:cNvSpPr>
            <p:nvPr/>
          </p:nvSpPr>
          <p:spPr bwMode="auto">
            <a:xfrm>
              <a:off x="-4837559" y="5200638"/>
              <a:ext cx="741392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97" y="0"/>
                </a:cxn>
                <a:cxn ang="0">
                  <a:pos x="196" y="0"/>
                </a:cxn>
                <a:cxn ang="0">
                  <a:pos x="196" y="1"/>
                </a:cxn>
                <a:cxn ang="0">
                  <a:pos x="197" y="1"/>
                </a:cxn>
                <a:cxn ang="0">
                  <a:pos x="197" y="0"/>
                </a:cxn>
              </a:cxnLst>
              <a:rect l="0" t="0" r="r" b="b"/>
              <a:pathLst>
                <a:path w="197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97" y="0"/>
                  </a:moveTo>
                  <a:cubicBezTo>
                    <a:pt x="196" y="0"/>
                    <a:pt x="196" y="0"/>
                    <a:pt x="196" y="0"/>
                  </a:cubicBezTo>
                  <a:cubicBezTo>
                    <a:pt x="196" y="1"/>
                    <a:pt x="196" y="1"/>
                    <a:pt x="196" y="1"/>
                  </a:cubicBezTo>
                  <a:cubicBezTo>
                    <a:pt x="197" y="1"/>
                    <a:pt x="197" y="1"/>
                    <a:pt x="197" y="1"/>
                  </a:cubicBezTo>
                  <a:cubicBezTo>
                    <a:pt x="197" y="0"/>
                    <a:pt x="197" y="0"/>
                    <a:pt x="19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16" name="Freeform 259"/>
            <p:cNvSpPr>
              <a:spLocks noEditPoints="1"/>
            </p:cNvSpPr>
            <p:nvPr/>
          </p:nvSpPr>
          <p:spPr bwMode="auto">
            <a:xfrm>
              <a:off x="-3593080" y="5200638"/>
              <a:ext cx="926741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247" y="0"/>
                </a:cxn>
                <a:cxn ang="0">
                  <a:pos x="246" y="0"/>
                </a:cxn>
                <a:cxn ang="0">
                  <a:pos x="246" y="1"/>
                </a:cxn>
                <a:cxn ang="0">
                  <a:pos x="247" y="1"/>
                </a:cxn>
                <a:cxn ang="0">
                  <a:pos x="247" y="0"/>
                </a:cxn>
              </a:cxnLst>
              <a:rect l="0" t="0" r="r" b="b"/>
              <a:pathLst>
                <a:path w="247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247" y="0"/>
                  </a:moveTo>
                  <a:cubicBezTo>
                    <a:pt x="246" y="0"/>
                    <a:pt x="246" y="0"/>
                    <a:pt x="246" y="0"/>
                  </a:cubicBezTo>
                  <a:cubicBezTo>
                    <a:pt x="246" y="1"/>
                    <a:pt x="246" y="1"/>
                    <a:pt x="246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0"/>
                    <a:pt x="247" y="0"/>
                    <a:pt x="24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17" name="Freeform 260"/>
            <p:cNvSpPr>
              <a:spLocks noEditPoints="1"/>
            </p:cNvSpPr>
            <p:nvPr/>
          </p:nvSpPr>
          <p:spPr bwMode="auto">
            <a:xfrm>
              <a:off x="-1879213" y="5200638"/>
              <a:ext cx="967661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1" y="0"/>
                </a:cxn>
                <a:cxn ang="0">
                  <a:pos x="258" y="0"/>
                </a:cxn>
                <a:cxn ang="0">
                  <a:pos x="258" y="0"/>
                </a:cxn>
                <a:cxn ang="0">
                  <a:pos x="257" y="1"/>
                </a:cxn>
                <a:cxn ang="0">
                  <a:pos x="258" y="1"/>
                </a:cxn>
                <a:cxn ang="0">
                  <a:pos x="258" y="0"/>
                </a:cxn>
              </a:cxnLst>
              <a:rect l="0" t="0" r="r" b="b"/>
              <a:pathLst>
                <a:path w="258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0"/>
                    <a:pt x="1" y="0"/>
                  </a:cubicBezTo>
                  <a:moveTo>
                    <a:pt x="258" y="0"/>
                  </a:moveTo>
                  <a:cubicBezTo>
                    <a:pt x="258" y="0"/>
                    <a:pt x="258" y="0"/>
                    <a:pt x="258" y="0"/>
                  </a:cubicBezTo>
                  <a:cubicBezTo>
                    <a:pt x="257" y="1"/>
                    <a:pt x="257" y="1"/>
                    <a:pt x="257" y="1"/>
                  </a:cubicBezTo>
                  <a:cubicBezTo>
                    <a:pt x="258" y="1"/>
                    <a:pt x="258" y="1"/>
                    <a:pt x="258" y="1"/>
                  </a:cubicBezTo>
                  <a:cubicBezTo>
                    <a:pt x="258" y="0"/>
                    <a:pt x="258" y="0"/>
                    <a:pt x="25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18" name="Freeform 261"/>
            <p:cNvSpPr>
              <a:spLocks noEditPoints="1"/>
            </p:cNvSpPr>
            <p:nvPr/>
          </p:nvSpPr>
          <p:spPr bwMode="auto">
            <a:xfrm>
              <a:off x="-6175916" y="5318708"/>
              <a:ext cx="633071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68" y="0"/>
                </a:cxn>
                <a:cxn ang="0">
                  <a:pos x="168" y="0"/>
                </a:cxn>
                <a:cxn ang="0">
                  <a:pos x="168" y="0"/>
                </a:cxn>
                <a:cxn ang="0">
                  <a:pos x="168" y="0"/>
                </a:cxn>
                <a:cxn ang="0">
                  <a:pos x="168" y="0"/>
                </a:cxn>
              </a:cxnLst>
              <a:rect l="0" t="0" r="r" b="b"/>
              <a:pathLst>
                <a:path w="168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68" y="0"/>
                  </a:moveTo>
                  <a:cubicBezTo>
                    <a:pt x="168" y="0"/>
                    <a:pt x="168" y="0"/>
                    <a:pt x="168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0"/>
                    <a:pt x="168" y="0"/>
                    <a:pt x="16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19" name="Freeform 262"/>
            <p:cNvSpPr>
              <a:spLocks noEditPoints="1"/>
            </p:cNvSpPr>
            <p:nvPr/>
          </p:nvSpPr>
          <p:spPr bwMode="auto">
            <a:xfrm>
              <a:off x="-4779788" y="5323628"/>
              <a:ext cx="625850" cy="492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0" y="0"/>
                </a:cxn>
                <a:cxn ang="0">
                  <a:pos x="167" y="0"/>
                </a:cxn>
                <a:cxn ang="0">
                  <a:pos x="167" y="0"/>
                </a:cxn>
                <a:cxn ang="0">
                  <a:pos x="166" y="1"/>
                </a:cxn>
                <a:cxn ang="0">
                  <a:pos x="167" y="1"/>
                </a:cxn>
                <a:cxn ang="0">
                  <a:pos x="167" y="0"/>
                </a:cxn>
              </a:cxnLst>
              <a:rect l="0" t="0" r="r" b="b"/>
              <a:pathLst>
                <a:path w="167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0" y="0"/>
                  </a:cubicBezTo>
                  <a:moveTo>
                    <a:pt x="167" y="0"/>
                  </a:moveTo>
                  <a:cubicBezTo>
                    <a:pt x="167" y="0"/>
                    <a:pt x="167" y="0"/>
                    <a:pt x="167" y="0"/>
                  </a:cubicBezTo>
                  <a:cubicBezTo>
                    <a:pt x="166" y="1"/>
                    <a:pt x="166" y="1"/>
                    <a:pt x="166" y="1"/>
                  </a:cubicBezTo>
                  <a:cubicBezTo>
                    <a:pt x="167" y="1"/>
                    <a:pt x="167" y="1"/>
                    <a:pt x="167" y="1"/>
                  </a:cubicBezTo>
                  <a:cubicBezTo>
                    <a:pt x="167" y="0"/>
                    <a:pt x="167" y="0"/>
                    <a:pt x="16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20" name="Freeform 263"/>
            <p:cNvSpPr>
              <a:spLocks noEditPoints="1"/>
            </p:cNvSpPr>
            <p:nvPr/>
          </p:nvSpPr>
          <p:spPr bwMode="auto">
            <a:xfrm>
              <a:off x="-3537716" y="5323628"/>
              <a:ext cx="791941" cy="492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0" y="0"/>
                </a:cxn>
                <a:cxn ang="0">
                  <a:pos x="211" y="0"/>
                </a:cxn>
                <a:cxn ang="0">
                  <a:pos x="210" y="0"/>
                </a:cxn>
                <a:cxn ang="0">
                  <a:pos x="210" y="1"/>
                </a:cxn>
                <a:cxn ang="0">
                  <a:pos x="211" y="1"/>
                </a:cxn>
                <a:cxn ang="0">
                  <a:pos x="211" y="0"/>
                </a:cxn>
              </a:cxnLst>
              <a:rect l="0" t="0" r="r" b="b"/>
              <a:pathLst>
                <a:path w="211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0" y="0"/>
                  </a:cubicBezTo>
                  <a:moveTo>
                    <a:pt x="211" y="0"/>
                  </a:moveTo>
                  <a:cubicBezTo>
                    <a:pt x="210" y="0"/>
                    <a:pt x="210" y="0"/>
                    <a:pt x="210" y="0"/>
                  </a:cubicBezTo>
                  <a:cubicBezTo>
                    <a:pt x="210" y="1"/>
                    <a:pt x="210" y="1"/>
                    <a:pt x="210" y="1"/>
                  </a:cubicBezTo>
                  <a:cubicBezTo>
                    <a:pt x="211" y="1"/>
                    <a:pt x="211" y="1"/>
                    <a:pt x="211" y="1"/>
                  </a:cubicBezTo>
                  <a:cubicBezTo>
                    <a:pt x="211" y="0"/>
                    <a:pt x="211" y="0"/>
                    <a:pt x="21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21" name="Freeform 264"/>
            <p:cNvSpPr>
              <a:spLocks/>
            </p:cNvSpPr>
            <p:nvPr/>
          </p:nvSpPr>
          <p:spPr bwMode="auto">
            <a:xfrm>
              <a:off x="-1766077" y="5323628"/>
              <a:ext cx="7221" cy="492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1" y="0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1" y="1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22" name="Freeform 265"/>
            <p:cNvSpPr>
              <a:spLocks noEditPoints="1"/>
            </p:cNvSpPr>
            <p:nvPr/>
          </p:nvSpPr>
          <p:spPr bwMode="auto">
            <a:xfrm>
              <a:off x="-6344414" y="3965824"/>
              <a:ext cx="5591732" cy="492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488" y="0"/>
                </a:cxn>
                <a:cxn ang="0">
                  <a:pos x="1487" y="0"/>
                </a:cxn>
                <a:cxn ang="0">
                  <a:pos x="1487" y="1"/>
                </a:cxn>
                <a:cxn ang="0">
                  <a:pos x="1488" y="1"/>
                </a:cxn>
                <a:cxn ang="0">
                  <a:pos x="1488" y="0"/>
                </a:cxn>
              </a:cxnLst>
              <a:rect l="0" t="0" r="r" b="b"/>
              <a:pathLst>
                <a:path w="1488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488" y="0"/>
                  </a:moveTo>
                  <a:cubicBezTo>
                    <a:pt x="1487" y="0"/>
                    <a:pt x="1487" y="0"/>
                    <a:pt x="1487" y="0"/>
                  </a:cubicBezTo>
                  <a:cubicBezTo>
                    <a:pt x="1487" y="1"/>
                    <a:pt x="1487" y="1"/>
                    <a:pt x="1487" y="1"/>
                  </a:cubicBezTo>
                  <a:cubicBezTo>
                    <a:pt x="1488" y="1"/>
                    <a:pt x="1488" y="1"/>
                    <a:pt x="1488" y="1"/>
                  </a:cubicBezTo>
                  <a:cubicBezTo>
                    <a:pt x="1488" y="0"/>
                    <a:pt x="1488" y="0"/>
                    <a:pt x="148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23" name="Freeform 266"/>
            <p:cNvSpPr>
              <a:spLocks noEditPoints="1"/>
            </p:cNvSpPr>
            <p:nvPr/>
          </p:nvSpPr>
          <p:spPr bwMode="auto">
            <a:xfrm>
              <a:off x="-6264980" y="3582096"/>
              <a:ext cx="2074935" cy="492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552" y="0"/>
                </a:cxn>
                <a:cxn ang="0">
                  <a:pos x="551" y="0"/>
                </a:cxn>
                <a:cxn ang="0">
                  <a:pos x="551" y="1"/>
                </a:cxn>
                <a:cxn ang="0">
                  <a:pos x="552" y="1"/>
                </a:cxn>
                <a:cxn ang="0">
                  <a:pos x="552" y="0"/>
                </a:cxn>
              </a:cxnLst>
              <a:rect l="0" t="0" r="r" b="b"/>
              <a:pathLst>
                <a:path w="552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552" y="0"/>
                  </a:moveTo>
                  <a:cubicBezTo>
                    <a:pt x="551" y="0"/>
                    <a:pt x="551" y="0"/>
                    <a:pt x="551" y="0"/>
                  </a:cubicBezTo>
                  <a:cubicBezTo>
                    <a:pt x="551" y="0"/>
                    <a:pt x="551" y="0"/>
                    <a:pt x="551" y="1"/>
                  </a:cubicBezTo>
                  <a:cubicBezTo>
                    <a:pt x="552" y="1"/>
                    <a:pt x="552" y="1"/>
                    <a:pt x="552" y="1"/>
                  </a:cubicBezTo>
                  <a:cubicBezTo>
                    <a:pt x="552" y="0"/>
                    <a:pt x="552" y="0"/>
                    <a:pt x="55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24" name="Freeform 267"/>
            <p:cNvSpPr>
              <a:spLocks noEditPoints="1"/>
            </p:cNvSpPr>
            <p:nvPr/>
          </p:nvSpPr>
          <p:spPr bwMode="auto">
            <a:xfrm>
              <a:off x="-4079318" y="3582096"/>
              <a:ext cx="3184617" cy="492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847" y="0"/>
                </a:cxn>
                <a:cxn ang="0">
                  <a:pos x="846" y="0"/>
                </a:cxn>
                <a:cxn ang="0">
                  <a:pos x="846" y="1"/>
                </a:cxn>
                <a:cxn ang="0">
                  <a:pos x="847" y="1"/>
                </a:cxn>
                <a:cxn ang="0">
                  <a:pos x="847" y="0"/>
                </a:cxn>
              </a:cxnLst>
              <a:rect l="0" t="0" r="r" b="b"/>
              <a:pathLst>
                <a:path w="847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847" y="0"/>
                  </a:moveTo>
                  <a:cubicBezTo>
                    <a:pt x="846" y="0"/>
                    <a:pt x="846" y="0"/>
                    <a:pt x="846" y="0"/>
                  </a:cubicBezTo>
                  <a:cubicBezTo>
                    <a:pt x="846" y="0"/>
                    <a:pt x="846" y="0"/>
                    <a:pt x="846" y="1"/>
                  </a:cubicBezTo>
                  <a:cubicBezTo>
                    <a:pt x="847" y="1"/>
                    <a:pt x="847" y="1"/>
                    <a:pt x="847" y="1"/>
                  </a:cubicBezTo>
                  <a:cubicBezTo>
                    <a:pt x="847" y="0"/>
                    <a:pt x="847" y="0"/>
                    <a:pt x="84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25" name="Freeform 268"/>
            <p:cNvSpPr>
              <a:spLocks/>
            </p:cNvSpPr>
            <p:nvPr/>
          </p:nvSpPr>
          <p:spPr bwMode="auto">
            <a:xfrm>
              <a:off x="-3833792" y="4088813"/>
              <a:ext cx="2408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1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26" name="Freeform 269"/>
            <p:cNvSpPr>
              <a:spLocks/>
            </p:cNvSpPr>
            <p:nvPr/>
          </p:nvSpPr>
          <p:spPr bwMode="auto">
            <a:xfrm>
              <a:off x="-2269166" y="4044537"/>
              <a:ext cx="2408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27" name="Freeform 270"/>
            <p:cNvSpPr>
              <a:spLocks/>
            </p:cNvSpPr>
            <p:nvPr/>
          </p:nvSpPr>
          <p:spPr bwMode="auto">
            <a:xfrm>
              <a:off x="-1301505" y="3146713"/>
              <a:ext cx="7222" cy="2461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2" y="1"/>
                </a:cxn>
                <a:cxn ang="0">
                  <a:pos x="1" y="0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28" name="Freeform 271"/>
            <p:cNvSpPr>
              <a:spLocks/>
            </p:cNvSpPr>
            <p:nvPr/>
          </p:nvSpPr>
          <p:spPr bwMode="auto">
            <a:xfrm>
              <a:off x="-4139495" y="3892030"/>
              <a:ext cx="9628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29" name="Freeform 272"/>
            <p:cNvSpPr>
              <a:spLocks/>
            </p:cNvSpPr>
            <p:nvPr/>
          </p:nvSpPr>
          <p:spPr bwMode="auto">
            <a:xfrm>
              <a:off x="-5075864" y="4002720"/>
              <a:ext cx="2408" cy="2461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30" name="Freeform 273"/>
            <p:cNvSpPr>
              <a:spLocks/>
            </p:cNvSpPr>
            <p:nvPr/>
          </p:nvSpPr>
          <p:spPr bwMode="auto">
            <a:xfrm>
              <a:off x="-4529448" y="2785124"/>
              <a:ext cx="7221" cy="245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0"/>
                </a:cxn>
                <a:cxn ang="0">
                  <a:pos x="2" y="0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31" name="Freeform 274"/>
            <p:cNvSpPr>
              <a:spLocks/>
            </p:cNvSpPr>
            <p:nvPr/>
          </p:nvSpPr>
          <p:spPr bwMode="auto">
            <a:xfrm>
              <a:off x="-4524634" y="2785124"/>
              <a:ext cx="2406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32" name="Freeform 275"/>
            <p:cNvSpPr>
              <a:spLocks/>
            </p:cNvSpPr>
            <p:nvPr/>
          </p:nvSpPr>
          <p:spPr bwMode="auto">
            <a:xfrm>
              <a:off x="-4341693" y="2785124"/>
              <a:ext cx="4814" cy="245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33" name="Freeform 276"/>
            <p:cNvSpPr>
              <a:spLocks noEditPoints="1"/>
            </p:cNvSpPr>
            <p:nvPr/>
          </p:nvSpPr>
          <p:spPr bwMode="auto">
            <a:xfrm>
              <a:off x="-6036303" y="3149173"/>
              <a:ext cx="1660911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2" y="0"/>
                </a:cxn>
                <a:cxn ang="0">
                  <a:pos x="442" y="0"/>
                </a:cxn>
                <a:cxn ang="0">
                  <a:pos x="442" y="0"/>
                </a:cxn>
                <a:cxn ang="0">
                  <a:pos x="442" y="1"/>
                </a:cxn>
                <a:cxn ang="0">
                  <a:pos x="442" y="1"/>
                </a:cxn>
                <a:cxn ang="0">
                  <a:pos x="442" y="0"/>
                </a:cxn>
              </a:cxnLst>
              <a:rect l="0" t="0" r="r" b="b"/>
              <a:pathLst>
                <a:path w="44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442" y="0"/>
                  </a:moveTo>
                  <a:cubicBezTo>
                    <a:pt x="442" y="0"/>
                    <a:pt x="442" y="0"/>
                    <a:pt x="442" y="0"/>
                  </a:cubicBezTo>
                  <a:cubicBezTo>
                    <a:pt x="442" y="0"/>
                    <a:pt x="442" y="0"/>
                    <a:pt x="442" y="1"/>
                  </a:cubicBezTo>
                  <a:cubicBezTo>
                    <a:pt x="442" y="1"/>
                    <a:pt x="442" y="1"/>
                    <a:pt x="442" y="1"/>
                  </a:cubicBezTo>
                  <a:cubicBezTo>
                    <a:pt x="442" y="0"/>
                    <a:pt x="442" y="0"/>
                    <a:pt x="44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34" name="Freeform 277"/>
            <p:cNvSpPr>
              <a:spLocks/>
            </p:cNvSpPr>
            <p:nvPr/>
          </p:nvSpPr>
          <p:spPr bwMode="auto">
            <a:xfrm>
              <a:off x="-1303911" y="3149173"/>
              <a:ext cx="7221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1" y="1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1" y="0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35" name="Freeform 278"/>
            <p:cNvSpPr>
              <a:spLocks/>
            </p:cNvSpPr>
            <p:nvPr/>
          </p:nvSpPr>
          <p:spPr bwMode="auto">
            <a:xfrm>
              <a:off x="-1301505" y="3149173"/>
              <a:ext cx="4814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36" name="Freeform 279"/>
            <p:cNvSpPr>
              <a:spLocks/>
            </p:cNvSpPr>
            <p:nvPr/>
          </p:nvSpPr>
          <p:spPr bwMode="auto">
            <a:xfrm>
              <a:off x="-3872306" y="3149173"/>
              <a:ext cx="4814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37" name="Freeform 280"/>
            <p:cNvSpPr>
              <a:spLocks/>
            </p:cNvSpPr>
            <p:nvPr/>
          </p:nvSpPr>
          <p:spPr bwMode="auto">
            <a:xfrm>
              <a:off x="-5675236" y="2593261"/>
              <a:ext cx="1612768" cy="2508986"/>
            </a:xfrm>
            <a:custGeom>
              <a:avLst/>
              <a:gdLst/>
              <a:ahLst/>
              <a:cxnLst>
                <a:cxn ang="0">
                  <a:pos x="104" y="6"/>
                </a:cxn>
                <a:cxn ang="0">
                  <a:pos x="177" y="34"/>
                </a:cxn>
                <a:cxn ang="0">
                  <a:pos x="216" y="87"/>
                </a:cxn>
                <a:cxn ang="0">
                  <a:pos x="211" y="41"/>
                </a:cxn>
                <a:cxn ang="0">
                  <a:pos x="238" y="57"/>
                </a:cxn>
                <a:cxn ang="0">
                  <a:pos x="242" y="47"/>
                </a:cxn>
                <a:cxn ang="0">
                  <a:pos x="276" y="86"/>
                </a:cxn>
                <a:cxn ang="0">
                  <a:pos x="257" y="108"/>
                </a:cxn>
                <a:cxn ang="0">
                  <a:pos x="269" y="119"/>
                </a:cxn>
                <a:cxn ang="0">
                  <a:pos x="236" y="155"/>
                </a:cxn>
                <a:cxn ang="0">
                  <a:pos x="229" y="230"/>
                </a:cxn>
                <a:cxn ang="0">
                  <a:pos x="230" y="230"/>
                </a:cxn>
                <a:cxn ang="0">
                  <a:pos x="225" y="221"/>
                </a:cxn>
                <a:cxn ang="0">
                  <a:pos x="177" y="269"/>
                </a:cxn>
                <a:cxn ang="0">
                  <a:pos x="201" y="277"/>
                </a:cxn>
                <a:cxn ang="0">
                  <a:pos x="215" y="282"/>
                </a:cxn>
                <a:cxn ang="0">
                  <a:pos x="225" y="313"/>
                </a:cxn>
                <a:cxn ang="0">
                  <a:pos x="319" y="323"/>
                </a:cxn>
                <a:cxn ang="0">
                  <a:pos x="378" y="381"/>
                </a:cxn>
                <a:cxn ang="0">
                  <a:pos x="301" y="662"/>
                </a:cxn>
                <a:cxn ang="0">
                  <a:pos x="303" y="663"/>
                </a:cxn>
                <a:cxn ang="0">
                  <a:pos x="303" y="663"/>
                </a:cxn>
                <a:cxn ang="0">
                  <a:pos x="250" y="346"/>
                </a:cxn>
                <a:cxn ang="0">
                  <a:pos x="203" y="293"/>
                </a:cxn>
                <a:cxn ang="0">
                  <a:pos x="112" y="200"/>
                </a:cxn>
                <a:cxn ang="0">
                  <a:pos x="118" y="241"/>
                </a:cxn>
                <a:cxn ang="0">
                  <a:pos x="117" y="239"/>
                </a:cxn>
                <a:cxn ang="0">
                  <a:pos x="120" y="239"/>
                </a:cxn>
                <a:cxn ang="0">
                  <a:pos x="63" y="48"/>
                </a:cxn>
                <a:cxn ang="0">
                  <a:pos x="3" y="64"/>
                </a:cxn>
                <a:cxn ang="0">
                  <a:pos x="5" y="65"/>
                </a:cxn>
                <a:cxn ang="0">
                  <a:pos x="9" y="43"/>
                </a:cxn>
                <a:cxn ang="0">
                  <a:pos x="6" y="35"/>
                </a:cxn>
                <a:cxn ang="0">
                  <a:pos x="0" y="65"/>
                </a:cxn>
                <a:cxn ang="0">
                  <a:pos x="66" y="52"/>
                </a:cxn>
                <a:cxn ang="0">
                  <a:pos x="117" y="243"/>
                </a:cxn>
                <a:cxn ang="0">
                  <a:pos x="110" y="201"/>
                </a:cxn>
                <a:cxn ang="0">
                  <a:pos x="109" y="201"/>
                </a:cxn>
                <a:cxn ang="0">
                  <a:pos x="129" y="238"/>
                </a:cxn>
                <a:cxn ang="0">
                  <a:pos x="218" y="323"/>
                </a:cxn>
                <a:cxn ang="0">
                  <a:pos x="237" y="397"/>
                </a:cxn>
                <a:cxn ang="0">
                  <a:pos x="306" y="662"/>
                </a:cxn>
                <a:cxn ang="0">
                  <a:pos x="378" y="377"/>
                </a:cxn>
                <a:cxn ang="0">
                  <a:pos x="320" y="319"/>
                </a:cxn>
                <a:cxn ang="0">
                  <a:pos x="229" y="311"/>
                </a:cxn>
                <a:cxn ang="0">
                  <a:pos x="211" y="280"/>
                </a:cxn>
                <a:cxn ang="0">
                  <a:pos x="192" y="260"/>
                </a:cxn>
                <a:cxn ang="0">
                  <a:pos x="216" y="212"/>
                </a:cxn>
                <a:cxn ang="0">
                  <a:pos x="233" y="219"/>
                </a:cxn>
                <a:cxn ang="0">
                  <a:pos x="261" y="123"/>
                </a:cxn>
                <a:cxn ang="0">
                  <a:pos x="254" y="105"/>
                </a:cxn>
                <a:cxn ang="0">
                  <a:pos x="255" y="106"/>
                </a:cxn>
                <a:cxn ang="0">
                  <a:pos x="242" y="43"/>
                </a:cxn>
                <a:cxn ang="0">
                  <a:pos x="207" y="44"/>
                </a:cxn>
                <a:cxn ang="0">
                  <a:pos x="213" y="88"/>
                </a:cxn>
                <a:cxn ang="0">
                  <a:pos x="214" y="89"/>
                </a:cxn>
                <a:cxn ang="0">
                  <a:pos x="177" y="47"/>
                </a:cxn>
                <a:cxn ang="0">
                  <a:pos x="108" y="1"/>
                </a:cxn>
                <a:cxn ang="0">
                  <a:pos x="38" y="6"/>
                </a:cxn>
              </a:cxnLst>
              <a:rect l="0" t="0" r="r" b="b"/>
              <a:pathLst>
                <a:path w="429" h="667">
                  <a:moveTo>
                    <a:pt x="38" y="6"/>
                  </a:move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2" y="6"/>
                    <a:pt x="43" y="5"/>
                  </a:cubicBezTo>
                  <a:cubicBezTo>
                    <a:pt x="45" y="4"/>
                    <a:pt x="46" y="4"/>
                    <a:pt x="47" y="4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73" y="4"/>
                    <a:pt x="75" y="4"/>
                    <a:pt x="76" y="5"/>
                  </a:cubicBezTo>
                  <a:cubicBezTo>
                    <a:pt x="78" y="5"/>
                    <a:pt x="79" y="6"/>
                    <a:pt x="80" y="7"/>
                  </a:cubicBezTo>
                  <a:cubicBezTo>
                    <a:pt x="86" y="10"/>
                    <a:pt x="86" y="10"/>
                    <a:pt x="86" y="10"/>
                  </a:cubicBezTo>
                  <a:cubicBezTo>
                    <a:pt x="87" y="11"/>
                    <a:pt x="89" y="12"/>
                    <a:pt x="91" y="12"/>
                  </a:cubicBezTo>
                  <a:cubicBezTo>
                    <a:pt x="93" y="12"/>
                    <a:pt x="95" y="11"/>
                    <a:pt x="97" y="10"/>
                  </a:cubicBezTo>
                  <a:cubicBezTo>
                    <a:pt x="100" y="8"/>
                    <a:pt x="100" y="8"/>
                    <a:pt x="100" y="8"/>
                  </a:cubicBezTo>
                  <a:cubicBezTo>
                    <a:pt x="101" y="7"/>
                    <a:pt x="103" y="6"/>
                    <a:pt x="104" y="6"/>
                  </a:cubicBezTo>
                  <a:cubicBezTo>
                    <a:pt x="106" y="5"/>
                    <a:pt x="107" y="5"/>
                    <a:pt x="108" y="5"/>
                  </a:cubicBezTo>
                  <a:cubicBezTo>
                    <a:pt x="116" y="5"/>
                    <a:pt x="116" y="5"/>
                    <a:pt x="116" y="5"/>
                  </a:cubicBezTo>
                  <a:cubicBezTo>
                    <a:pt x="117" y="5"/>
                    <a:pt x="119" y="5"/>
                    <a:pt x="120" y="6"/>
                  </a:cubicBezTo>
                  <a:cubicBezTo>
                    <a:pt x="122" y="7"/>
                    <a:pt x="123" y="8"/>
                    <a:pt x="124" y="8"/>
                  </a:cubicBezTo>
                  <a:cubicBezTo>
                    <a:pt x="132" y="16"/>
                    <a:pt x="132" y="16"/>
                    <a:pt x="132" y="16"/>
                  </a:cubicBezTo>
                  <a:cubicBezTo>
                    <a:pt x="133" y="17"/>
                    <a:pt x="135" y="18"/>
                    <a:pt x="137" y="18"/>
                  </a:cubicBezTo>
                  <a:cubicBezTo>
                    <a:pt x="139" y="18"/>
                    <a:pt x="141" y="17"/>
                    <a:pt x="143" y="15"/>
                  </a:cubicBezTo>
                  <a:cubicBezTo>
                    <a:pt x="144" y="14"/>
                    <a:pt x="145" y="13"/>
                    <a:pt x="147" y="13"/>
                  </a:cubicBezTo>
                  <a:cubicBezTo>
                    <a:pt x="148" y="13"/>
                    <a:pt x="148" y="13"/>
                    <a:pt x="148" y="13"/>
                  </a:cubicBezTo>
                  <a:cubicBezTo>
                    <a:pt x="175" y="28"/>
                    <a:pt x="175" y="28"/>
                    <a:pt x="175" y="28"/>
                  </a:cubicBezTo>
                  <a:cubicBezTo>
                    <a:pt x="176" y="29"/>
                    <a:pt x="177" y="30"/>
                    <a:pt x="177" y="32"/>
                  </a:cubicBezTo>
                  <a:cubicBezTo>
                    <a:pt x="177" y="33"/>
                    <a:pt x="177" y="34"/>
                    <a:pt x="177" y="34"/>
                  </a:cubicBezTo>
                  <a:cubicBezTo>
                    <a:pt x="173" y="46"/>
                    <a:pt x="173" y="46"/>
                    <a:pt x="173" y="46"/>
                  </a:cubicBezTo>
                  <a:cubicBezTo>
                    <a:pt x="172" y="47"/>
                    <a:pt x="172" y="48"/>
                    <a:pt x="172" y="49"/>
                  </a:cubicBezTo>
                  <a:cubicBezTo>
                    <a:pt x="172" y="53"/>
                    <a:pt x="173" y="56"/>
                    <a:pt x="176" y="57"/>
                  </a:cubicBezTo>
                  <a:cubicBezTo>
                    <a:pt x="198" y="72"/>
                    <a:pt x="198" y="72"/>
                    <a:pt x="198" y="72"/>
                  </a:cubicBezTo>
                  <a:cubicBezTo>
                    <a:pt x="200" y="73"/>
                    <a:pt x="203" y="77"/>
                    <a:pt x="204" y="79"/>
                  </a:cubicBezTo>
                  <a:cubicBezTo>
                    <a:pt x="210" y="90"/>
                    <a:pt x="210" y="90"/>
                    <a:pt x="210" y="90"/>
                  </a:cubicBezTo>
                  <a:cubicBezTo>
                    <a:pt x="210" y="90"/>
                    <a:pt x="210" y="91"/>
                    <a:pt x="211" y="91"/>
                  </a:cubicBezTo>
                  <a:cubicBezTo>
                    <a:pt x="211" y="92"/>
                    <a:pt x="211" y="92"/>
                    <a:pt x="212" y="92"/>
                  </a:cubicBezTo>
                  <a:cubicBezTo>
                    <a:pt x="213" y="93"/>
                    <a:pt x="213" y="93"/>
                    <a:pt x="213" y="93"/>
                  </a:cubicBezTo>
                  <a:cubicBezTo>
                    <a:pt x="214" y="93"/>
                    <a:pt x="215" y="92"/>
                    <a:pt x="215" y="92"/>
                  </a:cubicBezTo>
                  <a:cubicBezTo>
                    <a:pt x="216" y="91"/>
                    <a:pt x="216" y="90"/>
                    <a:pt x="216" y="90"/>
                  </a:cubicBezTo>
                  <a:cubicBezTo>
                    <a:pt x="216" y="89"/>
                    <a:pt x="216" y="88"/>
                    <a:pt x="216" y="87"/>
                  </a:cubicBezTo>
                  <a:cubicBezTo>
                    <a:pt x="216" y="70"/>
                    <a:pt x="216" y="70"/>
                    <a:pt x="216" y="70"/>
                  </a:cubicBezTo>
                  <a:cubicBezTo>
                    <a:pt x="216" y="66"/>
                    <a:pt x="216" y="60"/>
                    <a:pt x="215" y="56"/>
                  </a:cubicBezTo>
                  <a:cubicBezTo>
                    <a:pt x="212" y="43"/>
                    <a:pt x="212" y="43"/>
                    <a:pt x="212" y="43"/>
                  </a:cubicBezTo>
                  <a:cubicBezTo>
                    <a:pt x="211" y="43"/>
                    <a:pt x="211" y="42"/>
                    <a:pt x="211" y="42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2"/>
                    <a:pt x="211" y="42"/>
                    <a:pt x="211" y="42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2"/>
                    <a:pt x="211" y="42"/>
                    <a:pt x="211" y="42"/>
                  </a:cubicBezTo>
                  <a:cubicBezTo>
                    <a:pt x="211" y="42"/>
                    <a:pt x="211" y="42"/>
                    <a:pt x="211" y="42"/>
                  </a:cubicBezTo>
                  <a:cubicBezTo>
                    <a:pt x="211" y="42"/>
                    <a:pt x="211" y="42"/>
                    <a:pt x="211" y="42"/>
                  </a:cubicBezTo>
                  <a:cubicBezTo>
                    <a:pt x="211" y="42"/>
                    <a:pt x="211" y="42"/>
                    <a:pt x="211" y="42"/>
                  </a:cubicBezTo>
                  <a:cubicBezTo>
                    <a:pt x="211" y="42"/>
                    <a:pt x="211" y="42"/>
                    <a:pt x="211" y="42"/>
                  </a:cubicBezTo>
                  <a:cubicBezTo>
                    <a:pt x="211" y="42"/>
                    <a:pt x="211" y="42"/>
                    <a:pt x="211" y="42"/>
                  </a:cubicBezTo>
                  <a:cubicBezTo>
                    <a:pt x="211" y="42"/>
                    <a:pt x="211" y="42"/>
                    <a:pt x="211" y="42"/>
                  </a:cubicBezTo>
                  <a:cubicBezTo>
                    <a:pt x="235" y="56"/>
                    <a:pt x="235" y="56"/>
                    <a:pt x="235" y="56"/>
                  </a:cubicBezTo>
                  <a:cubicBezTo>
                    <a:pt x="236" y="57"/>
                    <a:pt x="237" y="57"/>
                    <a:pt x="238" y="57"/>
                  </a:cubicBezTo>
                  <a:cubicBezTo>
                    <a:pt x="239" y="57"/>
                    <a:pt x="241" y="56"/>
                    <a:pt x="241" y="55"/>
                  </a:cubicBezTo>
                  <a:cubicBezTo>
                    <a:pt x="242" y="54"/>
                    <a:pt x="243" y="52"/>
                    <a:pt x="243" y="51"/>
                  </a:cubicBezTo>
                  <a:cubicBezTo>
                    <a:pt x="243" y="49"/>
                    <a:pt x="243" y="49"/>
                    <a:pt x="243" y="49"/>
                  </a:cubicBezTo>
                  <a:cubicBezTo>
                    <a:pt x="243" y="48"/>
                    <a:pt x="243" y="47"/>
                    <a:pt x="243" y="47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2" y="46"/>
                    <a:pt x="242" y="46"/>
                    <a:pt x="242" y="46"/>
                  </a:cubicBezTo>
                  <a:cubicBezTo>
                    <a:pt x="242" y="47"/>
                    <a:pt x="242" y="47"/>
                    <a:pt x="242" y="47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2" y="46"/>
                    <a:pt x="242" y="46"/>
                    <a:pt x="242" y="46"/>
                  </a:cubicBezTo>
                  <a:cubicBezTo>
                    <a:pt x="242" y="47"/>
                    <a:pt x="242" y="47"/>
                    <a:pt x="242" y="47"/>
                  </a:cubicBezTo>
                  <a:cubicBezTo>
                    <a:pt x="242" y="47"/>
                    <a:pt x="242" y="47"/>
                    <a:pt x="242" y="47"/>
                  </a:cubicBezTo>
                  <a:cubicBezTo>
                    <a:pt x="242" y="47"/>
                    <a:pt x="242" y="47"/>
                    <a:pt x="242" y="47"/>
                  </a:cubicBezTo>
                  <a:cubicBezTo>
                    <a:pt x="242" y="47"/>
                    <a:pt x="242" y="47"/>
                    <a:pt x="242" y="47"/>
                  </a:cubicBezTo>
                  <a:cubicBezTo>
                    <a:pt x="242" y="47"/>
                    <a:pt x="242" y="47"/>
                    <a:pt x="242" y="47"/>
                  </a:cubicBezTo>
                  <a:cubicBezTo>
                    <a:pt x="242" y="47"/>
                    <a:pt x="242" y="47"/>
                    <a:pt x="242" y="47"/>
                  </a:cubicBezTo>
                  <a:cubicBezTo>
                    <a:pt x="242" y="47"/>
                    <a:pt x="242" y="47"/>
                    <a:pt x="242" y="47"/>
                  </a:cubicBezTo>
                  <a:cubicBezTo>
                    <a:pt x="243" y="48"/>
                    <a:pt x="243" y="48"/>
                    <a:pt x="243" y="48"/>
                  </a:cubicBezTo>
                  <a:cubicBezTo>
                    <a:pt x="275" y="83"/>
                    <a:pt x="275" y="83"/>
                    <a:pt x="275" y="83"/>
                  </a:cubicBezTo>
                  <a:cubicBezTo>
                    <a:pt x="275" y="84"/>
                    <a:pt x="276" y="85"/>
                    <a:pt x="276" y="86"/>
                  </a:cubicBezTo>
                  <a:cubicBezTo>
                    <a:pt x="276" y="87"/>
                    <a:pt x="276" y="88"/>
                    <a:pt x="275" y="89"/>
                  </a:cubicBezTo>
                  <a:cubicBezTo>
                    <a:pt x="275" y="89"/>
                    <a:pt x="274" y="90"/>
                    <a:pt x="272" y="91"/>
                  </a:cubicBezTo>
                  <a:cubicBezTo>
                    <a:pt x="271" y="92"/>
                    <a:pt x="270" y="92"/>
                    <a:pt x="269" y="92"/>
                  </a:cubicBezTo>
                  <a:cubicBezTo>
                    <a:pt x="260" y="92"/>
                    <a:pt x="260" y="92"/>
                    <a:pt x="260" y="92"/>
                  </a:cubicBezTo>
                  <a:cubicBezTo>
                    <a:pt x="258" y="92"/>
                    <a:pt x="256" y="93"/>
                    <a:pt x="254" y="94"/>
                  </a:cubicBezTo>
                  <a:cubicBezTo>
                    <a:pt x="253" y="96"/>
                    <a:pt x="252" y="98"/>
                    <a:pt x="251" y="100"/>
                  </a:cubicBezTo>
                  <a:cubicBezTo>
                    <a:pt x="251" y="103"/>
                    <a:pt x="251" y="103"/>
                    <a:pt x="251" y="103"/>
                  </a:cubicBezTo>
                  <a:cubicBezTo>
                    <a:pt x="250" y="104"/>
                    <a:pt x="250" y="104"/>
                    <a:pt x="250" y="105"/>
                  </a:cubicBezTo>
                  <a:cubicBezTo>
                    <a:pt x="250" y="106"/>
                    <a:pt x="250" y="107"/>
                    <a:pt x="251" y="108"/>
                  </a:cubicBezTo>
                  <a:cubicBezTo>
                    <a:pt x="252" y="109"/>
                    <a:pt x="252" y="109"/>
                    <a:pt x="252" y="109"/>
                  </a:cubicBezTo>
                  <a:cubicBezTo>
                    <a:pt x="253" y="109"/>
                    <a:pt x="253" y="109"/>
                    <a:pt x="254" y="109"/>
                  </a:cubicBezTo>
                  <a:cubicBezTo>
                    <a:pt x="255" y="109"/>
                    <a:pt x="256" y="109"/>
                    <a:pt x="257" y="108"/>
                  </a:cubicBezTo>
                  <a:cubicBezTo>
                    <a:pt x="258" y="108"/>
                    <a:pt x="258" y="108"/>
                    <a:pt x="258" y="108"/>
                  </a:cubicBezTo>
                  <a:cubicBezTo>
                    <a:pt x="259" y="108"/>
                    <a:pt x="261" y="108"/>
                    <a:pt x="261" y="110"/>
                  </a:cubicBezTo>
                  <a:cubicBezTo>
                    <a:pt x="268" y="118"/>
                    <a:pt x="268" y="118"/>
                    <a:pt x="268" y="118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70" y="119"/>
                    <a:pt x="270" y="119"/>
                    <a:pt x="270" y="119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70" y="119"/>
                    <a:pt x="270" y="119"/>
                    <a:pt x="270" y="119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70" y="120"/>
                    <a:pt x="270" y="120"/>
                    <a:pt x="270" y="120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70" y="120"/>
                    <a:pt x="270" y="120"/>
                    <a:pt x="270" y="120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70" y="119"/>
                    <a:pt x="270" y="119"/>
                    <a:pt x="270" y="119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70" y="119"/>
                    <a:pt x="270" y="119"/>
                    <a:pt x="270" y="119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61" y="119"/>
                    <a:pt x="261" y="119"/>
                    <a:pt x="261" y="119"/>
                  </a:cubicBezTo>
                  <a:cubicBezTo>
                    <a:pt x="259" y="119"/>
                    <a:pt x="257" y="120"/>
                    <a:pt x="255" y="121"/>
                  </a:cubicBezTo>
                  <a:cubicBezTo>
                    <a:pt x="254" y="122"/>
                    <a:pt x="252" y="124"/>
                    <a:pt x="251" y="126"/>
                  </a:cubicBezTo>
                  <a:cubicBezTo>
                    <a:pt x="236" y="155"/>
                    <a:pt x="236" y="155"/>
                    <a:pt x="236" y="155"/>
                  </a:cubicBezTo>
                  <a:cubicBezTo>
                    <a:pt x="234" y="159"/>
                    <a:pt x="233" y="164"/>
                    <a:pt x="233" y="168"/>
                  </a:cubicBezTo>
                  <a:cubicBezTo>
                    <a:pt x="233" y="176"/>
                    <a:pt x="233" y="176"/>
                    <a:pt x="233" y="176"/>
                  </a:cubicBezTo>
                  <a:cubicBezTo>
                    <a:pt x="233" y="179"/>
                    <a:pt x="232" y="185"/>
                    <a:pt x="230" y="187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6" y="194"/>
                    <a:pt x="225" y="200"/>
                    <a:pt x="225" y="204"/>
                  </a:cubicBezTo>
                  <a:cubicBezTo>
                    <a:pt x="225" y="206"/>
                    <a:pt x="225" y="206"/>
                    <a:pt x="225" y="206"/>
                  </a:cubicBezTo>
                  <a:cubicBezTo>
                    <a:pt x="225" y="208"/>
                    <a:pt x="225" y="210"/>
                    <a:pt x="225" y="212"/>
                  </a:cubicBezTo>
                  <a:cubicBezTo>
                    <a:pt x="226" y="214"/>
                    <a:pt x="226" y="215"/>
                    <a:pt x="227" y="217"/>
                  </a:cubicBezTo>
                  <a:cubicBezTo>
                    <a:pt x="228" y="217"/>
                    <a:pt x="228" y="218"/>
                    <a:pt x="229" y="220"/>
                  </a:cubicBezTo>
                  <a:cubicBezTo>
                    <a:pt x="229" y="222"/>
                    <a:pt x="229" y="224"/>
                    <a:pt x="229" y="225"/>
                  </a:cubicBezTo>
                  <a:cubicBezTo>
                    <a:pt x="229" y="228"/>
                    <a:pt x="229" y="228"/>
                    <a:pt x="229" y="228"/>
                  </a:cubicBezTo>
                  <a:cubicBezTo>
                    <a:pt x="229" y="229"/>
                    <a:pt x="229" y="230"/>
                    <a:pt x="229" y="230"/>
                  </a:cubicBezTo>
                  <a:cubicBezTo>
                    <a:pt x="229" y="230"/>
                    <a:pt x="229" y="230"/>
                    <a:pt x="229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29" y="230"/>
                    <a:pt x="229" y="230"/>
                    <a:pt x="229" y="230"/>
                  </a:cubicBezTo>
                  <a:cubicBezTo>
                    <a:pt x="229" y="230"/>
                    <a:pt x="229" y="230"/>
                    <a:pt x="229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29" y="230"/>
                    <a:pt x="229" y="230"/>
                    <a:pt x="229" y="230"/>
                  </a:cubicBezTo>
                  <a:cubicBezTo>
                    <a:pt x="230" y="231"/>
                    <a:pt x="230" y="231"/>
                    <a:pt x="230" y="231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29" y="230"/>
                    <a:pt x="229" y="230"/>
                    <a:pt x="229" y="230"/>
                  </a:cubicBezTo>
                  <a:cubicBezTo>
                    <a:pt x="230" y="231"/>
                    <a:pt x="230" y="231"/>
                    <a:pt x="230" y="231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29"/>
                    <a:pt x="230" y="229"/>
                    <a:pt x="230" y="229"/>
                  </a:cubicBezTo>
                  <a:cubicBezTo>
                    <a:pt x="227" y="225"/>
                    <a:pt x="227" y="225"/>
                    <a:pt x="227" y="225"/>
                  </a:cubicBezTo>
                  <a:cubicBezTo>
                    <a:pt x="226" y="224"/>
                    <a:pt x="225" y="223"/>
                    <a:pt x="225" y="221"/>
                  </a:cubicBezTo>
                  <a:cubicBezTo>
                    <a:pt x="224" y="219"/>
                    <a:pt x="224" y="217"/>
                    <a:pt x="224" y="216"/>
                  </a:cubicBezTo>
                  <a:cubicBezTo>
                    <a:pt x="224" y="214"/>
                    <a:pt x="223" y="212"/>
                    <a:pt x="222" y="211"/>
                  </a:cubicBezTo>
                  <a:cubicBezTo>
                    <a:pt x="220" y="209"/>
                    <a:pt x="218" y="208"/>
                    <a:pt x="216" y="208"/>
                  </a:cubicBezTo>
                  <a:cubicBezTo>
                    <a:pt x="181" y="208"/>
                    <a:pt x="181" y="208"/>
                    <a:pt x="181" y="208"/>
                  </a:cubicBezTo>
                  <a:cubicBezTo>
                    <a:pt x="179" y="208"/>
                    <a:pt x="177" y="209"/>
                    <a:pt x="176" y="210"/>
                  </a:cubicBezTo>
                  <a:cubicBezTo>
                    <a:pt x="174" y="212"/>
                    <a:pt x="173" y="213"/>
                    <a:pt x="172" y="216"/>
                  </a:cubicBezTo>
                  <a:cubicBezTo>
                    <a:pt x="166" y="234"/>
                    <a:pt x="166" y="234"/>
                    <a:pt x="166" y="234"/>
                  </a:cubicBezTo>
                  <a:cubicBezTo>
                    <a:pt x="165" y="237"/>
                    <a:pt x="164" y="240"/>
                    <a:pt x="164" y="242"/>
                  </a:cubicBezTo>
                  <a:cubicBezTo>
                    <a:pt x="164" y="244"/>
                    <a:pt x="165" y="246"/>
                    <a:pt x="165" y="248"/>
                  </a:cubicBezTo>
                  <a:cubicBezTo>
                    <a:pt x="168" y="261"/>
                    <a:pt x="168" y="261"/>
                    <a:pt x="168" y="261"/>
                  </a:cubicBezTo>
                  <a:cubicBezTo>
                    <a:pt x="169" y="263"/>
                    <a:pt x="170" y="265"/>
                    <a:pt x="171" y="267"/>
                  </a:cubicBezTo>
                  <a:cubicBezTo>
                    <a:pt x="173" y="268"/>
                    <a:pt x="175" y="269"/>
                    <a:pt x="177" y="269"/>
                  </a:cubicBezTo>
                  <a:cubicBezTo>
                    <a:pt x="187" y="269"/>
                    <a:pt x="187" y="269"/>
                    <a:pt x="187" y="269"/>
                  </a:cubicBezTo>
                  <a:cubicBezTo>
                    <a:pt x="189" y="269"/>
                    <a:pt x="191" y="268"/>
                    <a:pt x="192" y="267"/>
                  </a:cubicBezTo>
                  <a:cubicBezTo>
                    <a:pt x="194" y="265"/>
                    <a:pt x="195" y="264"/>
                    <a:pt x="196" y="262"/>
                  </a:cubicBezTo>
                  <a:cubicBezTo>
                    <a:pt x="196" y="261"/>
                    <a:pt x="196" y="261"/>
                    <a:pt x="196" y="261"/>
                  </a:cubicBezTo>
                  <a:cubicBezTo>
                    <a:pt x="197" y="260"/>
                    <a:pt x="197" y="258"/>
                    <a:pt x="198" y="257"/>
                  </a:cubicBezTo>
                  <a:cubicBezTo>
                    <a:pt x="199" y="257"/>
                    <a:pt x="201" y="256"/>
                    <a:pt x="201" y="256"/>
                  </a:cubicBezTo>
                  <a:cubicBezTo>
                    <a:pt x="203" y="256"/>
                    <a:pt x="203" y="256"/>
                    <a:pt x="203" y="256"/>
                  </a:cubicBezTo>
                  <a:cubicBezTo>
                    <a:pt x="203" y="256"/>
                    <a:pt x="204" y="256"/>
                    <a:pt x="204" y="257"/>
                  </a:cubicBezTo>
                  <a:cubicBezTo>
                    <a:pt x="204" y="257"/>
                    <a:pt x="205" y="258"/>
                    <a:pt x="205" y="259"/>
                  </a:cubicBezTo>
                  <a:cubicBezTo>
                    <a:pt x="205" y="260"/>
                    <a:pt x="205" y="260"/>
                    <a:pt x="205" y="260"/>
                  </a:cubicBezTo>
                  <a:cubicBezTo>
                    <a:pt x="202" y="275"/>
                    <a:pt x="202" y="275"/>
                    <a:pt x="202" y="275"/>
                  </a:cubicBezTo>
                  <a:cubicBezTo>
                    <a:pt x="202" y="276"/>
                    <a:pt x="201" y="277"/>
                    <a:pt x="201" y="277"/>
                  </a:cubicBezTo>
                  <a:cubicBezTo>
                    <a:pt x="201" y="279"/>
                    <a:pt x="202" y="281"/>
                    <a:pt x="203" y="282"/>
                  </a:cubicBezTo>
                  <a:cubicBezTo>
                    <a:pt x="204" y="284"/>
                    <a:pt x="206" y="285"/>
                    <a:pt x="207" y="285"/>
                  </a:cubicBezTo>
                  <a:cubicBezTo>
                    <a:pt x="209" y="285"/>
                    <a:pt x="211" y="284"/>
                    <a:pt x="212" y="284"/>
                  </a:cubicBezTo>
                  <a:cubicBezTo>
                    <a:pt x="214" y="283"/>
                    <a:pt x="215" y="283"/>
                    <a:pt x="216" y="281"/>
                  </a:cubicBezTo>
                  <a:cubicBezTo>
                    <a:pt x="215" y="281"/>
                    <a:pt x="215" y="281"/>
                    <a:pt x="215" y="281"/>
                  </a:cubicBezTo>
                  <a:cubicBezTo>
                    <a:pt x="215" y="282"/>
                    <a:pt x="215" y="282"/>
                    <a:pt x="215" y="282"/>
                  </a:cubicBezTo>
                  <a:cubicBezTo>
                    <a:pt x="216" y="281"/>
                    <a:pt x="216" y="281"/>
                    <a:pt x="216" y="281"/>
                  </a:cubicBezTo>
                  <a:cubicBezTo>
                    <a:pt x="215" y="281"/>
                    <a:pt x="215" y="281"/>
                    <a:pt x="215" y="281"/>
                  </a:cubicBezTo>
                  <a:cubicBezTo>
                    <a:pt x="215" y="282"/>
                    <a:pt x="215" y="282"/>
                    <a:pt x="215" y="282"/>
                  </a:cubicBezTo>
                  <a:cubicBezTo>
                    <a:pt x="215" y="281"/>
                    <a:pt x="215" y="281"/>
                    <a:pt x="215" y="281"/>
                  </a:cubicBezTo>
                  <a:cubicBezTo>
                    <a:pt x="215" y="282"/>
                    <a:pt x="215" y="282"/>
                    <a:pt x="215" y="282"/>
                  </a:cubicBezTo>
                  <a:cubicBezTo>
                    <a:pt x="215" y="282"/>
                    <a:pt x="215" y="282"/>
                    <a:pt x="215" y="282"/>
                  </a:cubicBezTo>
                  <a:cubicBezTo>
                    <a:pt x="215" y="281"/>
                    <a:pt x="215" y="281"/>
                    <a:pt x="215" y="281"/>
                  </a:cubicBezTo>
                  <a:cubicBezTo>
                    <a:pt x="215" y="282"/>
                    <a:pt x="215" y="282"/>
                    <a:pt x="215" y="282"/>
                  </a:cubicBezTo>
                  <a:cubicBezTo>
                    <a:pt x="216" y="282"/>
                    <a:pt x="216" y="282"/>
                    <a:pt x="216" y="282"/>
                  </a:cubicBezTo>
                  <a:cubicBezTo>
                    <a:pt x="217" y="283"/>
                    <a:pt x="217" y="283"/>
                    <a:pt x="218" y="284"/>
                  </a:cubicBezTo>
                  <a:cubicBezTo>
                    <a:pt x="222" y="290"/>
                    <a:pt x="222" y="290"/>
                    <a:pt x="222" y="290"/>
                  </a:cubicBezTo>
                  <a:cubicBezTo>
                    <a:pt x="223" y="292"/>
                    <a:pt x="223" y="293"/>
                    <a:pt x="223" y="295"/>
                  </a:cubicBezTo>
                  <a:cubicBezTo>
                    <a:pt x="223" y="296"/>
                    <a:pt x="223" y="296"/>
                    <a:pt x="223" y="296"/>
                  </a:cubicBezTo>
                  <a:cubicBezTo>
                    <a:pt x="223" y="296"/>
                    <a:pt x="223" y="296"/>
                    <a:pt x="223" y="296"/>
                  </a:cubicBezTo>
                  <a:cubicBezTo>
                    <a:pt x="223" y="296"/>
                    <a:pt x="223" y="296"/>
                    <a:pt x="223" y="296"/>
                  </a:cubicBezTo>
                  <a:cubicBezTo>
                    <a:pt x="222" y="297"/>
                    <a:pt x="222" y="299"/>
                    <a:pt x="222" y="301"/>
                  </a:cubicBezTo>
                  <a:cubicBezTo>
                    <a:pt x="222" y="303"/>
                    <a:pt x="222" y="305"/>
                    <a:pt x="223" y="307"/>
                  </a:cubicBezTo>
                  <a:cubicBezTo>
                    <a:pt x="225" y="313"/>
                    <a:pt x="225" y="313"/>
                    <a:pt x="225" y="313"/>
                  </a:cubicBezTo>
                  <a:cubicBezTo>
                    <a:pt x="225" y="315"/>
                    <a:pt x="227" y="316"/>
                    <a:pt x="228" y="318"/>
                  </a:cubicBezTo>
                  <a:cubicBezTo>
                    <a:pt x="230" y="319"/>
                    <a:pt x="232" y="320"/>
                    <a:pt x="234" y="320"/>
                  </a:cubicBezTo>
                  <a:cubicBezTo>
                    <a:pt x="240" y="320"/>
                    <a:pt x="240" y="320"/>
                    <a:pt x="240" y="320"/>
                  </a:cubicBezTo>
                  <a:cubicBezTo>
                    <a:pt x="241" y="320"/>
                    <a:pt x="242" y="320"/>
                    <a:pt x="244" y="321"/>
                  </a:cubicBezTo>
                  <a:cubicBezTo>
                    <a:pt x="245" y="322"/>
                    <a:pt x="247" y="323"/>
                    <a:pt x="248" y="323"/>
                  </a:cubicBezTo>
                  <a:cubicBezTo>
                    <a:pt x="249" y="325"/>
                    <a:pt x="249" y="325"/>
                    <a:pt x="249" y="325"/>
                  </a:cubicBezTo>
                  <a:cubicBezTo>
                    <a:pt x="251" y="326"/>
                    <a:pt x="252" y="327"/>
                    <a:pt x="254" y="327"/>
                  </a:cubicBezTo>
                  <a:cubicBezTo>
                    <a:pt x="256" y="327"/>
                    <a:pt x="259" y="326"/>
                    <a:pt x="260" y="324"/>
                  </a:cubicBezTo>
                  <a:cubicBezTo>
                    <a:pt x="273" y="307"/>
                    <a:pt x="273" y="307"/>
                    <a:pt x="273" y="307"/>
                  </a:cubicBezTo>
                  <a:cubicBezTo>
                    <a:pt x="274" y="306"/>
                    <a:pt x="276" y="305"/>
                    <a:pt x="277" y="305"/>
                  </a:cubicBezTo>
                  <a:cubicBezTo>
                    <a:pt x="278" y="305"/>
                    <a:pt x="278" y="305"/>
                    <a:pt x="279" y="305"/>
                  </a:cubicBezTo>
                  <a:cubicBezTo>
                    <a:pt x="319" y="323"/>
                    <a:pt x="319" y="323"/>
                    <a:pt x="319" y="323"/>
                  </a:cubicBezTo>
                  <a:cubicBezTo>
                    <a:pt x="321" y="324"/>
                    <a:pt x="325" y="326"/>
                    <a:pt x="327" y="328"/>
                  </a:cubicBezTo>
                  <a:cubicBezTo>
                    <a:pt x="359" y="359"/>
                    <a:pt x="359" y="359"/>
                    <a:pt x="359" y="359"/>
                  </a:cubicBezTo>
                  <a:cubicBezTo>
                    <a:pt x="359" y="360"/>
                    <a:pt x="360" y="361"/>
                    <a:pt x="360" y="362"/>
                  </a:cubicBezTo>
                  <a:cubicBezTo>
                    <a:pt x="361" y="364"/>
                    <a:pt x="361" y="365"/>
                    <a:pt x="361" y="367"/>
                  </a:cubicBezTo>
                  <a:cubicBezTo>
                    <a:pt x="361" y="368"/>
                    <a:pt x="361" y="368"/>
                    <a:pt x="361" y="368"/>
                  </a:cubicBezTo>
                  <a:cubicBezTo>
                    <a:pt x="360" y="374"/>
                    <a:pt x="360" y="374"/>
                    <a:pt x="360" y="374"/>
                  </a:cubicBezTo>
                  <a:cubicBezTo>
                    <a:pt x="360" y="374"/>
                    <a:pt x="360" y="375"/>
                    <a:pt x="360" y="376"/>
                  </a:cubicBezTo>
                  <a:cubicBezTo>
                    <a:pt x="360" y="378"/>
                    <a:pt x="360" y="379"/>
                    <a:pt x="361" y="381"/>
                  </a:cubicBezTo>
                  <a:cubicBezTo>
                    <a:pt x="362" y="383"/>
                    <a:pt x="363" y="384"/>
                    <a:pt x="364" y="385"/>
                  </a:cubicBezTo>
                  <a:cubicBezTo>
                    <a:pt x="365" y="386"/>
                    <a:pt x="367" y="386"/>
                    <a:pt x="368" y="386"/>
                  </a:cubicBezTo>
                  <a:cubicBezTo>
                    <a:pt x="370" y="386"/>
                    <a:pt x="373" y="385"/>
                    <a:pt x="375" y="383"/>
                  </a:cubicBezTo>
                  <a:cubicBezTo>
                    <a:pt x="376" y="382"/>
                    <a:pt x="377" y="381"/>
                    <a:pt x="378" y="381"/>
                  </a:cubicBezTo>
                  <a:cubicBezTo>
                    <a:pt x="379" y="381"/>
                    <a:pt x="380" y="381"/>
                    <a:pt x="380" y="382"/>
                  </a:cubicBezTo>
                  <a:cubicBezTo>
                    <a:pt x="422" y="407"/>
                    <a:pt x="422" y="407"/>
                    <a:pt x="422" y="407"/>
                  </a:cubicBezTo>
                  <a:cubicBezTo>
                    <a:pt x="423" y="407"/>
                    <a:pt x="424" y="408"/>
                    <a:pt x="424" y="409"/>
                  </a:cubicBezTo>
                  <a:cubicBezTo>
                    <a:pt x="425" y="410"/>
                    <a:pt x="425" y="412"/>
                    <a:pt x="425" y="413"/>
                  </a:cubicBezTo>
                  <a:cubicBezTo>
                    <a:pt x="425" y="414"/>
                    <a:pt x="425" y="414"/>
                    <a:pt x="425" y="414"/>
                  </a:cubicBezTo>
                  <a:cubicBezTo>
                    <a:pt x="423" y="426"/>
                    <a:pt x="423" y="426"/>
                    <a:pt x="423" y="426"/>
                  </a:cubicBezTo>
                  <a:cubicBezTo>
                    <a:pt x="423" y="429"/>
                    <a:pt x="421" y="434"/>
                    <a:pt x="419" y="436"/>
                  </a:cubicBezTo>
                  <a:cubicBezTo>
                    <a:pt x="315" y="584"/>
                    <a:pt x="315" y="584"/>
                    <a:pt x="315" y="584"/>
                  </a:cubicBezTo>
                  <a:cubicBezTo>
                    <a:pt x="313" y="587"/>
                    <a:pt x="311" y="592"/>
                    <a:pt x="310" y="596"/>
                  </a:cubicBezTo>
                  <a:cubicBezTo>
                    <a:pt x="303" y="621"/>
                    <a:pt x="303" y="621"/>
                    <a:pt x="303" y="621"/>
                  </a:cubicBezTo>
                  <a:cubicBezTo>
                    <a:pt x="302" y="625"/>
                    <a:pt x="301" y="631"/>
                    <a:pt x="301" y="635"/>
                  </a:cubicBezTo>
                  <a:cubicBezTo>
                    <a:pt x="301" y="662"/>
                    <a:pt x="301" y="662"/>
                    <a:pt x="301" y="662"/>
                  </a:cubicBezTo>
                  <a:cubicBezTo>
                    <a:pt x="301" y="663"/>
                    <a:pt x="301" y="663"/>
                    <a:pt x="301" y="663"/>
                  </a:cubicBezTo>
                  <a:cubicBezTo>
                    <a:pt x="301" y="663"/>
                    <a:pt x="301" y="663"/>
                    <a:pt x="301" y="663"/>
                  </a:cubicBezTo>
                  <a:cubicBezTo>
                    <a:pt x="302" y="664"/>
                    <a:pt x="302" y="664"/>
                    <a:pt x="302" y="664"/>
                  </a:cubicBezTo>
                  <a:cubicBezTo>
                    <a:pt x="302" y="663"/>
                    <a:pt x="302" y="663"/>
                    <a:pt x="302" y="663"/>
                  </a:cubicBezTo>
                  <a:cubicBezTo>
                    <a:pt x="301" y="663"/>
                    <a:pt x="301" y="663"/>
                    <a:pt x="301" y="663"/>
                  </a:cubicBezTo>
                  <a:cubicBezTo>
                    <a:pt x="302" y="664"/>
                    <a:pt x="302" y="664"/>
                    <a:pt x="302" y="664"/>
                  </a:cubicBezTo>
                  <a:cubicBezTo>
                    <a:pt x="302" y="663"/>
                    <a:pt x="302" y="663"/>
                    <a:pt x="302" y="663"/>
                  </a:cubicBezTo>
                  <a:cubicBezTo>
                    <a:pt x="303" y="664"/>
                    <a:pt x="303" y="664"/>
                    <a:pt x="303" y="664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2" y="663"/>
                    <a:pt x="302" y="663"/>
                    <a:pt x="302" y="663"/>
                  </a:cubicBezTo>
                  <a:cubicBezTo>
                    <a:pt x="303" y="664"/>
                    <a:pt x="303" y="664"/>
                    <a:pt x="303" y="664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4"/>
                    <a:pt x="303" y="664"/>
                    <a:pt x="303" y="664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4"/>
                    <a:pt x="303" y="664"/>
                    <a:pt x="303" y="664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2"/>
                  </a:cubicBezTo>
                  <a:cubicBezTo>
                    <a:pt x="286" y="629"/>
                    <a:pt x="286" y="629"/>
                    <a:pt x="286" y="629"/>
                  </a:cubicBezTo>
                  <a:cubicBezTo>
                    <a:pt x="284" y="627"/>
                    <a:pt x="283" y="621"/>
                    <a:pt x="283" y="618"/>
                  </a:cubicBezTo>
                  <a:cubicBezTo>
                    <a:pt x="283" y="479"/>
                    <a:pt x="283" y="479"/>
                    <a:pt x="283" y="479"/>
                  </a:cubicBezTo>
                  <a:cubicBezTo>
                    <a:pt x="283" y="474"/>
                    <a:pt x="282" y="469"/>
                    <a:pt x="280" y="465"/>
                  </a:cubicBezTo>
                  <a:cubicBezTo>
                    <a:pt x="244" y="405"/>
                    <a:pt x="244" y="405"/>
                    <a:pt x="244" y="405"/>
                  </a:cubicBezTo>
                  <a:cubicBezTo>
                    <a:pt x="243" y="403"/>
                    <a:pt x="242" y="400"/>
                    <a:pt x="242" y="397"/>
                  </a:cubicBezTo>
                  <a:cubicBezTo>
                    <a:pt x="242" y="396"/>
                    <a:pt x="242" y="395"/>
                    <a:pt x="242" y="395"/>
                  </a:cubicBezTo>
                  <a:cubicBezTo>
                    <a:pt x="250" y="346"/>
                    <a:pt x="250" y="346"/>
                    <a:pt x="250" y="346"/>
                  </a:cubicBezTo>
                  <a:cubicBezTo>
                    <a:pt x="251" y="345"/>
                    <a:pt x="251" y="344"/>
                    <a:pt x="251" y="343"/>
                  </a:cubicBezTo>
                  <a:cubicBezTo>
                    <a:pt x="251" y="340"/>
                    <a:pt x="250" y="336"/>
                    <a:pt x="248" y="333"/>
                  </a:cubicBezTo>
                  <a:cubicBezTo>
                    <a:pt x="248" y="333"/>
                    <a:pt x="248" y="333"/>
                    <a:pt x="248" y="333"/>
                  </a:cubicBezTo>
                  <a:cubicBezTo>
                    <a:pt x="247" y="332"/>
                    <a:pt x="247" y="332"/>
                    <a:pt x="247" y="332"/>
                  </a:cubicBezTo>
                  <a:cubicBezTo>
                    <a:pt x="247" y="332"/>
                    <a:pt x="247" y="332"/>
                    <a:pt x="247" y="332"/>
                  </a:cubicBezTo>
                  <a:cubicBezTo>
                    <a:pt x="246" y="330"/>
                    <a:pt x="245" y="328"/>
                    <a:pt x="243" y="327"/>
                  </a:cubicBezTo>
                  <a:cubicBezTo>
                    <a:pt x="241" y="326"/>
                    <a:pt x="239" y="325"/>
                    <a:pt x="237" y="325"/>
                  </a:cubicBezTo>
                  <a:cubicBezTo>
                    <a:pt x="228" y="325"/>
                    <a:pt x="228" y="325"/>
                    <a:pt x="228" y="325"/>
                  </a:cubicBezTo>
                  <a:cubicBezTo>
                    <a:pt x="227" y="325"/>
                    <a:pt x="225" y="325"/>
                    <a:pt x="224" y="324"/>
                  </a:cubicBezTo>
                  <a:cubicBezTo>
                    <a:pt x="223" y="323"/>
                    <a:pt x="222" y="322"/>
                    <a:pt x="221" y="321"/>
                  </a:cubicBezTo>
                  <a:cubicBezTo>
                    <a:pt x="211" y="302"/>
                    <a:pt x="211" y="302"/>
                    <a:pt x="211" y="302"/>
                  </a:cubicBezTo>
                  <a:cubicBezTo>
                    <a:pt x="209" y="299"/>
                    <a:pt x="206" y="295"/>
                    <a:pt x="203" y="293"/>
                  </a:cubicBezTo>
                  <a:cubicBezTo>
                    <a:pt x="181" y="280"/>
                    <a:pt x="181" y="280"/>
                    <a:pt x="181" y="280"/>
                  </a:cubicBezTo>
                  <a:cubicBezTo>
                    <a:pt x="178" y="278"/>
                    <a:pt x="174" y="277"/>
                    <a:pt x="170" y="277"/>
                  </a:cubicBezTo>
                  <a:cubicBezTo>
                    <a:pt x="162" y="277"/>
                    <a:pt x="162" y="277"/>
                    <a:pt x="162" y="277"/>
                  </a:cubicBezTo>
                  <a:cubicBezTo>
                    <a:pt x="161" y="277"/>
                    <a:pt x="159" y="276"/>
                    <a:pt x="157" y="276"/>
                  </a:cubicBezTo>
                  <a:cubicBezTo>
                    <a:pt x="156" y="275"/>
                    <a:pt x="154" y="274"/>
                    <a:pt x="153" y="274"/>
                  </a:cubicBezTo>
                  <a:cubicBezTo>
                    <a:pt x="140" y="263"/>
                    <a:pt x="140" y="263"/>
                    <a:pt x="140" y="263"/>
                  </a:cubicBezTo>
                  <a:cubicBezTo>
                    <a:pt x="139" y="262"/>
                    <a:pt x="138" y="261"/>
                    <a:pt x="137" y="259"/>
                  </a:cubicBezTo>
                  <a:cubicBezTo>
                    <a:pt x="136" y="258"/>
                    <a:pt x="136" y="256"/>
                    <a:pt x="136" y="254"/>
                  </a:cubicBezTo>
                  <a:cubicBezTo>
                    <a:pt x="136" y="249"/>
                    <a:pt x="136" y="249"/>
                    <a:pt x="136" y="249"/>
                  </a:cubicBezTo>
                  <a:cubicBezTo>
                    <a:pt x="136" y="245"/>
                    <a:pt x="135" y="239"/>
                    <a:pt x="133" y="236"/>
                  </a:cubicBezTo>
                  <a:cubicBezTo>
                    <a:pt x="113" y="201"/>
                    <a:pt x="113" y="201"/>
                    <a:pt x="113" y="201"/>
                  </a:cubicBezTo>
                  <a:cubicBezTo>
                    <a:pt x="112" y="201"/>
                    <a:pt x="112" y="200"/>
                    <a:pt x="112" y="200"/>
                  </a:cubicBezTo>
                  <a:cubicBezTo>
                    <a:pt x="111" y="199"/>
                    <a:pt x="111" y="199"/>
                    <a:pt x="111" y="199"/>
                  </a:cubicBezTo>
                  <a:cubicBezTo>
                    <a:pt x="110" y="199"/>
                    <a:pt x="110" y="198"/>
                    <a:pt x="109" y="198"/>
                  </a:cubicBezTo>
                  <a:cubicBezTo>
                    <a:pt x="108" y="199"/>
                    <a:pt x="108" y="199"/>
                    <a:pt x="108" y="199"/>
                  </a:cubicBezTo>
                  <a:cubicBezTo>
                    <a:pt x="107" y="199"/>
                    <a:pt x="107" y="200"/>
                    <a:pt x="107" y="200"/>
                  </a:cubicBezTo>
                  <a:cubicBezTo>
                    <a:pt x="107" y="201"/>
                    <a:pt x="107" y="201"/>
                    <a:pt x="107" y="201"/>
                  </a:cubicBezTo>
                  <a:cubicBezTo>
                    <a:pt x="107" y="202"/>
                    <a:pt x="107" y="203"/>
                    <a:pt x="107" y="204"/>
                  </a:cubicBezTo>
                  <a:cubicBezTo>
                    <a:pt x="116" y="239"/>
                    <a:pt x="116" y="239"/>
                    <a:pt x="116" y="239"/>
                  </a:cubicBezTo>
                  <a:cubicBezTo>
                    <a:pt x="116" y="240"/>
                    <a:pt x="116" y="240"/>
                    <a:pt x="116" y="240"/>
                  </a:cubicBezTo>
                  <a:cubicBezTo>
                    <a:pt x="116" y="240"/>
                    <a:pt x="116" y="240"/>
                    <a:pt x="116" y="240"/>
                  </a:cubicBezTo>
                  <a:cubicBezTo>
                    <a:pt x="116" y="241"/>
                    <a:pt x="116" y="241"/>
                    <a:pt x="116" y="241"/>
                  </a:cubicBezTo>
                  <a:cubicBezTo>
                    <a:pt x="116" y="241"/>
                    <a:pt x="116" y="241"/>
                    <a:pt x="116" y="241"/>
                  </a:cubicBezTo>
                  <a:cubicBezTo>
                    <a:pt x="118" y="241"/>
                    <a:pt x="118" y="241"/>
                    <a:pt x="118" y="241"/>
                  </a:cubicBezTo>
                  <a:cubicBezTo>
                    <a:pt x="116" y="240"/>
                    <a:pt x="116" y="240"/>
                    <a:pt x="116" y="240"/>
                  </a:cubicBezTo>
                  <a:cubicBezTo>
                    <a:pt x="116" y="241"/>
                    <a:pt x="116" y="241"/>
                    <a:pt x="116" y="241"/>
                  </a:cubicBezTo>
                  <a:cubicBezTo>
                    <a:pt x="118" y="241"/>
                    <a:pt x="118" y="241"/>
                    <a:pt x="118" y="241"/>
                  </a:cubicBezTo>
                  <a:cubicBezTo>
                    <a:pt x="116" y="240"/>
                    <a:pt x="116" y="240"/>
                    <a:pt x="116" y="240"/>
                  </a:cubicBezTo>
                  <a:cubicBezTo>
                    <a:pt x="118" y="241"/>
                    <a:pt x="118" y="241"/>
                    <a:pt x="118" y="241"/>
                  </a:cubicBezTo>
                  <a:cubicBezTo>
                    <a:pt x="117" y="239"/>
                    <a:pt x="117" y="239"/>
                    <a:pt x="117" y="239"/>
                  </a:cubicBezTo>
                  <a:cubicBezTo>
                    <a:pt x="116" y="240"/>
                    <a:pt x="116" y="240"/>
                    <a:pt x="116" y="240"/>
                  </a:cubicBezTo>
                  <a:cubicBezTo>
                    <a:pt x="118" y="241"/>
                    <a:pt x="118" y="241"/>
                    <a:pt x="118" y="241"/>
                  </a:cubicBezTo>
                  <a:cubicBezTo>
                    <a:pt x="117" y="239"/>
                    <a:pt x="117" y="239"/>
                    <a:pt x="117" y="239"/>
                  </a:cubicBezTo>
                  <a:cubicBezTo>
                    <a:pt x="118" y="241"/>
                    <a:pt x="118" y="241"/>
                    <a:pt x="118" y="241"/>
                  </a:cubicBezTo>
                  <a:cubicBezTo>
                    <a:pt x="118" y="239"/>
                    <a:pt x="118" y="239"/>
                    <a:pt x="118" y="239"/>
                  </a:cubicBezTo>
                  <a:cubicBezTo>
                    <a:pt x="117" y="239"/>
                    <a:pt x="117" y="239"/>
                    <a:pt x="117" y="239"/>
                  </a:cubicBezTo>
                  <a:cubicBezTo>
                    <a:pt x="118" y="241"/>
                    <a:pt x="118" y="241"/>
                    <a:pt x="118" y="241"/>
                  </a:cubicBezTo>
                  <a:cubicBezTo>
                    <a:pt x="118" y="239"/>
                    <a:pt x="118" y="239"/>
                    <a:pt x="118" y="239"/>
                  </a:cubicBezTo>
                  <a:cubicBezTo>
                    <a:pt x="118" y="241"/>
                    <a:pt x="118" y="241"/>
                    <a:pt x="118" y="241"/>
                  </a:cubicBezTo>
                  <a:cubicBezTo>
                    <a:pt x="120" y="239"/>
                    <a:pt x="120" y="239"/>
                    <a:pt x="120" y="239"/>
                  </a:cubicBezTo>
                  <a:cubicBezTo>
                    <a:pt x="119" y="239"/>
                    <a:pt x="119" y="239"/>
                    <a:pt x="118" y="239"/>
                  </a:cubicBezTo>
                  <a:cubicBezTo>
                    <a:pt x="118" y="241"/>
                    <a:pt x="118" y="241"/>
                    <a:pt x="118" y="241"/>
                  </a:cubicBezTo>
                  <a:cubicBezTo>
                    <a:pt x="120" y="239"/>
                    <a:pt x="120" y="239"/>
                    <a:pt x="120" y="239"/>
                  </a:cubicBezTo>
                  <a:cubicBezTo>
                    <a:pt x="119" y="240"/>
                    <a:pt x="119" y="240"/>
                    <a:pt x="119" y="240"/>
                  </a:cubicBezTo>
                  <a:cubicBezTo>
                    <a:pt x="120" y="239"/>
                    <a:pt x="120" y="239"/>
                    <a:pt x="120" y="239"/>
                  </a:cubicBezTo>
                  <a:cubicBezTo>
                    <a:pt x="120" y="239"/>
                    <a:pt x="120" y="239"/>
                    <a:pt x="120" y="239"/>
                  </a:cubicBezTo>
                  <a:cubicBezTo>
                    <a:pt x="119" y="240"/>
                    <a:pt x="119" y="240"/>
                    <a:pt x="119" y="240"/>
                  </a:cubicBezTo>
                  <a:cubicBezTo>
                    <a:pt x="120" y="239"/>
                    <a:pt x="120" y="239"/>
                    <a:pt x="120" y="239"/>
                  </a:cubicBezTo>
                  <a:cubicBezTo>
                    <a:pt x="120" y="239"/>
                    <a:pt x="119" y="239"/>
                    <a:pt x="119" y="238"/>
                  </a:cubicBezTo>
                  <a:cubicBezTo>
                    <a:pt x="84" y="155"/>
                    <a:pt x="84" y="155"/>
                    <a:pt x="84" y="155"/>
                  </a:cubicBezTo>
                  <a:cubicBezTo>
                    <a:pt x="83" y="153"/>
                    <a:pt x="83" y="150"/>
                    <a:pt x="83" y="147"/>
                  </a:cubicBezTo>
                  <a:cubicBezTo>
                    <a:pt x="83" y="146"/>
                    <a:pt x="83" y="145"/>
                    <a:pt x="83" y="144"/>
                  </a:cubicBezTo>
                  <a:cubicBezTo>
                    <a:pt x="91" y="108"/>
                    <a:pt x="91" y="108"/>
                    <a:pt x="91" y="108"/>
                  </a:cubicBezTo>
                  <a:cubicBezTo>
                    <a:pt x="92" y="107"/>
                    <a:pt x="92" y="105"/>
                    <a:pt x="92" y="104"/>
                  </a:cubicBezTo>
                  <a:cubicBezTo>
                    <a:pt x="92" y="100"/>
                    <a:pt x="91" y="97"/>
                    <a:pt x="90" y="95"/>
                  </a:cubicBezTo>
                  <a:cubicBezTo>
                    <a:pt x="72" y="53"/>
                    <a:pt x="72" y="53"/>
                    <a:pt x="72" y="53"/>
                  </a:cubicBezTo>
                  <a:cubicBezTo>
                    <a:pt x="72" y="51"/>
                    <a:pt x="71" y="50"/>
                    <a:pt x="70" y="49"/>
                  </a:cubicBezTo>
                  <a:cubicBezTo>
                    <a:pt x="69" y="48"/>
                    <a:pt x="67" y="48"/>
                    <a:pt x="66" y="48"/>
                  </a:cubicBezTo>
                  <a:cubicBezTo>
                    <a:pt x="65" y="48"/>
                    <a:pt x="64" y="48"/>
                    <a:pt x="63" y="48"/>
                  </a:cubicBezTo>
                  <a:cubicBezTo>
                    <a:pt x="63" y="48"/>
                    <a:pt x="63" y="48"/>
                    <a:pt x="63" y="48"/>
                  </a:cubicBezTo>
                  <a:cubicBezTo>
                    <a:pt x="63" y="48"/>
                    <a:pt x="63" y="48"/>
                    <a:pt x="63" y="48"/>
                  </a:cubicBezTo>
                  <a:cubicBezTo>
                    <a:pt x="63" y="49"/>
                    <a:pt x="62" y="49"/>
                    <a:pt x="61" y="49"/>
                  </a:cubicBezTo>
                  <a:cubicBezTo>
                    <a:pt x="60" y="49"/>
                    <a:pt x="58" y="48"/>
                    <a:pt x="57" y="47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48" y="40"/>
                    <a:pt x="46" y="39"/>
                    <a:pt x="44" y="39"/>
                  </a:cubicBezTo>
                  <a:cubicBezTo>
                    <a:pt x="42" y="39"/>
                    <a:pt x="40" y="40"/>
                    <a:pt x="39" y="41"/>
                  </a:cubicBezTo>
                  <a:cubicBezTo>
                    <a:pt x="4" y="63"/>
                    <a:pt x="4" y="63"/>
                    <a:pt x="4" y="63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4" y="64"/>
                    <a:pt x="4" y="64"/>
                    <a:pt x="4" y="64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4" y="64"/>
                    <a:pt x="4" y="64"/>
                    <a:pt x="4" y="64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5" y="65"/>
                    <a:pt x="5" y="65"/>
                    <a:pt x="5" y="65"/>
                  </a:cubicBezTo>
                  <a:cubicBezTo>
                    <a:pt x="5" y="65"/>
                    <a:pt x="5" y="65"/>
                    <a:pt x="4" y="64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5" y="65"/>
                    <a:pt x="5" y="65"/>
                    <a:pt x="5" y="65"/>
                  </a:cubicBezTo>
                  <a:cubicBezTo>
                    <a:pt x="4" y="65"/>
                    <a:pt x="4" y="65"/>
                    <a:pt x="4" y="65"/>
                  </a:cubicBezTo>
                  <a:cubicBezTo>
                    <a:pt x="5" y="65"/>
                    <a:pt x="5" y="65"/>
                    <a:pt x="5" y="65"/>
                  </a:cubicBezTo>
                  <a:cubicBezTo>
                    <a:pt x="5" y="65"/>
                    <a:pt x="5" y="65"/>
                    <a:pt x="5" y="65"/>
                  </a:cubicBezTo>
                  <a:cubicBezTo>
                    <a:pt x="4" y="65"/>
                    <a:pt x="4" y="65"/>
                    <a:pt x="4" y="65"/>
                  </a:cubicBezTo>
                  <a:cubicBezTo>
                    <a:pt x="5" y="65"/>
                    <a:pt x="5" y="65"/>
                    <a:pt x="5" y="65"/>
                  </a:cubicBezTo>
                  <a:cubicBezTo>
                    <a:pt x="5" y="65"/>
                    <a:pt x="5" y="65"/>
                    <a:pt x="5" y="64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2" y="53"/>
                    <a:pt x="12" y="51"/>
                    <a:pt x="12" y="50"/>
                  </a:cubicBezTo>
                  <a:cubicBezTo>
                    <a:pt x="12" y="47"/>
                    <a:pt x="11" y="44"/>
                    <a:pt x="9" y="43"/>
                  </a:cubicBezTo>
                  <a:cubicBezTo>
                    <a:pt x="8" y="44"/>
                    <a:pt x="8" y="44"/>
                    <a:pt x="8" y="44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8" y="42"/>
                    <a:pt x="8" y="41"/>
                    <a:pt x="8" y="41"/>
                  </a:cubicBezTo>
                  <a:cubicBezTo>
                    <a:pt x="8" y="40"/>
                    <a:pt x="8" y="39"/>
                    <a:pt x="9" y="39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20" y="29"/>
                    <a:pt x="23" y="25"/>
                    <a:pt x="26" y="23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0" y="22"/>
                    <a:pt x="17" y="26"/>
                    <a:pt x="15" y="28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4" y="37"/>
                    <a:pt x="3" y="39"/>
                    <a:pt x="3" y="41"/>
                  </a:cubicBezTo>
                  <a:cubicBezTo>
                    <a:pt x="3" y="43"/>
                    <a:pt x="4" y="45"/>
                    <a:pt x="6" y="46"/>
                  </a:cubicBezTo>
                  <a:cubicBezTo>
                    <a:pt x="7" y="44"/>
                    <a:pt x="7" y="44"/>
                    <a:pt x="7" y="44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7" y="47"/>
                    <a:pt x="8" y="48"/>
                    <a:pt x="8" y="50"/>
                  </a:cubicBezTo>
                  <a:cubicBezTo>
                    <a:pt x="8" y="50"/>
                    <a:pt x="8" y="51"/>
                    <a:pt x="7" y="52"/>
                  </a:cubicBezTo>
                  <a:cubicBezTo>
                    <a:pt x="2" y="62"/>
                    <a:pt x="2" y="62"/>
                    <a:pt x="2" y="62"/>
                  </a:cubicBezTo>
                  <a:cubicBezTo>
                    <a:pt x="1" y="62"/>
                    <a:pt x="1" y="63"/>
                    <a:pt x="1" y="63"/>
                  </a:cubicBezTo>
                  <a:cubicBezTo>
                    <a:pt x="1" y="64"/>
                    <a:pt x="0" y="65"/>
                    <a:pt x="0" y="65"/>
                  </a:cubicBezTo>
                  <a:cubicBezTo>
                    <a:pt x="0" y="66"/>
                    <a:pt x="0" y="66"/>
                    <a:pt x="1" y="67"/>
                  </a:cubicBezTo>
                  <a:cubicBezTo>
                    <a:pt x="2" y="68"/>
                    <a:pt x="3" y="68"/>
                    <a:pt x="3" y="68"/>
                  </a:cubicBezTo>
                  <a:cubicBezTo>
                    <a:pt x="4" y="68"/>
                    <a:pt x="5" y="68"/>
                    <a:pt x="6" y="67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42" y="44"/>
                    <a:pt x="43" y="44"/>
                    <a:pt x="44" y="44"/>
                  </a:cubicBezTo>
                  <a:cubicBezTo>
                    <a:pt x="45" y="44"/>
                    <a:pt x="47" y="44"/>
                    <a:pt x="47" y="45"/>
                  </a:cubicBezTo>
                  <a:cubicBezTo>
                    <a:pt x="54" y="51"/>
                    <a:pt x="54" y="51"/>
                    <a:pt x="54" y="51"/>
                  </a:cubicBezTo>
                  <a:cubicBezTo>
                    <a:pt x="56" y="52"/>
                    <a:pt x="59" y="53"/>
                    <a:pt x="61" y="53"/>
                  </a:cubicBezTo>
                  <a:cubicBezTo>
                    <a:pt x="62" y="53"/>
                    <a:pt x="64" y="53"/>
                    <a:pt x="65" y="52"/>
                  </a:cubicBezTo>
                  <a:cubicBezTo>
                    <a:pt x="65" y="52"/>
                    <a:pt x="65" y="52"/>
                    <a:pt x="65" y="52"/>
                  </a:cubicBezTo>
                  <a:cubicBezTo>
                    <a:pt x="65" y="52"/>
                    <a:pt x="65" y="52"/>
                    <a:pt x="65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52"/>
                    <a:pt x="67" y="52"/>
                    <a:pt x="67" y="53"/>
                  </a:cubicBezTo>
                  <a:cubicBezTo>
                    <a:pt x="68" y="53"/>
                    <a:pt x="68" y="54"/>
                    <a:pt x="69" y="55"/>
                  </a:cubicBezTo>
                  <a:cubicBezTo>
                    <a:pt x="86" y="96"/>
                    <a:pt x="86" y="96"/>
                    <a:pt x="86" y="96"/>
                  </a:cubicBezTo>
                  <a:cubicBezTo>
                    <a:pt x="87" y="98"/>
                    <a:pt x="87" y="101"/>
                    <a:pt x="87" y="104"/>
                  </a:cubicBezTo>
                  <a:cubicBezTo>
                    <a:pt x="87" y="105"/>
                    <a:pt x="87" y="106"/>
                    <a:pt x="87" y="107"/>
                  </a:cubicBezTo>
                  <a:cubicBezTo>
                    <a:pt x="79" y="143"/>
                    <a:pt x="79" y="143"/>
                    <a:pt x="79" y="143"/>
                  </a:cubicBezTo>
                  <a:cubicBezTo>
                    <a:pt x="79" y="144"/>
                    <a:pt x="79" y="146"/>
                    <a:pt x="79" y="147"/>
                  </a:cubicBezTo>
                  <a:cubicBezTo>
                    <a:pt x="79" y="151"/>
                    <a:pt x="79" y="154"/>
                    <a:pt x="80" y="156"/>
                  </a:cubicBezTo>
                  <a:cubicBezTo>
                    <a:pt x="115" y="239"/>
                    <a:pt x="115" y="239"/>
                    <a:pt x="115" y="239"/>
                  </a:cubicBezTo>
                  <a:cubicBezTo>
                    <a:pt x="115" y="240"/>
                    <a:pt x="116" y="241"/>
                    <a:pt x="116" y="241"/>
                  </a:cubicBezTo>
                  <a:cubicBezTo>
                    <a:pt x="116" y="242"/>
                    <a:pt x="116" y="242"/>
                    <a:pt x="116" y="242"/>
                  </a:cubicBezTo>
                  <a:cubicBezTo>
                    <a:pt x="117" y="243"/>
                    <a:pt x="117" y="243"/>
                    <a:pt x="117" y="243"/>
                  </a:cubicBezTo>
                  <a:cubicBezTo>
                    <a:pt x="117" y="243"/>
                    <a:pt x="117" y="243"/>
                    <a:pt x="118" y="243"/>
                  </a:cubicBezTo>
                  <a:cubicBezTo>
                    <a:pt x="119" y="243"/>
                    <a:pt x="119" y="243"/>
                    <a:pt x="120" y="242"/>
                  </a:cubicBezTo>
                  <a:cubicBezTo>
                    <a:pt x="120" y="241"/>
                    <a:pt x="120" y="241"/>
                    <a:pt x="120" y="241"/>
                  </a:cubicBezTo>
                  <a:cubicBezTo>
                    <a:pt x="121" y="241"/>
                    <a:pt x="121" y="241"/>
                    <a:pt x="121" y="241"/>
                  </a:cubicBezTo>
                  <a:cubicBezTo>
                    <a:pt x="120" y="240"/>
                    <a:pt x="120" y="239"/>
                    <a:pt x="120" y="238"/>
                  </a:cubicBezTo>
                  <a:cubicBezTo>
                    <a:pt x="111" y="203"/>
                    <a:pt x="111" y="203"/>
                    <a:pt x="111" y="203"/>
                  </a:cubicBezTo>
                  <a:cubicBezTo>
                    <a:pt x="111" y="202"/>
                    <a:pt x="111" y="201"/>
                    <a:pt x="111" y="201"/>
                  </a:cubicBezTo>
                  <a:cubicBezTo>
                    <a:pt x="111" y="201"/>
                    <a:pt x="111" y="201"/>
                    <a:pt x="111" y="201"/>
                  </a:cubicBezTo>
                  <a:cubicBezTo>
                    <a:pt x="110" y="201"/>
                    <a:pt x="110" y="201"/>
                    <a:pt x="110" y="201"/>
                  </a:cubicBezTo>
                  <a:cubicBezTo>
                    <a:pt x="111" y="202"/>
                    <a:pt x="111" y="202"/>
                    <a:pt x="111" y="202"/>
                  </a:cubicBezTo>
                  <a:cubicBezTo>
                    <a:pt x="111" y="201"/>
                    <a:pt x="111" y="201"/>
                    <a:pt x="111" y="201"/>
                  </a:cubicBezTo>
                  <a:cubicBezTo>
                    <a:pt x="110" y="201"/>
                    <a:pt x="110" y="201"/>
                    <a:pt x="110" y="201"/>
                  </a:cubicBezTo>
                  <a:cubicBezTo>
                    <a:pt x="111" y="202"/>
                    <a:pt x="111" y="202"/>
                    <a:pt x="111" y="202"/>
                  </a:cubicBezTo>
                  <a:cubicBezTo>
                    <a:pt x="109" y="201"/>
                    <a:pt x="109" y="201"/>
                    <a:pt x="109" y="201"/>
                  </a:cubicBezTo>
                  <a:cubicBezTo>
                    <a:pt x="110" y="202"/>
                    <a:pt x="110" y="202"/>
                    <a:pt x="110" y="202"/>
                  </a:cubicBezTo>
                  <a:cubicBezTo>
                    <a:pt x="111" y="202"/>
                    <a:pt x="111" y="202"/>
                    <a:pt x="111" y="202"/>
                  </a:cubicBezTo>
                  <a:cubicBezTo>
                    <a:pt x="109" y="201"/>
                    <a:pt x="109" y="201"/>
                    <a:pt x="109" y="201"/>
                  </a:cubicBezTo>
                  <a:cubicBezTo>
                    <a:pt x="110" y="202"/>
                    <a:pt x="110" y="202"/>
                    <a:pt x="110" y="202"/>
                  </a:cubicBezTo>
                  <a:cubicBezTo>
                    <a:pt x="109" y="201"/>
                    <a:pt x="109" y="201"/>
                    <a:pt x="109" y="201"/>
                  </a:cubicBezTo>
                  <a:cubicBezTo>
                    <a:pt x="109" y="203"/>
                    <a:pt x="109" y="203"/>
                    <a:pt x="109" y="203"/>
                  </a:cubicBezTo>
                  <a:cubicBezTo>
                    <a:pt x="110" y="202"/>
                    <a:pt x="110" y="202"/>
                    <a:pt x="110" y="202"/>
                  </a:cubicBezTo>
                  <a:cubicBezTo>
                    <a:pt x="109" y="201"/>
                    <a:pt x="109" y="201"/>
                    <a:pt x="109" y="201"/>
                  </a:cubicBezTo>
                  <a:cubicBezTo>
                    <a:pt x="109" y="203"/>
                    <a:pt x="109" y="203"/>
                    <a:pt x="109" y="203"/>
                  </a:cubicBezTo>
                  <a:cubicBezTo>
                    <a:pt x="109" y="201"/>
                    <a:pt x="109" y="201"/>
                    <a:pt x="109" y="201"/>
                  </a:cubicBezTo>
                  <a:cubicBezTo>
                    <a:pt x="108" y="202"/>
                    <a:pt x="108" y="202"/>
                    <a:pt x="108" y="202"/>
                  </a:cubicBezTo>
                  <a:cubicBezTo>
                    <a:pt x="109" y="203"/>
                    <a:pt x="109" y="203"/>
                    <a:pt x="109" y="203"/>
                  </a:cubicBezTo>
                  <a:cubicBezTo>
                    <a:pt x="109" y="201"/>
                    <a:pt x="109" y="201"/>
                    <a:pt x="109" y="201"/>
                  </a:cubicBezTo>
                  <a:cubicBezTo>
                    <a:pt x="108" y="202"/>
                    <a:pt x="108" y="202"/>
                    <a:pt x="108" y="202"/>
                  </a:cubicBezTo>
                  <a:cubicBezTo>
                    <a:pt x="109" y="202"/>
                    <a:pt x="109" y="202"/>
                    <a:pt x="109" y="202"/>
                  </a:cubicBezTo>
                  <a:cubicBezTo>
                    <a:pt x="108" y="202"/>
                    <a:pt x="108" y="202"/>
                    <a:pt x="108" y="202"/>
                  </a:cubicBezTo>
                  <a:cubicBezTo>
                    <a:pt x="108" y="202"/>
                    <a:pt x="108" y="202"/>
                    <a:pt x="108" y="202"/>
                  </a:cubicBezTo>
                  <a:cubicBezTo>
                    <a:pt x="109" y="202"/>
                    <a:pt x="109" y="202"/>
                    <a:pt x="109" y="202"/>
                  </a:cubicBezTo>
                  <a:cubicBezTo>
                    <a:pt x="108" y="202"/>
                    <a:pt x="108" y="202"/>
                    <a:pt x="108" y="202"/>
                  </a:cubicBezTo>
                  <a:cubicBezTo>
                    <a:pt x="108" y="203"/>
                    <a:pt x="108" y="203"/>
                    <a:pt x="108" y="203"/>
                  </a:cubicBezTo>
                  <a:cubicBezTo>
                    <a:pt x="109" y="203"/>
                    <a:pt x="109" y="203"/>
                    <a:pt x="109" y="204"/>
                  </a:cubicBezTo>
                  <a:cubicBezTo>
                    <a:pt x="129" y="238"/>
                    <a:pt x="129" y="238"/>
                    <a:pt x="129" y="238"/>
                  </a:cubicBezTo>
                  <a:cubicBezTo>
                    <a:pt x="130" y="240"/>
                    <a:pt x="132" y="246"/>
                    <a:pt x="132" y="249"/>
                  </a:cubicBezTo>
                  <a:cubicBezTo>
                    <a:pt x="132" y="254"/>
                    <a:pt x="132" y="254"/>
                    <a:pt x="132" y="254"/>
                  </a:cubicBezTo>
                  <a:cubicBezTo>
                    <a:pt x="132" y="257"/>
                    <a:pt x="132" y="259"/>
                    <a:pt x="133" y="261"/>
                  </a:cubicBezTo>
                  <a:cubicBezTo>
                    <a:pt x="134" y="263"/>
                    <a:pt x="135" y="265"/>
                    <a:pt x="137" y="266"/>
                  </a:cubicBezTo>
                  <a:cubicBezTo>
                    <a:pt x="151" y="277"/>
                    <a:pt x="151" y="277"/>
                    <a:pt x="151" y="277"/>
                  </a:cubicBezTo>
                  <a:cubicBezTo>
                    <a:pt x="152" y="278"/>
                    <a:pt x="154" y="279"/>
                    <a:pt x="156" y="280"/>
                  </a:cubicBezTo>
                  <a:cubicBezTo>
                    <a:pt x="158" y="281"/>
                    <a:pt x="160" y="281"/>
                    <a:pt x="162" y="281"/>
                  </a:cubicBezTo>
                  <a:cubicBezTo>
                    <a:pt x="170" y="281"/>
                    <a:pt x="170" y="281"/>
                    <a:pt x="170" y="281"/>
                  </a:cubicBezTo>
                  <a:cubicBezTo>
                    <a:pt x="173" y="281"/>
                    <a:pt x="177" y="282"/>
                    <a:pt x="179" y="284"/>
                  </a:cubicBezTo>
                  <a:cubicBezTo>
                    <a:pt x="200" y="297"/>
                    <a:pt x="200" y="297"/>
                    <a:pt x="200" y="297"/>
                  </a:cubicBezTo>
                  <a:cubicBezTo>
                    <a:pt x="202" y="298"/>
                    <a:pt x="206" y="302"/>
                    <a:pt x="207" y="304"/>
                  </a:cubicBezTo>
                  <a:cubicBezTo>
                    <a:pt x="218" y="323"/>
                    <a:pt x="218" y="323"/>
                    <a:pt x="218" y="323"/>
                  </a:cubicBezTo>
                  <a:cubicBezTo>
                    <a:pt x="219" y="325"/>
                    <a:pt x="220" y="326"/>
                    <a:pt x="222" y="328"/>
                  </a:cubicBezTo>
                  <a:cubicBezTo>
                    <a:pt x="224" y="329"/>
                    <a:pt x="225" y="330"/>
                    <a:pt x="228" y="330"/>
                  </a:cubicBezTo>
                  <a:cubicBezTo>
                    <a:pt x="237" y="330"/>
                    <a:pt x="237" y="330"/>
                    <a:pt x="237" y="330"/>
                  </a:cubicBezTo>
                  <a:cubicBezTo>
                    <a:pt x="238" y="330"/>
                    <a:pt x="239" y="330"/>
                    <a:pt x="241" y="331"/>
                  </a:cubicBezTo>
                  <a:cubicBezTo>
                    <a:pt x="242" y="332"/>
                    <a:pt x="243" y="333"/>
                    <a:pt x="244" y="334"/>
                  </a:cubicBezTo>
                  <a:cubicBezTo>
                    <a:pt x="244" y="335"/>
                    <a:pt x="244" y="335"/>
                    <a:pt x="244" y="335"/>
                  </a:cubicBezTo>
                  <a:cubicBezTo>
                    <a:pt x="244" y="335"/>
                    <a:pt x="244" y="335"/>
                    <a:pt x="244" y="335"/>
                  </a:cubicBezTo>
                  <a:cubicBezTo>
                    <a:pt x="244" y="335"/>
                    <a:pt x="244" y="335"/>
                    <a:pt x="244" y="335"/>
                  </a:cubicBezTo>
                  <a:cubicBezTo>
                    <a:pt x="246" y="337"/>
                    <a:pt x="246" y="340"/>
                    <a:pt x="246" y="343"/>
                  </a:cubicBezTo>
                  <a:cubicBezTo>
                    <a:pt x="246" y="344"/>
                    <a:pt x="246" y="345"/>
                    <a:pt x="246" y="345"/>
                  </a:cubicBezTo>
                  <a:cubicBezTo>
                    <a:pt x="238" y="394"/>
                    <a:pt x="238" y="394"/>
                    <a:pt x="238" y="394"/>
                  </a:cubicBezTo>
                  <a:cubicBezTo>
                    <a:pt x="238" y="395"/>
                    <a:pt x="237" y="396"/>
                    <a:pt x="237" y="397"/>
                  </a:cubicBezTo>
                  <a:cubicBezTo>
                    <a:pt x="237" y="400"/>
                    <a:pt x="238" y="404"/>
                    <a:pt x="240" y="407"/>
                  </a:cubicBezTo>
                  <a:cubicBezTo>
                    <a:pt x="276" y="468"/>
                    <a:pt x="276" y="468"/>
                    <a:pt x="276" y="468"/>
                  </a:cubicBezTo>
                  <a:cubicBezTo>
                    <a:pt x="278" y="470"/>
                    <a:pt x="279" y="475"/>
                    <a:pt x="279" y="479"/>
                  </a:cubicBezTo>
                  <a:cubicBezTo>
                    <a:pt x="279" y="618"/>
                    <a:pt x="279" y="618"/>
                    <a:pt x="279" y="618"/>
                  </a:cubicBezTo>
                  <a:cubicBezTo>
                    <a:pt x="279" y="622"/>
                    <a:pt x="280" y="628"/>
                    <a:pt x="282" y="631"/>
                  </a:cubicBezTo>
                  <a:cubicBezTo>
                    <a:pt x="299" y="664"/>
                    <a:pt x="299" y="664"/>
                    <a:pt x="299" y="664"/>
                  </a:cubicBezTo>
                  <a:cubicBezTo>
                    <a:pt x="299" y="665"/>
                    <a:pt x="300" y="665"/>
                    <a:pt x="300" y="666"/>
                  </a:cubicBezTo>
                  <a:cubicBezTo>
                    <a:pt x="300" y="666"/>
                    <a:pt x="301" y="666"/>
                    <a:pt x="301" y="667"/>
                  </a:cubicBezTo>
                  <a:cubicBezTo>
                    <a:pt x="301" y="667"/>
                    <a:pt x="302" y="667"/>
                    <a:pt x="303" y="667"/>
                  </a:cubicBezTo>
                  <a:cubicBezTo>
                    <a:pt x="303" y="667"/>
                    <a:pt x="304" y="667"/>
                    <a:pt x="305" y="666"/>
                  </a:cubicBezTo>
                  <a:cubicBezTo>
                    <a:pt x="305" y="665"/>
                    <a:pt x="305" y="665"/>
                    <a:pt x="306" y="664"/>
                  </a:cubicBezTo>
                  <a:cubicBezTo>
                    <a:pt x="306" y="663"/>
                    <a:pt x="306" y="663"/>
                    <a:pt x="306" y="662"/>
                  </a:cubicBezTo>
                  <a:cubicBezTo>
                    <a:pt x="306" y="635"/>
                    <a:pt x="306" y="635"/>
                    <a:pt x="306" y="635"/>
                  </a:cubicBezTo>
                  <a:cubicBezTo>
                    <a:pt x="306" y="631"/>
                    <a:pt x="307" y="626"/>
                    <a:pt x="307" y="622"/>
                  </a:cubicBezTo>
                  <a:cubicBezTo>
                    <a:pt x="314" y="597"/>
                    <a:pt x="314" y="597"/>
                    <a:pt x="314" y="597"/>
                  </a:cubicBezTo>
                  <a:cubicBezTo>
                    <a:pt x="315" y="594"/>
                    <a:pt x="317" y="589"/>
                    <a:pt x="319" y="587"/>
                  </a:cubicBezTo>
                  <a:cubicBezTo>
                    <a:pt x="423" y="439"/>
                    <a:pt x="423" y="439"/>
                    <a:pt x="423" y="439"/>
                  </a:cubicBezTo>
                  <a:cubicBezTo>
                    <a:pt x="425" y="436"/>
                    <a:pt x="427" y="431"/>
                    <a:pt x="428" y="427"/>
                  </a:cubicBezTo>
                  <a:cubicBezTo>
                    <a:pt x="429" y="415"/>
                    <a:pt x="429" y="415"/>
                    <a:pt x="429" y="415"/>
                  </a:cubicBezTo>
                  <a:cubicBezTo>
                    <a:pt x="429" y="414"/>
                    <a:pt x="429" y="414"/>
                    <a:pt x="429" y="413"/>
                  </a:cubicBezTo>
                  <a:cubicBezTo>
                    <a:pt x="429" y="411"/>
                    <a:pt x="429" y="409"/>
                    <a:pt x="428" y="408"/>
                  </a:cubicBezTo>
                  <a:cubicBezTo>
                    <a:pt x="427" y="406"/>
                    <a:pt x="426" y="404"/>
                    <a:pt x="425" y="403"/>
                  </a:cubicBezTo>
                  <a:cubicBezTo>
                    <a:pt x="383" y="378"/>
                    <a:pt x="383" y="378"/>
                    <a:pt x="383" y="378"/>
                  </a:cubicBezTo>
                  <a:cubicBezTo>
                    <a:pt x="381" y="377"/>
                    <a:pt x="380" y="377"/>
                    <a:pt x="378" y="377"/>
                  </a:cubicBezTo>
                  <a:cubicBezTo>
                    <a:pt x="376" y="377"/>
                    <a:pt x="373" y="378"/>
                    <a:pt x="372" y="380"/>
                  </a:cubicBezTo>
                  <a:cubicBezTo>
                    <a:pt x="371" y="381"/>
                    <a:pt x="369" y="382"/>
                    <a:pt x="368" y="382"/>
                  </a:cubicBezTo>
                  <a:cubicBezTo>
                    <a:pt x="367" y="382"/>
                    <a:pt x="367" y="381"/>
                    <a:pt x="367" y="381"/>
                  </a:cubicBezTo>
                  <a:cubicBezTo>
                    <a:pt x="366" y="381"/>
                    <a:pt x="366" y="380"/>
                    <a:pt x="365" y="379"/>
                  </a:cubicBezTo>
                  <a:cubicBezTo>
                    <a:pt x="365" y="378"/>
                    <a:pt x="364" y="377"/>
                    <a:pt x="364" y="376"/>
                  </a:cubicBezTo>
                  <a:cubicBezTo>
                    <a:pt x="364" y="375"/>
                    <a:pt x="364" y="375"/>
                    <a:pt x="364" y="374"/>
                  </a:cubicBezTo>
                  <a:cubicBezTo>
                    <a:pt x="365" y="369"/>
                    <a:pt x="365" y="369"/>
                    <a:pt x="365" y="369"/>
                  </a:cubicBezTo>
                  <a:cubicBezTo>
                    <a:pt x="365" y="368"/>
                    <a:pt x="365" y="367"/>
                    <a:pt x="365" y="367"/>
                  </a:cubicBezTo>
                  <a:cubicBezTo>
                    <a:pt x="365" y="365"/>
                    <a:pt x="365" y="363"/>
                    <a:pt x="364" y="361"/>
                  </a:cubicBezTo>
                  <a:cubicBezTo>
                    <a:pt x="364" y="359"/>
                    <a:pt x="363" y="357"/>
                    <a:pt x="362" y="356"/>
                  </a:cubicBezTo>
                  <a:cubicBezTo>
                    <a:pt x="330" y="325"/>
                    <a:pt x="330" y="325"/>
                    <a:pt x="330" y="325"/>
                  </a:cubicBezTo>
                  <a:cubicBezTo>
                    <a:pt x="327" y="323"/>
                    <a:pt x="323" y="320"/>
                    <a:pt x="320" y="319"/>
                  </a:cubicBezTo>
                  <a:cubicBezTo>
                    <a:pt x="280" y="301"/>
                    <a:pt x="280" y="301"/>
                    <a:pt x="280" y="301"/>
                  </a:cubicBezTo>
                  <a:cubicBezTo>
                    <a:pt x="279" y="301"/>
                    <a:pt x="278" y="301"/>
                    <a:pt x="277" y="301"/>
                  </a:cubicBezTo>
                  <a:cubicBezTo>
                    <a:pt x="274" y="301"/>
                    <a:pt x="271" y="302"/>
                    <a:pt x="269" y="305"/>
                  </a:cubicBezTo>
                  <a:cubicBezTo>
                    <a:pt x="257" y="321"/>
                    <a:pt x="257" y="321"/>
                    <a:pt x="257" y="321"/>
                  </a:cubicBezTo>
                  <a:cubicBezTo>
                    <a:pt x="256" y="322"/>
                    <a:pt x="255" y="323"/>
                    <a:pt x="254" y="323"/>
                  </a:cubicBezTo>
                  <a:cubicBezTo>
                    <a:pt x="254" y="323"/>
                    <a:pt x="253" y="322"/>
                    <a:pt x="252" y="322"/>
                  </a:cubicBezTo>
                  <a:cubicBezTo>
                    <a:pt x="251" y="320"/>
                    <a:pt x="251" y="320"/>
                    <a:pt x="251" y="320"/>
                  </a:cubicBezTo>
                  <a:cubicBezTo>
                    <a:pt x="249" y="319"/>
                    <a:pt x="247" y="318"/>
                    <a:pt x="246" y="317"/>
                  </a:cubicBezTo>
                  <a:cubicBezTo>
                    <a:pt x="244" y="316"/>
                    <a:pt x="242" y="316"/>
                    <a:pt x="240" y="316"/>
                  </a:cubicBezTo>
                  <a:cubicBezTo>
                    <a:pt x="234" y="316"/>
                    <a:pt x="234" y="316"/>
                    <a:pt x="234" y="316"/>
                  </a:cubicBezTo>
                  <a:cubicBezTo>
                    <a:pt x="233" y="316"/>
                    <a:pt x="232" y="315"/>
                    <a:pt x="231" y="314"/>
                  </a:cubicBezTo>
                  <a:cubicBezTo>
                    <a:pt x="230" y="314"/>
                    <a:pt x="229" y="312"/>
                    <a:pt x="229" y="311"/>
                  </a:cubicBezTo>
                  <a:cubicBezTo>
                    <a:pt x="227" y="306"/>
                    <a:pt x="227" y="306"/>
                    <a:pt x="227" y="306"/>
                  </a:cubicBezTo>
                  <a:cubicBezTo>
                    <a:pt x="226" y="304"/>
                    <a:pt x="226" y="303"/>
                    <a:pt x="226" y="301"/>
                  </a:cubicBezTo>
                  <a:cubicBezTo>
                    <a:pt x="226" y="300"/>
                    <a:pt x="226" y="299"/>
                    <a:pt x="226" y="299"/>
                  </a:cubicBezTo>
                  <a:cubicBezTo>
                    <a:pt x="226" y="299"/>
                    <a:pt x="226" y="299"/>
                    <a:pt x="226" y="299"/>
                  </a:cubicBezTo>
                  <a:cubicBezTo>
                    <a:pt x="226" y="299"/>
                    <a:pt x="226" y="299"/>
                    <a:pt x="226" y="299"/>
                  </a:cubicBezTo>
                  <a:cubicBezTo>
                    <a:pt x="227" y="297"/>
                    <a:pt x="227" y="296"/>
                    <a:pt x="227" y="295"/>
                  </a:cubicBezTo>
                  <a:cubicBezTo>
                    <a:pt x="227" y="292"/>
                    <a:pt x="227" y="290"/>
                    <a:pt x="225" y="288"/>
                  </a:cubicBezTo>
                  <a:cubicBezTo>
                    <a:pt x="221" y="282"/>
                    <a:pt x="221" y="282"/>
                    <a:pt x="221" y="282"/>
                  </a:cubicBezTo>
                  <a:cubicBezTo>
                    <a:pt x="220" y="280"/>
                    <a:pt x="220" y="279"/>
                    <a:pt x="219" y="279"/>
                  </a:cubicBezTo>
                  <a:cubicBezTo>
                    <a:pt x="218" y="278"/>
                    <a:pt x="217" y="277"/>
                    <a:pt x="215" y="277"/>
                  </a:cubicBezTo>
                  <a:cubicBezTo>
                    <a:pt x="214" y="277"/>
                    <a:pt x="213" y="278"/>
                    <a:pt x="213" y="279"/>
                  </a:cubicBezTo>
                  <a:cubicBezTo>
                    <a:pt x="213" y="279"/>
                    <a:pt x="212" y="279"/>
                    <a:pt x="211" y="280"/>
                  </a:cubicBezTo>
                  <a:cubicBezTo>
                    <a:pt x="210" y="280"/>
                    <a:pt x="209" y="280"/>
                    <a:pt x="207" y="280"/>
                  </a:cubicBezTo>
                  <a:cubicBezTo>
                    <a:pt x="207" y="280"/>
                    <a:pt x="207" y="280"/>
                    <a:pt x="206" y="280"/>
                  </a:cubicBezTo>
                  <a:cubicBezTo>
                    <a:pt x="206" y="279"/>
                    <a:pt x="206" y="278"/>
                    <a:pt x="206" y="277"/>
                  </a:cubicBezTo>
                  <a:cubicBezTo>
                    <a:pt x="206" y="277"/>
                    <a:pt x="206" y="277"/>
                    <a:pt x="206" y="276"/>
                  </a:cubicBezTo>
                  <a:cubicBezTo>
                    <a:pt x="209" y="261"/>
                    <a:pt x="209" y="261"/>
                    <a:pt x="209" y="261"/>
                  </a:cubicBezTo>
                  <a:cubicBezTo>
                    <a:pt x="209" y="260"/>
                    <a:pt x="209" y="260"/>
                    <a:pt x="209" y="259"/>
                  </a:cubicBezTo>
                  <a:cubicBezTo>
                    <a:pt x="209" y="257"/>
                    <a:pt x="208" y="255"/>
                    <a:pt x="207" y="254"/>
                  </a:cubicBezTo>
                  <a:cubicBezTo>
                    <a:pt x="206" y="253"/>
                    <a:pt x="205" y="252"/>
                    <a:pt x="203" y="252"/>
                  </a:cubicBezTo>
                  <a:cubicBezTo>
                    <a:pt x="201" y="252"/>
                    <a:pt x="201" y="252"/>
                    <a:pt x="201" y="252"/>
                  </a:cubicBezTo>
                  <a:cubicBezTo>
                    <a:pt x="199" y="252"/>
                    <a:pt x="197" y="253"/>
                    <a:pt x="196" y="254"/>
                  </a:cubicBezTo>
                  <a:cubicBezTo>
                    <a:pt x="194" y="255"/>
                    <a:pt x="193" y="257"/>
                    <a:pt x="192" y="259"/>
                  </a:cubicBezTo>
                  <a:cubicBezTo>
                    <a:pt x="192" y="260"/>
                    <a:pt x="192" y="260"/>
                    <a:pt x="192" y="260"/>
                  </a:cubicBezTo>
                  <a:cubicBezTo>
                    <a:pt x="191" y="261"/>
                    <a:pt x="190" y="263"/>
                    <a:pt x="189" y="264"/>
                  </a:cubicBezTo>
                  <a:cubicBezTo>
                    <a:pt x="188" y="264"/>
                    <a:pt x="187" y="265"/>
                    <a:pt x="187" y="265"/>
                  </a:cubicBezTo>
                  <a:cubicBezTo>
                    <a:pt x="177" y="265"/>
                    <a:pt x="177" y="265"/>
                    <a:pt x="177" y="265"/>
                  </a:cubicBezTo>
                  <a:cubicBezTo>
                    <a:pt x="176" y="265"/>
                    <a:pt x="175" y="264"/>
                    <a:pt x="174" y="264"/>
                  </a:cubicBezTo>
                  <a:cubicBezTo>
                    <a:pt x="173" y="263"/>
                    <a:pt x="173" y="261"/>
                    <a:pt x="172" y="260"/>
                  </a:cubicBezTo>
                  <a:cubicBezTo>
                    <a:pt x="169" y="247"/>
                    <a:pt x="169" y="247"/>
                    <a:pt x="169" y="247"/>
                  </a:cubicBezTo>
                  <a:cubicBezTo>
                    <a:pt x="169" y="246"/>
                    <a:pt x="169" y="244"/>
                    <a:pt x="169" y="242"/>
                  </a:cubicBezTo>
                  <a:cubicBezTo>
                    <a:pt x="169" y="240"/>
                    <a:pt x="169" y="237"/>
                    <a:pt x="170" y="236"/>
                  </a:cubicBezTo>
                  <a:cubicBezTo>
                    <a:pt x="176" y="217"/>
                    <a:pt x="176" y="217"/>
                    <a:pt x="176" y="217"/>
                  </a:cubicBezTo>
                  <a:cubicBezTo>
                    <a:pt x="177" y="216"/>
                    <a:pt x="178" y="214"/>
                    <a:pt x="179" y="214"/>
                  </a:cubicBezTo>
                  <a:cubicBezTo>
                    <a:pt x="180" y="213"/>
                    <a:pt x="181" y="212"/>
                    <a:pt x="181" y="212"/>
                  </a:cubicBezTo>
                  <a:cubicBezTo>
                    <a:pt x="216" y="212"/>
                    <a:pt x="216" y="212"/>
                    <a:pt x="216" y="212"/>
                  </a:cubicBezTo>
                  <a:cubicBezTo>
                    <a:pt x="217" y="212"/>
                    <a:pt x="218" y="213"/>
                    <a:pt x="218" y="213"/>
                  </a:cubicBezTo>
                  <a:cubicBezTo>
                    <a:pt x="219" y="214"/>
                    <a:pt x="219" y="215"/>
                    <a:pt x="219" y="216"/>
                  </a:cubicBezTo>
                  <a:cubicBezTo>
                    <a:pt x="219" y="218"/>
                    <a:pt x="220" y="220"/>
                    <a:pt x="221" y="222"/>
                  </a:cubicBezTo>
                  <a:cubicBezTo>
                    <a:pt x="221" y="224"/>
                    <a:pt x="222" y="226"/>
                    <a:pt x="223" y="228"/>
                  </a:cubicBezTo>
                  <a:cubicBezTo>
                    <a:pt x="226" y="232"/>
                    <a:pt x="226" y="232"/>
                    <a:pt x="226" y="232"/>
                  </a:cubicBezTo>
                  <a:cubicBezTo>
                    <a:pt x="227" y="232"/>
                    <a:pt x="227" y="233"/>
                    <a:pt x="228" y="233"/>
                  </a:cubicBezTo>
                  <a:cubicBezTo>
                    <a:pt x="228" y="234"/>
                    <a:pt x="229" y="234"/>
                    <a:pt x="230" y="234"/>
                  </a:cubicBezTo>
                  <a:cubicBezTo>
                    <a:pt x="231" y="234"/>
                    <a:pt x="231" y="234"/>
                    <a:pt x="232" y="233"/>
                  </a:cubicBezTo>
                  <a:cubicBezTo>
                    <a:pt x="233" y="233"/>
                    <a:pt x="233" y="232"/>
                    <a:pt x="233" y="231"/>
                  </a:cubicBezTo>
                  <a:cubicBezTo>
                    <a:pt x="233" y="230"/>
                    <a:pt x="234" y="229"/>
                    <a:pt x="234" y="228"/>
                  </a:cubicBezTo>
                  <a:cubicBezTo>
                    <a:pt x="234" y="225"/>
                    <a:pt x="234" y="225"/>
                    <a:pt x="234" y="225"/>
                  </a:cubicBezTo>
                  <a:cubicBezTo>
                    <a:pt x="234" y="223"/>
                    <a:pt x="233" y="221"/>
                    <a:pt x="233" y="219"/>
                  </a:cubicBezTo>
                  <a:cubicBezTo>
                    <a:pt x="232" y="217"/>
                    <a:pt x="232" y="216"/>
                    <a:pt x="231" y="214"/>
                  </a:cubicBezTo>
                  <a:cubicBezTo>
                    <a:pt x="231" y="214"/>
                    <a:pt x="230" y="213"/>
                    <a:pt x="230" y="211"/>
                  </a:cubicBezTo>
                  <a:cubicBezTo>
                    <a:pt x="229" y="209"/>
                    <a:pt x="229" y="207"/>
                    <a:pt x="229" y="206"/>
                  </a:cubicBezTo>
                  <a:cubicBezTo>
                    <a:pt x="229" y="204"/>
                    <a:pt x="229" y="204"/>
                    <a:pt x="229" y="204"/>
                  </a:cubicBezTo>
                  <a:cubicBezTo>
                    <a:pt x="229" y="201"/>
                    <a:pt x="230" y="195"/>
                    <a:pt x="232" y="193"/>
                  </a:cubicBezTo>
                  <a:cubicBezTo>
                    <a:pt x="234" y="189"/>
                    <a:pt x="234" y="189"/>
                    <a:pt x="234" y="189"/>
                  </a:cubicBezTo>
                  <a:cubicBezTo>
                    <a:pt x="236" y="186"/>
                    <a:pt x="237" y="180"/>
                    <a:pt x="237" y="176"/>
                  </a:cubicBezTo>
                  <a:cubicBezTo>
                    <a:pt x="237" y="168"/>
                    <a:pt x="237" y="168"/>
                    <a:pt x="237" y="168"/>
                  </a:cubicBezTo>
                  <a:cubicBezTo>
                    <a:pt x="237" y="165"/>
                    <a:pt x="238" y="160"/>
                    <a:pt x="240" y="157"/>
                  </a:cubicBezTo>
                  <a:cubicBezTo>
                    <a:pt x="255" y="128"/>
                    <a:pt x="255" y="128"/>
                    <a:pt x="255" y="128"/>
                  </a:cubicBezTo>
                  <a:cubicBezTo>
                    <a:pt x="255" y="127"/>
                    <a:pt x="256" y="126"/>
                    <a:pt x="258" y="125"/>
                  </a:cubicBezTo>
                  <a:cubicBezTo>
                    <a:pt x="259" y="124"/>
                    <a:pt x="260" y="123"/>
                    <a:pt x="261" y="123"/>
                  </a:cubicBezTo>
                  <a:cubicBezTo>
                    <a:pt x="269" y="123"/>
                    <a:pt x="269" y="123"/>
                    <a:pt x="269" y="123"/>
                  </a:cubicBezTo>
                  <a:cubicBezTo>
                    <a:pt x="270" y="123"/>
                    <a:pt x="271" y="123"/>
                    <a:pt x="272" y="123"/>
                  </a:cubicBezTo>
                  <a:cubicBezTo>
                    <a:pt x="273" y="122"/>
                    <a:pt x="273" y="121"/>
                    <a:pt x="273" y="119"/>
                  </a:cubicBezTo>
                  <a:cubicBezTo>
                    <a:pt x="273" y="118"/>
                    <a:pt x="273" y="117"/>
                    <a:pt x="272" y="115"/>
                  </a:cubicBezTo>
                  <a:cubicBezTo>
                    <a:pt x="265" y="107"/>
                    <a:pt x="265" y="107"/>
                    <a:pt x="265" y="107"/>
                  </a:cubicBezTo>
                  <a:cubicBezTo>
                    <a:pt x="263" y="105"/>
                    <a:pt x="261" y="104"/>
                    <a:pt x="258" y="104"/>
                  </a:cubicBezTo>
                  <a:cubicBezTo>
                    <a:pt x="257" y="104"/>
                    <a:pt x="255" y="104"/>
                    <a:pt x="254" y="105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6"/>
                    <a:pt x="254" y="106"/>
                    <a:pt x="254" y="106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6"/>
                    <a:pt x="254" y="106"/>
                    <a:pt x="254" y="106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6"/>
                    <a:pt x="254" y="106"/>
                    <a:pt x="254" y="106"/>
                  </a:cubicBezTo>
                  <a:cubicBezTo>
                    <a:pt x="255" y="106"/>
                    <a:pt x="255" y="106"/>
                    <a:pt x="255" y="106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6"/>
                    <a:pt x="254" y="106"/>
                    <a:pt x="254" y="106"/>
                  </a:cubicBezTo>
                  <a:cubicBezTo>
                    <a:pt x="255" y="106"/>
                    <a:pt x="255" y="106"/>
                    <a:pt x="255" y="106"/>
                  </a:cubicBezTo>
                  <a:cubicBezTo>
                    <a:pt x="255" y="105"/>
                    <a:pt x="255" y="105"/>
                    <a:pt x="255" y="105"/>
                  </a:cubicBezTo>
                  <a:cubicBezTo>
                    <a:pt x="255" y="104"/>
                    <a:pt x="255" y="104"/>
                    <a:pt x="255" y="104"/>
                  </a:cubicBezTo>
                  <a:cubicBezTo>
                    <a:pt x="255" y="101"/>
                    <a:pt x="255" y="101"/>
                    <a:pt x="255" y="101"/>
                  </a:cubicBezTo>
                  <a:cubicBezTo>
                    <a:pt x="256" y="100"/>
                    <a:pt x="257" y="98"/>
                    <a:pt x="257" y="98"/>
                  </a:cubicBezTo>
                  <a:cubicBezTo>
                    <a:pt x="258" y="97"/>
                    <a:pt x="259" y="96"/>
                    <a:pt x="260" y="96"/>
                  </a:cubicBezTo>
                  <a:cubicBezTo>
                    <a:pt x="269" y="96"/>
                    <a:pt x="269" y="96"/>
                    <a:pt x="269" y="96"/>
                  </a:cubicBezTo>
                  <a:cubicBezTo>
                    <a:pt x="271" y="96"/>
                    <a:pt x="272" y="96"/>
                    <a:pt x="274" y="95"/>
                  </a:cubicBezTo>
                  <a:cubicBezTo>
                    <a:pt x="276" y="94"/>
                    <a:pt x="278" y="93"/>
                    <a:pt x="279" y="91"/>
                  </a:cubicBezTo>
                  <a:cubicBezTo>
                    <a:pt x="280" y="90"/>
                    <a:pt x="280" y="88"/>
                    <a:pt x="280" y="86"/>
                  </a:cubicBezTo>
                  <a:cubicBezTo>
                    <a:pt x="280" y="84"/>
                    <a:pt x="279" y="82"/>
                    <a:pt x="278" y="80"/>
                  </a:cubicBezTo>
                  <a:cubicBezTo>
                    <a:pt x="246" y="45"/>
                    <a:pt x="246" y="45"/>
                    <a:pt x="246" y="45"/>
                  </a:cubicBezTo>
                  <a:cubicBezTo>
                    <a:pt x="245" y="44"/>
                    <a:pt x="244" y="43"/>
                    <a:pt x="242" y="43"/>
                  </a:cubicBezTo>
                  <a:cubicBezTo>
                    <a:pt x="242" y="43"/>
                    <a:pt x="241" y="43"/>
                    <a:pt x="240" y="44"/>
                  </a:cubicBezTo>
                  <a:cubicBezTo>
                    <a:pt x="239" y="44"/>
                    <a:pt x="239" y="45"/>
                    <a:pt x="239" y="46"/>
                  </a:cubicBezTo>
                  <a:cubicBezTo>
                    <a:pt x="238" y="47"/>
                    <a:pt x="238" y="48"/>
                    <a:pt x="238" y="49"/>
                  </a:cubicBezTo>
                  <a:cubicBezTo>
                    <a:pt x="238" y="51"/>
                    <a:pt x="238" y="51"/>
                    <a:pt x="238" y="51"/>
                  </a:cubicBezTo>
                  <a:cubicBezTo>
                    <a:pt x="238" y="52"/>
                    <a:pt x="238" y="52"/>
                    <a:pt x="238" y="53"/>
                  </a:cubicBezTo>
                  <a:cubicBezTo>
                    <a:pt x="238" y="53"/>
                    <a:pt x="238" y="53"/>
                    <a:pt x="238" y="53"/>
                  </a:cubicBezTo>
                  <a:cubicBezTo>
                    <a:pt x="237" y="53"/>
                    <a:pt x="237" y="53"/>
                    <a:pt x="237" y="53"/>
                  </a:cubicBezTo>
                  <a:cubicBezTo>
                    <a:pt x="214" y="38"/>
                    <a:pt x="214" y="38"/>
                    <a:pt x="214" y="38"/>
                  </a:cubicBezTo>
                  <a:cubicBezTo>
                    <a:pt x="213" y="38"/>
                    <a:pt x="212" y="37"/>
                    <a:pt x="211" y="37"/>
                  </a:cubicBezTo>
                  <a:cubicBezTo>
                    <a:pt x="210" y="37"/>
                    <a:pt x="209" y="38"/>
                    <a:pt x="208" y="39"/>
                  </a:cubicBezTo>
                  <a:cubicBezTo>
                    <a:pt x="207" y="40"/>
                    <a:pt x="207" y="41"/>
                    <a:pt x="207" y="42"/>
                  </a:cubicBezTo>
                  <a:cubicBezTo>
                    <a:pt x="207" y="43"/>
                    <a:pt x="207" y="43"/>
                    <a:pt x="207" y="44"/>
                  </a:cubicBezTo>
                  <a:cubicBezTo>
                    <a:pt x="211" y="57"/>
                    <a:pt x="211" y="57"/>
                    <a:pt x="211" y="57"/>
                  </a:cubicBezTo>
                  <a:cubicBezTo>
                    <a:pt x="211" y="61"/>
                    <a:pt x="212" y="67"/>
                    <a:pt x="212" y="70"/>
                  </a:cubicBezTo>
                  <a:cubicBezTo>
                    <a:pt x="212" y="87"/>
                    <a:pt x="212" y="87"/>
                    <a:pt x="212" y="87"/>
                  </a:cubicBezTo>
                  <a:cubicBezTo>
                    <a:pt x="212" y="88"/>
                    <a:pt x="212" y="89"/>
                    <a:pt x="212" y="89"/>
                  </a:cubicBezTo>
                  <a:cubicBezTo>
                    <a:pt x="212" y="89"/>
                    <a:pt x="212" y="89"/>
                    <a:pt x="212" y="89"/>
                  </a:cubicBezTo>
                  <a:cubicBezTo>
                    <a:pt x="213" y="90"/>
                    <a:pt x="213" y="90"/>
                    <a:pt x="213" y="90"/>
                  </a:cubicBezTo>
                  <a:cubicBezTo>
                    <a:pt x="212" y="89"/>
                    <a:pt x="212" y="89"/>
                    <a:pt x="212" y="89"/>
                  </a:cubicBezTo>
                  <a:cubicBezTo>
                    <a:pt x="212" y="89"/>
                    <a:pt x="212" y="89"/>
                    <a:pt x="212" y="89"/>
                  </a:cubicBezTo>
                  <a:cubicBezTo>
                    <a:pt x="213" y="90"/>
                    <a:pt x="213" y="90"/>
                    <a:pt x="213" y="90"/>
                  </a:cubicBezTo>
                  <a:cubicBezTo>
                    <a:pt x="212" y="89"/>
                    <a:pt x="212" y="89"/>
                    <a:pt x="212" y="89"/>
                  </a:cubicBezTo>
                  <a:cubicBezTo>
                    <a:pt x="213" y="90"/>
                    <a:pt x="213" y="90"/>
                    <a:pt x="213" y="90"/>
                  </a:cubicBezTo>
                  <a:cubicBezTo>
                    <a:pt x="213" y="88"/>
                    <a:pt x="213" y="88"/>
                    <a:pt x="213" y="88"/>
                  </a:cubicBezTo>
                  <a:cubicBezTo>
                    <a:pt x="212" y="89"/>
                    <a:pt x="212" y="89"/>
                    <a:pt x="212" y="89"/>
                  </a:cubicBezTo>
                  <a:cubicBezTo>
                    <a:pt x="213" y="90"/>
                    <a:pt x="213" y="90"/>
                    <a:pt x="213" y="90"/>
                  </a:cubicBezTo>
                  <a:cubicBezTo>
                    <a:pt x="213" y="88"/>
                    <a:pt x="213" y="88"/>
                    <a:pt x="213" y="88"/>
                  </a:cubicBezTo>
                  <a:cubicBezTo>
                    <a:pt x="213" y="90"/>
                    <a:pt x="213" y="90"/>
                    <a:pt x="213" y="90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8"/>
                    <a:pt x="213" y="88"/>
                  </a:cubicBezTo>
                  <a:cubicBezTo>
                    <a:pt x="213" y="90"/>
                    <a:pt x="213" y="90"/>
                    <a:pt x="213" y="90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8"/>
                    <a:pt x="213" y="88"/>
                  </a:cubicBezTo>
                  <a:cubicBezTo>
                    <a:pt x="208" y="77"/>
                    <a:pt x="208" y="77"/>
                    <a:pt x="208" y="77"/>
                  </a:cubicBezTo>
                  <a:cubicBezTo>
                    <a:pt x="206" y="74"/>
                    <a:pt x="203" y="70"/>
                    <a:pt x="200" y="68"/>
                  </a:cubicBezTo>
                  <a:cubicBezTo>
                    <a:pt x="178" y="54"/>
                    <a:pt x="178" y="54"/>
                    <a:pt x="178" y="54"/>
                  </a:cubicBezTo>
                  <a:cubicBezTo>
                    <a:pt x="177" y="53"/>
                    <a:pt x="177" y="51"/>
                    <a:pt x="177" y="49"/>
                  </a:cubicBezTo>
                  <a:cubicBezTo>
                    <a:pt x="177" y="49"/>
                    <a:pt x="177" y="48"/>
                    <a:pt x="177" y="47"/>
                  </a:cubicBezTo>
                  <a:cubicBezTo>
                    <a:pt x="181" y="36"/>
                    <a:pt x="181" y="36"/>
                    <a:pt x="181" y="36"/>
                  </a:cubicBezTo>
                  <a:cubicBezTo>
                    <a:pt x="181" y="35"/>
                    <a:pt x="181" y="34"/>
                    <a:pt x="181" y="32"/>
                  </a:cubicBezTo>
                  <a:cubicBezTo>
                    <a:pt x="181" y="29"/>
                    <a:pt x="180" y="26"/>
                    <a:pt x="177" y="24"/>
                  </a:cubicBezTo>
                  <a:cubicBezTo>
                    <a:pt x="151" y="10"/>
                    <a:pt x="151" y="10"/>
                    <a:pt x="151" y="10"/>
                  </a:cubicBezTo>
                  <a:cubicBezTo>
                    <a:pt x="149" y="9"/>
                    <a:pt x="148" y="9"/>
                    <a:pt x="147" y="9"/>
                  </a:cubicBezTo>
                  <a:cubicBezTo>
                    <a:pt x="144" y="9"/>
                    <a:pt x="141" y="10"/>
                    <a:pt x="139" y="12"/>
                  </a:cubicBezTo>
                  <a:cubicBezTo>
                    <a:pt x="139" y="13"/>
                    <a:pt x="138" y="14"/>
                    <a:pt x="137" y="14"/>
                  </a:cubicBezTo>
                  <a:cubicBezTo>
                    <a:pt x="136" y="14"/>
                    <a:pt x="135" y="13"/>
                    <a:pt x="135" y="13"/>
                  </a:cubicBezTo>
                  <a:cubicBezTo>
                    <a:pt x="127" y="5"/>
                    <a:pt x="127" y="5"/>
                    <a:pt x="127" y="5"/>
                  </a:cubicBezTo>
                  <a:cubicBezTo>
                    <a:pt x="126" y="4"/>
                    <a:pt x="124" y="3"/>
                    <a:pt x="122" y="2"/>
                  </a:cubicBezTo>
                  <a:cubicBezTo>
                    <a:pt x="120" y="1"/>
                    <a:pt x="118" y="1"/>
                    <a:pt x="116" y="1"/>
                  </a:cubicBezTo>
                  <a:cubicBezTo>
                    <a:pt x="108" y="1"/>
                    <a:pt x="108" y="1"/>
                    <a:pt x="108" y="1"/>
                  </a:cubicBezTo>
                  <a:cubicBezTo>
                    <a:pt x="107" y="1"/>
                    <a:pt x="105" y="1"/>
                    <a:pt x="103" y="2"/>
                  </a:cubicBezTo>
                  <a:cubicBezTo>
                    <a:pt x="101" y="2"/>
                    <a:pt x="99" y="3"/>
                    <a:pt x="97" y="4"/>
                  </a:cubicBezTo>
                  <a:cubicBezTo>
                    <a:pt x="95" y="6"/>
                    <a:pt x="95" y="6"/>
                    <a:pt x="95" y="6"/>
                  </a:cubicBezTo>
                  <a:cubicBezTo>
                    <a:pt x="94" y="7"/>
                    <a:pt x="93" y="7"/>
                    <a:pt x="91" y="7"/>
                  </a:cubicBezTo>
                  <a:cubicBezTo>
                    <a:pt x="90" y="7"/>
                    <a:pt x="89" y="7"/>
                    <a:pt x="88" y="6"/>
                  </a:cubicBezTo>
                  <a:cubicBezTo>
                    <a:pt x="83" y="3"/>
                    <a:pt x="83" y="3"/>
                    <a:pt x="83" y="3"/>
                  </a:cubicBezTo>
                  <a:cubicBezTo>
                    <a:pt x="81" y="2"/>
                    <a:pt x="79" y="1"/>
                    <a:pt x="78" y="1"/>
                  </a:cubicBezTo>
                  <a:cubicBezTo>
                    <a:pt x="76" y="0"/>
                    <a:pt x="74" y="0"/>
                    <a:pt x="72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5" y="0"/>
                    <a:pt x="43" y="0"/>
                    <a:pt x="41" y="1"/>
                  </a:cubicBezTo>
                  <a:cubicBezTo>
                    <a:pt x="39" y="2"/>
                    <a:pt x="38" y="3"/>
                    <a:pt x="36" y="5"/>
                  </a:cubicBezTo>
                  <a:lnTo>
                    <a:pt x="38" y="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38" name="Freeform 281"/>
            <p:cNvSpPr>
              <a:spLocks/>
            </p:cNvSpPr>
            <p:nvPr/>
          </p:nvSpPr>
          <p:spPr bwMode="auto">
            <a:xfrm>
              <a:off x="-5010871" y="2548984"/>
              <a:ext cx="231083" cy="186944"/>
            </a:xfrm>
            <a:custGeom>
              <a:avLst/>
              <a:gdLst/>
              <a:ahLst/>
              <a:cxnLst>
                <a:cxn ang="0">
                  <a:pos x="8" y="4"/>
                </a:cxn>
                <a:cxn ang="0">
                  <a:pos x="36" y="15"/>
                </a:cxn>
                <a:cxn ang="0">
                  <a:pos x="48" y="28"/>
                </a:cxn>
                <a:cxn ang="0">
                  <a:pos x="53" y="30"/>
                </a:cxn>
                <a:cxn ang="0">
                  <a:pos x="54" y="31"/>
                </a:cxn>
                <a:cxn ang="0">
                  <a:pos x="57" y="33"/>
                </a:cxn>
                <a:cxn ang="0">
                  <a:pos x="57" y="33"/>
                </a:cxn>
                <a:cxn ang="0">
                  <a:pos x="57" y="33"/>
                </a:cxn>
                <a:cxn ang="0">
                  <a:pos x="57" y="33"/>
                </a:cxn>
                <a:cxn ang="0">
                  <a:pos x="56" y="33"/>
                </a:cxn>
                <a:cxn ang="0">
                  <a:pos x="55" y="33"/>
                </a:cxn>
                <a:cxn ang="0">
                  <a:pos x="53" y="38"/>
                </a:cxn>
                <a:cxn ang="0">
                  <a:pos x="55" y="42"/>
                </a:cxn>
                <a:cxn ang="0">
                  <a:pos x="56" y="46"/>
                </a:cxn>
                <a:cxn ang="0">
                  <a:pos x="56" y="46"/>
                </a:cxn>
                <a:cxn ang="0">
                  <a:pos x="56" y="46"/>
                </a:cxn>
                <a:cxn ang="0">
                  <a:pos x="56" y="46"/>
                </a:cxn>
                <a:cxn ang="0">
                  <a:pos x="57" y="45"/>
                </a:cxn>
                <a:cxn ang="0">
                  <a:pos x="57" y="45"/>
                </a:cxn>
                <a:cxn ang="0">
                  <a:pos x="57" y="45"/>
                </a:cxn>
                <a:cxn ang="0">
                  <a:pos x="53" y="45"/>
                </a:cxn>
                <a:cxn ang="0">
                  <a:pos x="33" y="36"/>
                </a:cxn>
                <a:cxn ang="0">
                  <a:pos x="34" y="34"/>
                </a:cxn>
                <a:cxn ang="0">
                  <a:pos x="37" y="30"/>
                </a:cxn>
                <a:cxn ang="0">
                  <a:pos x="33" y="19"/>
                </a:cxn>
                <a:cxn ang="0">
                  <a:pos x="19" y="12"/>
                </a:cxn>
                <a:cxn ang="0">
                  <a:pos x="12" y="12"/>
                </a:cxn>
                <a:cxn ang="0">
                  <a:pos x="4" y="7"/>
                </a:cxn>
                <a:cxn ang="0">
                  <a:pos x="3" y="4"/>
                </a:cxn>
                <a:cxn ang="0">
                  <a:pos x="1" y="9"/>
                </a:cxn>
                <a:cxn ang="0">
                  <a:pos x="9" y="15"/>
                </a:cxn>
                <a:cxn ang="0">
                  <a:pos x="19" y="16"/>
                </a:cxn>
                <a:cxn ang="0">
                  <a:pos x="29" y="22"/>
                </a:cxn>
                <a:cxn ang="0">
                  <a:pos x="33" y="30"/>
                </a:cxn>
                <a:cxn ang="0">
                  <a:pos x="33" y="31"/>
                </a:cxn>
                <a:cxn ang="0">
                  <a:pos x="33" y="31"/>
                </a:cxn>
                <a:cxn ang="0">
                  <a:pos x="34" y="30"/>
                </a:cxn>
                <a:cxn ang="0">
                  <a:pos x="34" y="30"/>
                </a:cxn>
                <a:cxn ang="0">
                  <a:pos x="31" y="40"/>
                </a:cxn>
                <a:cxn ang="0">
                  <a:pos x="56" y="50"/>
                </a:cxn>
                <a:cxn ang="0">
                  <a:pos x="60" y="48"/>
                </a:cxn>
                <a:cxn ang="0">
                  <a:pos x="60" y="42"/>
                </a:cxn>
                <a:cxn ang="0">
                  <a:pos x="56" y="37"/>
                </a:cxn>
                <a:cxn ang="0">
                  <a:pos x="56" y="36"/>
                </a:cxn>
                <a:cxn ang="0">
                  <a:pos x="56" y="36"/>
                </a:cxn>
                <a:cxn ang="0">
                  <a:pos x="56" y="37"/>
                </a:cxn>
                <a:cxn ang="0">
                  <a:pos x="56" y="37"/>
                </a:cxn>
                <a:cxn ang="0">
                  <a:pos x="56" y="37"/>
                </a:cxn>
                <a:cxn ang="0">
                  <a:pos x="55" y="37"/>
                </a:cxn>
                <a:cxn ang="0">
                  <a:pos x="55" y="37"/>
                </a:cxn>
                <a:cxn ang="0">
                  <a:pos x="55" y="37"/>
                </a:cxn>
                <a:cxn ang="0">
                  <a:pos x="61" y="34"/>
                </a:cxn>
                <a:cxn ang="0">
                  <a:pos x="56" y="27"/>
                </a:cxn>
                <a:cxn ang="0">
                  <a:pos x="55" y="26"/>
                </a:cxn>
                <a:cxn ang="0">
                  <a:pos x="51" y="24"/>
                </a:cxn>
                <a:cxn ang="0">
                  <a:pos x="39" y="11"/>
                </a:cxn>
                <a:cxn ang="0">
                  <a:pos x="8" y="0"/>
                </a:cxn>
              </a:cxnLst>
              <a:rect l="0" t="0" r="r" b="b"/>
              <a:pathLst>
                <a:path w="61" h="50">
                  <a:moveTo>
                    <a:pt x="3" y="4"/>
                  </a:moveTo>
                  <a:cubicBezTo>
                    <a:pt x="4" y="6"/>
                    <a:pt x="4" y="6"/>
                    <a:pt x="4" y="6"/>
                  </a:cubicBezTo>
                  <a:cubicBezTo>
                    <a:pt x="5" y="5"/>
                    <a:pt x="6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4" y="13"/>
                    <a:pt x="35" y="14"/>
                    <a:pt x="36" y="15"/>
                  </a:cubicBezTo>
                  <a:cubicBezTo>
                    <a:pt x="38" y="16"/>
                    <a:pt x="39" y="17"/>
                    <a:pt x="40" y="18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5" y="25"/>
                    <a:pt x="46" y="26"/>
                    <a:pt x="48" y="28"/>
                  </a:cubicBezTo>
                  <a:cubicBezTo>
                    <a:pt x="50" y="29"/>
                    <a:pt x="52" y="30"/>
                    <a:pt x="53" y="30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4" y="31"/>
                    <a:pt x="54" y="31"/>
                    <a:pt x="54" y="31"/>
                  </a:cubicBezTo>
                  <a:cubicBezTo>
                    <a:pt x="54" y="31"/>
                    <a:pt x="54" y="31"/>
                    <a:pt x="54" y="31"/>
                  </a:cubicBezTo>
                  <a:cubicBezTo>
                    <a:pt x="54" y="31"/>
                    <a:pt x="54" y="31"/>
                    <a:pt x="54" y="31"/>
                  </a:cubicBezTo>
                  <a:cubicBezTo>
                    <a:pt x="55" y="31"/>
                    <a:pt x="56" y="32"/>
                    <a:pt x="56" y="32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6" y="33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4" y="33"/>
                    <a:pt x="53" y="33"/>
                    <a:pt x="53" y="34"/>
                  </a:cubicBezTo>
                  <a:cubicBezTo>
                    <a:pt x="52" y="35"/>
                    <a:pt x="52" y="35"/>
                    <a:pt x="52" y="36"/>
                  </a:cubicBezTo>
                  <a:cubicBezTo>
                    <a:pt x="52" y="37"/>
                    <a:pt x="52" y="38"/>
                    <a:pt x="53" y="38"/>
                  </a:cubicBezTo>
                  <a:cubicBezTo>
                    <a:pt x="53" y="39"/>
                    <a:pt x="53" y="40"/>
                    <a:pt x="54" y="41"/>
                  </a:cubicBezTo>
                  <a:cubicBezTo>
                    <a:pt x="55" y="41"/>
                    <a:pt x="55" y="41"/>
                    <a:pt x="55" y="41"/>
                  </a:cubicBezTo>
                  <a:cubicBezTo>
                    <a:pt x="55" y="42"/>
                    <a:pt x="55" y="42"/>
                    <a:pt x="55" y="42"/>
                  </a:cubicBezTo>
                  <a:cubicBezTo>
                    <a:pt x="55" y="42"/>
                    <a:pt x="55" y="42"/>
                    <a:pt x="55" y="42"/>
                  </a:cubicBezTo>
                  <a:cubicBezTo>
                    <a:pt x="55" y="42"/>
                    <a:pt x="56" y="43"/>
                    <a:pt x="56" y="44"/>
                  </a:cubicBezTo>
                  <a:cubicBezTo>
                    <a:pt x="56" y="45"/>
                    <a:pt x="56" y="45"/>
                    <a:pt x="56" y="46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6" y="45"/>
                    <a:pt x="56" y="45"/>
                    <a:pt x="56" y="45"/>
                  </a:cubicBezTo>
                  <a:cubicBezTo>
                    <a:pt x="55" y="45"/>
                    <a:pt x="54" y="45"/>
                    <a:pt x="53" y="45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6" y="38"/>
                    <a:pt x="35" y="37"/>
                    <a:pt x="34" y="37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35"/>
                    <a:pt x="33" y="35"/>
                    <a:pt x="33" y="35"/>
                  </a:cubicBezTo>
                  <a:cubicBezTo>
                    <a:pt x="33" y="35"/>
                    <a:pt x="33" y="35"/>
                    <a:pt x="33" y="34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6" y="33"/>
                    <a:pt x="37" y="33"/>
                    <a:pt x="37" y="32"/>
                  </a:cubicBezTo>
                  <a:cubicBezTo>
                    <a:pt x="37" y="31"/>
                    <a:pt x="37" y="31"/>
                    <a:pt x="37" y="30"/>
                  </a:cubicBezTo>
                  <a:cubicBezTo>
                    <a:pt x="37" y="28"/>
                    <a:pt x="37" y="27"/>
                    <a:pt x="36" y="25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35" y="23"/>
                    <a:pt x="34" y="21"/>
                    <a:pt x="33" y="19"/>
                  </a:cubicBezTo>
                  <a:cubicBezTo>
                    <a:pt x="31" y="18"/>
                    <a:pt x="30" y="16"/>
                    <a:pt x="28" y="15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4" y="13"/>
                    <a:pt x="21" y="12"/>
                    <a:pt x="19" y="12"/>
                  </a:cubicBezTo>
                  <a:cubicBezTo>
                    <a:pt x="18" y="12"/>
                    <a:pt x="17" y="12"/>
                    <a:pt x="16" y="13"/>
                  </a:cubicBezTo>
                  <a:cubicBezTo>
                    <a:pt x="15" y="13"/>
                    <a:pt x="15" y="13"/>
                    <a:pt x="14" y="13"/>
                  </a:cubicBezTo>
                  <a:cubicBezTo>
                    <a:pt x="13" y="13"/>
                    <a:pt x="12" y="12"/>
                    <a:pt x="12" y="12"/>
                  </a:cubicBezTo>
                  <a:cubicBezTo>
                    <a:pt x="12" y="11"/>
                    <a:pt x="11" y="10"/>
                    <a:pt x="9" y="9"/>
                  </a:cubicBezTo>
                  <a:cubicBezTo>
                    <a:pt x="8" y="8"/>
                    <a:pt x="6" y="8"/>
                    <a:pt x="5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4"/>
                    <a:pt x="0" y="5"/>
                    <a:pt x="0" y="6"/>
                  </a:cubicBezTo>
                  <a:cubicBezTo>
                    <a:pt x="0" y="7"/>
                    <a:pt x="0" y="9"/>
                    <a:pt x="1" y="9"/>
                  </a:cubicBezTo>
                  <a:cubicBezTo>
                    <a:pt x="2" y="10"/>
                    <a:pt x="3" y="11"/>
                    <a:pt x="4" y="11"/>
                  </a:cubicBezTo>
                  <a:cubicBezTo>
                    <a:pt x="5" y="12"/>
                    <a:pt x="6" y="12"/>
                    <a:pt x="7" y="13"/>
                  </a:cubicBezTo>
                  <a:cubicBezTo>
                    <a:pt x="8" y="14"/>
                    <a:pt x="9" y="14"/>
                    <a:pt x="9" y="15"/>
                  </a:cubicBezTo>
                  <a:cubicBezTo>
                    <a:pt x="10" y="16"/>
                    <a:pt x="12" y="17"/>
                    <a:pt x="14" y="17"/>
                  </a:cubicBezTo>
                  <a:cubicBezTo>
                    <a:pt x="15" y="17"/>
                    <a:pt x="16" y="17"/>
                    <a:pt x="17" y="17"/>
                  </a:cubicBezTo>
                  <a:cubicBezTo>
                    <a:pt x="17" y="17"/>
                    <a:pt x="18" y="16"/>
                    <a:pt x="19" y="16"/>
                  </a:cubicBezTo>
                  <a:cubicBezTo>
                    <a:pt x="20" y="16"/>
                    <a:pt x="22" y="17"/>
                    <a:pt x="24" y="18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7" y="19"/>
                    <a:pt x="28" y="21"/>
                    <a:pt x="29" y="22"/>
                  </a:cubicBezTo>
                  <a:cubicBezTo>
                    <a:pt x="31" y="23"/>
                    <a:pt x="32" y="25"/>
                    <a:pt x="32" y="26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3" y="28"/>
                    <a:pt x="33" y="29"/>
                    <a:pt x="33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2" y="30"/>
                    <a:pt x="31" y="31"/>
                    <a:pt x="30" y="32"/>
                  </a:cubicBezTo>
                  <a:cubicBezTo>
                    <a:pt x="29" y="33"/>
                    <a:pt x="29" y="34"/>
                    <a:pt x="29" y="35"/>
                  </a:cubicBezTo>
                  <a:cubicBezTo>
                    <a:pt x="29" y="37"/>
                    <a:pt x="30" y="39"/>
                    <a:pt x="31" y="40"/>
                  </a:cubicBezTo>
                  <a:cubicBezTo>
                    <a:pt x="32" y="41"/>
                    <a:pt x="33" y="42"/>
                    <a:pt x="35" y="43"/>
                  </a:cubicBezTo>
                  <a:cubicBezTo>
                    <a:pt x="51" y="49"/>
                    <a:pt x="51" y="49"/>
                    <a:pt x="51" y="49"/>
                  </a:cubicBezTo>
                  <a:cubicBezTo>
                    <a:pt x="53" y="49"/>
                    <a:pt x="54" y="50"/>
                    <a:pt x="56" y="50"/>
                  </a:cubicBezTo>
                  <a:cubicBezTo>
                    <a:pt x="57" y="50"/>
                    <a:pt x="57" y="50"/>
                    <a:pt x="58" y="49"/>
                  </a:cubicBezTo>
                  <a:cubicBezTo>
                    <a:pt x="59" y="49"/>
                    <a:pt x="59" y="49"/>
                    <a:pt x="60" y="48"/>
                  </a:cubicBezTo>
                  <a:cubicBezTo>
                    <a:pt x="60" y="48"/>
                    <a:pt x="60" y="48"/>
                    <a:pt x="60" y="48"/>
                  </a:cubicBezTo>
                  <a:cubicBezTo>
                    <a:pt x="60" y="48"/>
                    <a:pt x="60" y="48"/>
                    <a:pt x="60" y="48"/>
                  </a:cubicBezTo>
                  <a:cubicBezTo>
                    <a:pt x="61" y="47"/>
                    <a:pt x="61" y="47"/>
                    <a:pt x="61" y="46"/>
                  </a:cubicBezTo>
                  <a:cubicBezTo>
                    <a:pt x="61" y="45"/>
                    <a:pt x="60" y="44"/>
                    <a:pt x="60" y="42"/>
                  </a:cubicBezTo>
                  <a:cubicBezTo>
                    <a:pt x="60" y="41"/>
                    <a:pt x="59" y="40"/>
                    <a:pt x="58" y="39"/>
                  </a:cubicBezTo>
                  <a:cubicBezTo>
                    <a:pt x="57" y="38"/>
                    <a:pt x="57" y="38"/>
                    <a:pt x="57" y="38"/>
                  </a:cubicBezTo>
                  <a:cubicBezTo>
                    <a:pt x="57" y="37"/>
                    <a:pt x="57" y="37"/>
                    <a:pt x="56" y="37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6" y="37"/>
                    <a:pt x="56" y="37"/>
                    <a:pt x="56" y="37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6" y="37"/>
                    <a:pt x="56" y="37"/>
                    <a:pt x="56" y="37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7"/>
                    <a:pt x="55" y="37"/>
                    <a:pt x="56" y="37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8"/>
                    <a:pt x="56" y="38"/>
                    <a:pt x="56" y="38"/>
                  </a:cubicBezTo>
                  <a:cubicBezTo>
                    <a:pt x="59" y="38"/>
                    <a:pt x="61" y="36"/>
                    <a:pt x="61" y="34"/>
                  </a:cubicBezTo>
                  <a:cubicBezTo>
                    <a:pt x="61" y="33"/>
                    <a:pt x="61" y="33"/>
                    <a:pt x="61" y="33"/>
                  </a:cubicBezTo>
                  <a:cubicBezTo>
                    <a:pt x="61" y="31"/>
                    <a:pt x="60" y="30"/>
                    <a:pt x="59" y="29"/>
                  </a:cubicBezTo>
                  <a:cubicBezTo>
                    <a:pt x="58" y="28"/>
                    <a:pt x="57" y="27"/>
                    <a:pt x="56" y="27"/>
                  </a:cubicBezTo>
                  <a:cubicBezTo>
                    <a:pt x="55" y="29"/>
                    <a:pt x="55" y="29"/>
                    <a:pt x="55" y="29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4" y="26"/>
                    <a:pt x="52" y="25"/>
                    <a:pt x="51" y="24"/>
                  </a:cubicBezTo>
                  <a:cubicBezTo>
                    <a:pt x="49" y="23"/>
                    <a:pt x="48" y="22"/>
                    <a:pt x="47" y="21"/>
                  </a:cubicBezTo>
                  <a:cubicBezTo>
                    <a:pt x="43" y="16"/>
                    <a:pt x="43" y="16"/>
                    <a:pt x="43" y="16"/>
                  </a:cubicBezTo>
                  <a:cubicBezTo>
                    <a:pt x="42" y="14"/>
                    <a:pt x="41" y="12"/>
                    <a:pt x="39" y="11"/>
                  </a:cubicBezTo>
                  <a:cubicBezTo>
                    <a:pt x="37" y="10"/>
                    <a:pt x="36" y="9"/>
                    <a:pt x="34" y="8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9" y="0"/>
                    <a:pt x="8" y="0"/>
                  </a:cubicBezTo>
                  <a:cubicBezTo>
                    <a:pt x="5" y="0"/>
                    <a:pt x="2" y="1"/>
                    <a:pt x="1" y="3"/>
                  </a:cubicBezTo>
                  <a:lnTo>
                    <a:pt x="3" y="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39" name="Freeform 282"/>
            <p:cNvSpPr>
              <a:spLocks/>
            </p:cNvSpPr>
            <p:nvPr/>
          </p:nvSpPr>
          <p:spPr bwMode="auto">
            <a:xfrm>
              <a:off x="-4938658" y="2428454"/>
              <a:ext cx="385139" cy="341912"/>
            </a:xfrm>
            <a:custGeom>
              <a:avLst/>
              <a:gdLst/>
              <a:ahLst/>
              <a:cxnLst>
                <a:cxn ang="0">
                  <a:pos x="5" y="9"/>
                </a:cxn>
                <a:cxn ang="0">
                  <a:pos x="5" y="9"/>
                </a:cxn>
                <a:cxn ang="0">
                  <a:pos x="5" y="9"/>
                </a:cxn>
                <a:cxn ang="0">
                  <a:pos x="6" y="8"/>
                </a:cxn>
                <a:cxn ang="0">
                  <a:pos x="19" y="11"/>
                </a:cxn>
                <a:cxn ang="0">
                  <a:pos x="25" y="5"/>
                </a:cxn>
                <a:cxn ang="0">
                  <a:pos x="25" y="5"/>
                </a:cxn>
                <a:cxn ang="0">
                  <a:pos x="36" y="7"/>
                </a:cxn>
                <a:cxn ang="0">
                  <a:pos x="53" y="14"/>
                </a:cxn>
                <a:cxn ang="0">
                  <a:pos x="60" y="13"/>
                </a:cxn>
                <a:cxn ang="0">
                  <a:pos x="93" y="33"/>
                </a:cxn>
                <a:cxn ang="0">
                  <a:pos x="98" y="59"/>
                </a:cxn>
                <a:cxn ang="0">
                  <a:pos x="93" y="72"/>
                </a:cxn>
                <a:cxn ang="0">
                  <a:pos x="96" y="87"/>
                </a:cxn>
                <a:cxn ang="0">
                  <a:pos x="96" y="87"/>
                </a:cxn>
                <a:cxn ang="0">
                  <a:pos x="97" y="87"/>
                </a:cxn>
                <a:cxn ang="0">
                  <a:pos x="97" y="87"/>
                </a:cxn>
                <a:cxn ang="0">
                  <a:pos x="97" y="87"/>
                </a:cxn>
                <a:cxn ang="0">
                  <a:pos x="65" y="60"/>
                </a:cxn>
                <a:cxn ang="0">
                  <a:pos x="57" y="42"/>
                </a:cxn>
                <a:cxn ang="0">
                  <a:pos x="30" y="23"/>
                </a:cxn>
                <a:cxn ang="0">
                  <a:pos x="12" y="23"/>
                </a:cxn>
                <a:cxn ang="0">
                  <a:pos x="11" y="22"/>
                </a:cxn>
                <a:cxn ang="0">
                  <a:pos x="10" y="22"/>
                </a:cxn>
                <a:cxn ang="0">
                  <a:pos x="11" y="22"/>
                </a:cxn>
                <a:cxn ang="0">
                  <a:pos x="11" y="21"/>
                </a:cxn>
                <a:cxn ang="0">
                  <a:pos x="5" y="15"/>
                </a:cxn>
                <a:cxn ang="0">
                  <a:pos x="4" y="16"/>
                </a:cxn>
                <a:cxn ang="0">
                  <a:pos x="5" y="16"/>
                </a:cxn>
                <a:cxn ang="0">
                  <a:pos x="5" y="9"/>
                </a:cxn>
                <a:cxn ang="0">
                  <a:pos x="2" y="13"/>
                </a:cxn>
                <a:cxn ang="0">
                  <a:pos x="6" y="20"/>
                </a:cxn>
                <a:cxn ang="0">
                  <a:pos x="8" y="26"/>
                </a:cxn>
                <a:cxn ang="0">
                  <a:pos x="24" y="27"/>
                </a:cxn>
                <a:cxn ang="0">
                  <a:pos x="43" y="37"/>
                </a:cxn>
                <a:cxn ang="0">
                  <a:pos x="59" y="54"/>
                </a:cxn>
                <a:cxn ang="0">
                  <a:pos x="93" y="90"/>
                </a:cxn>
                <a:cxn ang="0">
                  <a:pos x="100" y="84"/>
                </a:cxn>
                <a:cxn ang="0">
                  <a:pos x="98" y="69"/>
                </a:cxn>
                <a:cxn ang="0">
                  <a:pos x="102" y="58"/>
                </a:cxn>
                <a:cxn ang="0">
                  <a:pos x="70" y="16"/>
                </a:cxn>
                <a:cxn ang="0">
                  <a:pos x="58" y="8"/>
                </a:cxn>
                <a:cxn ang="0">
                  <a:pos x="50" y="10"/>
                </a:cxn>
                <a:cxn ang="0">
                  <a:pos x="50" y="11"/>
                </a:cxn>
                <a:cxn ang="0">
                  <a:pos x="46" y="9"/>
                </a:cxn>
                <a:cxn ang="0">
                  <a:pos x="24" y="1"/>
                </a:cxn>
                <a:cxn ang="0">
                  <a:pos x="19" y="7"/>
                </a:cxn>
                <a:cxn ang="0">
                  <a:pos x="19" y="7"/>
                </a:cxn>
                <a:cxn ang="0">
                  <a:pos x="19" y="7"/>
                </a:cxn>
                <a:cxn ang="0">
                  <a:pos x="4" y="4"/>
                </a:cxn>
                <a:cxn ang="0">
                  <a:pos x="2" y="12"/>
                </a:cxn>
              </a:cxnLst>
              <a:rect l="0" t="0" r="r" b="b"/>
              <a:pathLst>
                <a:path w="102" h="91">
                  <a:moveTo>
                    <a:pt x="3" y="10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7"/>
                    <a:pt x="7" y="7"/>
                    <a:pt x="8" y="7"/>
                  </a:cubicBezTo>
                  <a:cubicBezTo>
                    <a:pt x="9" y="7"/>
                    <a:pt x="11" y="8"/>
                    <a:pt x="12" y="8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5" y="10"/>
                    <a:pt x="17" y="11"/>
                    <a:pt x="19" y="11"/>
                  </a:cubicBezTo>
                  <a:cubicBezTo>
                    <a:pt x="20" y="11"/>
                    <a:pt x="21" y="11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4" y="9"/>
                    <a:pt x="25" y="7"/>
                    <a:pt x="25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5"/>
                    <a:pt x="27" y="4"/>
                    <a:pt x="28" y="4"/>
                  </a:cubicBezTo>
                  <a:cubicBezTo>
                    <a:pt x="29" y="4"/>
                    <a:pt x="31" y="4"/>
                    <a:pt x="32" y="5"/>
                  </a:cubicBezTo>
                  <a:cubicBezTo>
                    <a:pt x="34" y="5"/>
                    <a:pt x="35" y="6"/>
                    <a:pt x="36" y="7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46" y="14"/>
                    <a:pt x="48" y="15"/>
                    <a:pt x="50" y="15"/>
                  </a:cubicBezTo>
                  <a:cubicBezTo>
                    <a:pt x="51" y="15"/>
                    <a:pt x="52" y="14"/>
                    <a:pt x="53" y="14"/>
                  </a:cubicBezTo>
                  <a:cubicBezTo>
                    <a:pt x="53" y="14"/>
                    <a:pt x="53" y="14"/>
                    <a:pt x="53" y="14"/>
                  </a:cubicBezTo>
                  <a:cubicBezTo>
                    <a:pt x="53" y="14"/>
                    <a:pt x="53" y="14"/>
                    <a:pt x="53" y="14"/>
                  </a:cubicBezTo>
                  <a:cubicBezTo>
                    <a:pt x="53" y="13"/>
                    <a:pt x="53" y="13"/>
                    <a:pt x="53" y="13"/>
                  </a:cubicBezTo>
                  <a:cubicBezTo>
                    <a:pt x="54" y="13"/>
                    <a:pt x="56" y="12"/>
                    <a:pt x="58" y="12"/>
                  </a:cubicBezTo>
                  <a:cubicBezTo>
                    <a:pt x="58" y="12"/>
                    <a:pt x="59" y="13"/>
                    <a:pt x="60" y="13"/>
                  </a:cubicBezTo>
                  <a:cubicBezTo>
                    <a:pt x="61" y="13"/>
                    <a:pt x="61" y="14"/>
                    <a:pt x="61" y="14"/>
                  </a:cubicBezTo>
                  <a:cubicBezTo>
                    <a:pt x="62" y="15"/>
                    <a:pt x="63" y="16"/>
                    <a:pt x="64" y="17"/>
                  </a:cubicBezTo>
                  <a:cubicBezTo>
                    <a:pt x="66" y="18"/>
                    <a:pt x="67" y="19"/>
                    <a:pt x="69" y="20"/>
                  </a:cubicBez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6"/>
                  </a:cubicBezTo>
                  <a:cubicBezTo>
                    <a:pt x="96" y="37"/>
                    <a:pt x="97" y="39"/>
                    <a:pt x="97" y="40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61"/>
                    <a:pt x="97" y="62"/>
                    <a:pt x="97" y="63"/>
                  </a:cubicBezTo>
                  <a:cubicBezTo>
                    <a:pt x="96" y="65"/>
                    <a:pt x="96" y="65"/>
                    <a:pt x="96" y="65"/>
                  </a:cubicBezTo>
                  <a:cubicBezTo>
                    <a:pt x="94" y="66"/>
                    <a:pt x="94" y="67"/>
                    <a:pt x="93" y="68"/>
                  </a:cubicBezTo>
                  <a:cubicBezTo>
                    <a:pt x="93" y="69"/>
                    <a:pt x="93" y="71"/>
                    <a:pt x="93" y="72"/>
                  </a:cubicBezTo>
                  <a:cubicBezTo>
                    <a:pt x="93" y="73"/>
                    <a:pt x="93" y="75"/>
                    <a:pt x="93" y="76"/>
                  </a:cubicBezTo>
                  <a:cubicBezTo>
                    <a:pt x="95" y="85"/>
                    <a:pt x="95" y="85"/>
                    <a:pt x="95" y="85"/>
                  </a:cubicBezTo>
                  <a:cubicBezTo>
                    <a:pt x="96" y="86"/>
                    <a:pt x="96" y="87"/>
                    <a:pt x="96" y="87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7" y="88"/>
                    <a:pt x="97" y="88"/>
                    <a:pt x="97" y="88"/>
                  </a:cubicBezTo>
                  <a:cubicBezTo>
                    <a:pt x="97" y="87"/>
                    <a:pt x="97" y="87"/>
                    <a:pt x="97" y="87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7" y="88"/>
                    <a:pt x="97" y="88"/>
                    <a:pt x="97" y="88"/>
                  </a:cubicBezTo>
                  <a:cubicBezTo>
                    <a:pt x="97" y="87"/>
                    <a:pt x="97" y="87"/>
                    <a:pt x="97" y="87"/>
                  </a:cubicBezTo>
                  <a:cubicBezTo>
                    <a:pt x="97" y="87"/>
                    <a:pt x="97" y="87"/>
                    <a:pt x="97" y="87"/>
                  </a:cubicBezTo>
                  <a:cubicBezTo>
                    <a:pt x="97" y="87"/>
                    <a:pt x="97" y="87"/>
                    <a:pt x="97" y="87"/>
                  </a:cubicBezTo>
                  <a:cubicBezTo>
                    <a:pt x="97" y="87"/>
                    <a:pt x="97" y="87"/>
                    <a:pt x="97" y="87"/>
                  </a:cubicBezTo>
                  <a:cubicBezTo>
                    <a:pt x="97" y="87"/>
                    <a:pt x="97" y="87"/>
                    <a:pt x="97" y="87"/>
                  </a:cubicBezTo>
                  <a:cubicBezTo>
                    <a:pt x="97" y="87"/>
                    <a:pt x="97" y="87"/>
                    <a:pt x="97" y="87"/>
                  </a:cubicBezTo>
                  <a:cubicBezTo>
                    <a:pt x="97" y="87"/>
                    <a:pt x="97" y="87"/>
                    <a:pt x="97" y="87"/>
                  </a:cubicBezTo>
                  <a:cubicBezTo>
                    <a:pt x="96" y="86"/>
                    <a:pt x="96" y="86"/>
                    <a:pt x="96" y="86"/>
                  </a:cubicBezTo>
                  <a:cubicBezTo>
                    <a:pt x="68" y="64"/>
                    <a:pt x="68" y="64"/>
                    <a:pt x="68" y="64"/>
                  </a:cubicBezTo>
                  <a:cubicBezTo>
                    <a:pt x="67" y="63"/>
                    <a:pt x="66" y="61"/>
                    <a:pt x="65" y="60"/>
                  </a:cubicBezTo>
                  <a:cubicBezTo>
                    <a:pt x="64" y="58"/>
                    <a:pt x="63" y="56"/>
                    <a:pt x="63" y="55"/>
                  </a:cubicBezTo>
                  <a:cubicBezTo>
                    <a:pt x="63" y="53"/>
                    <a:pt x="63" y="53"/>
                    <a:pt x="63" y="53"/>
                  </a:cubicBezTo>
                  <a:cubicBezTo>
                    <a:pt x="63" y="51"/>
                    <a:pt x="62" y="49"/>
                    <a:pt x="61" y="47"/>
                  </a:cubicBezTo>
                  <a:cubicBezTo>
                    <a:pt x="60" y="45"/>
                    <a:pt x="58" y="43"/>
                    <a:pt x="57" y="42"/>
                  </a:cubicBezTo>
                  <a:cubicBezTo>
                    <a:pt x="54" y="40"/>
                    <a:pt x="54" y="40"/>
                    <a:pt x="54" y="40"/>
                  </a:cubicBezTo>
                  <a:cubicBezTo>
                    <a:pt x="52" y="38"/>
                    <a:pt x="48" y="35"/>
                    <a:pt x="45" y="34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3" y="25"/>
                    <a:pt x="32" y="24"/>
                    <a:pt x="30" y="23"/>
                  </a:cubicBezTo>
                  <a:cubicBezTo>
                    <a:pt x="28" y="23"/>
                    <a:pt x="26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23"/>
                    <a:pt x="11" y="23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1" y="20"/>
                    <a:pt x="10" y="18"/>
                    <a:pt x="9" y="17"/>
                  </a:cubicBezTo>
                  <a:cubicBezTo>
                    <a:pt x="9" y="16"/>
                    <a:pt x="7" y="16"/>
                    <a:pt x="6" y="16"/>
                  </a:cubicBezTo>
                  <a:cubicBezTo>
                    <a:pt x="6" y="15"/>
                    <a:pt x="5" y="15"/>
                    <a:pt x="5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6" y="11"/>
                    <a:pt x="6" y="10"/>
                    <a:pt x="5" y="9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1" y="14"/>
                    <a:pt x="1" y="15"/>
                    <a:pt x="1" y="16"/>
                  </a:cubicBezTo>
                  <a:cubicBezTo>
                    <a:pt x="1" y="17"/>
                    <a:pt x="2" y="18"/>
                    <a:pt x="2" y="18"/>
                  </a:cubicBezTo>
                  <a:cubicBezTo>
                    <a:pt x="3" y="19"/>
                    <a:pt x="4" y="19"/>
                    <a:pt x="5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4"/>
                    <a:pt x="7" y="25"/>
                    <a:pt x="8" y="26"/>
                  </a:cubicBezTo>
                  <a:cubicBezTo>
                    <a:pt x="10" y="27"/>
                    <a:pt x="11" y="27"/>
                    <a:pt x="12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5" y="27"/>
                    <a:pt x="27" y="27"/>
                    <a:pt x="28" y="28"/>
                  </a:cubicBezTo>
                  <a:cubicBezTo>
                    <a:pt x="30" y="28"/>
                    <a:pt x="31" y="29"/>
                    <a:pt x="32" y="29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5" y="39"/>
                    <a:pt x="49" y="42"/>
                    <a:pt x="52" y="44"/>
                  </a:cubicBezTo>
                  <a:cubicBezTo>
                    <a:pt x="54" y="45"/>
                    <a:pt x="54" y="45"/>
                    <a:pt x="54" y="45"/>
                  </a:cubicBezTo>
                  <a:cubicBezTo>
                    <a:pt x="55" y="46"/>
                    <a:pt x="56" y="47"/>
                    <a:pt x="57" y="49"/>
                  </a:cubicBezTo>
                  <a:cubicBezTo>
                    <a:pt x="58" y="51"/>
                    <a:pt x="58" y="52"/>
                    <a:pt x="59" y="54"/>
                  </a:cubicBezTo>
                  <a:cubicBezTo>
                    <a:pt x="59" y="55"/>
                    <a:pt x="59" y="55"/>
                    <a:pt x="59" y="55"/>
                  </a:cubicBezTo>
                  <a:cubicBezTo>
                    <a:pt x="59" y="58"/>
                    <a:pt x="60" y="60"/>
                    <a:pt x="61" y="62"/>
                  </a:cubicBezTo>
                  <a:cubicBezTo>
                    <a:pt x="62" y="64"/>
                    <a:pt x="64" y="66"/>
                    <a:pt x="65" y="67"/>
                  </a:cubicBezTo>
                  <a:cubicBezTo>
                    <a:pt x="93" y="90"/>
                    <a:pt x="93" y="90"/>
                    <a:pt x="93" y="90"/>
                  </a:cubicBezTo>
                  <a:cubicBezTo>
                    <a:pt x="94" y="90"/>
                    <a:pt x="95" y="91"/>
                    <a:pt x="97" y="91"/>
                  </a:cubicBezTo>
                  <a:cubicBezTo>
                    <a:pt x="98" y="91"/>
                    <a:pt x="99" y="90"/>
                    <a:pt x="99" y="89"/>
                  </a:cubicBezTo>
                  <a:cubicBezTo>
                    <a:pt x="100" y="89"/>
                    <a:pt x="100" y="88"/>
                    <a:pt x="100" y="87"/>
                  </a:cubicBezTo>
                  <a:cubicBezTo>
                    <a:pt x="100" y="86"/>
                    <a:pt x="100" y="85"/>
                    <a:pt x="100" y="84"/>
                  </a:cubicBezTo>
                  <a:cubicBezTo>
                    <a:pt x="97" y="75"/>
                    <a:pt x="97" y="75"/>
                    <a:pt x="97" y="75"/>
                  </a:cubicBezTo>
                  <a:cubicBezTo>
                    <a:pt x="97" y="74"/>
                    <a:pt x="97" y="73"/>
                    <a:pt x="97" y="72"/>
                  </a:cubicBezTo>
                  <a:cubicBezTo>
                    <a:pt x="97" y="71"/>
                    <a:pt x="97" y="70"/>
                    <a:pt x="97" y="70"/>
                  </a:cubicBezTo>
                  <a:cubicBezTo>
                    <a:pt x="98" y="69"/>
                    <a:pt x="98" y="69"/>
                    <a:pt x="98" y="69"/>
                  </a:cubicBezTo>
                  <a:cubicBezTo>
                    <a:pt x="98" y="69"/>
                    <a:pt x="98" y="69"/>
                    <a:pt x="98" y="69"/>
                  </a:cubicBezTo>
                  <a:cubicBezTo>
                    <a:pt x="99" y="68"/>
                    <a:pt x="100" y="66"/>
                    <a:pt x="101" y="65"/>
                  </a:cubicBezTo>
                  <a:cubicBezTo>
                    <a:pt x="101" y="63"/>
                    <a:pt x="102" y="61"/>
                    <a:pt x="102" y="59"/>
                  </a:cubicBezTo>
                  <a:cubicBezTo>
                    <a:pt x="102" y="58"/>
                    <a:pt x="102" y="58"/>
                    <a:pt x="102" y="58"/>
                  </a:cubicBezTo>
                  <a:cubicBezTo>
                    <a:pt x="101" y="40"/>
                    <a:pt x="101" y="40"/>
                    <a:pt x="101" y="40"/>
                  </a:cubicBezTo>
                  <a:cubicBezTo>
                    <a:pt x="101" y="38"/>
                    <a:pt x="100" y="35"/>
                    <a:pt x="99" y="34"/>
                  </a:cubicBezTo>
                  <a:cubicBezTo>
                    <a:pt x="98" y="32"/>
                    <a:pt x="97" y="30"/>
                    <a:pt x="95" y="29"/>
                  </a:cubicBezTo>
                  <a:cubicBezTo>
                    <a:pt x="70" y="16"/>
                    <a:pt x="70" y="16"/>
                    <a:pt x="70" y="16"/>
                  </a:cubicBezTo>
                  <a:cubicBezTo>
                    <a:pt x="69" y="16"/>
                    <a:pt x="68" y="15"/>
                    <a:pt x="67" y="14"/>
                  </a:cubicBezTo>
                  <a:cubicBezTo>
                    <a:pt x="66" y="13"/>
                    <a:pt x="65" y="12"/>
                    <a:pt x="65" y="12"/>
                  </a:cubicBezTo>
                  <a:cubicBezTo>
                    <a:pt x="65" y="10"/>
                    <a:pt x="63" y="10"/>
                    <a:pt x="62" y="9"/>
                  </a:cubicBezTo>
                  <a:cubicBezTo>
                    <a:pt x="61" y="8"/>
                    <a:pt x="59" y="8"/>
                    <a:pt x="58" y="8"/>
                  </a:cubicBezTo>
                  <a:cubicBezTo>
                    <a:pt x="56" y="8"/>
                    <a:pt x="55" y="8"/>
                    <a:pt x="53" y="9"/>
                  </a:cubicBezTo>
                  <a:cubicBezTo>
                    <a:pt x="52" y="9"/>
                    <a:pt x="51" y="10"/>
                    <a:pt x="50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49" y="10"/>
                    <a:pt x="48" y="10"/>
                    <a:pt x="46" y="9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7" y="2"/>
                    <a:pt x="36" y="2"/>
                    <a:pt x="34" y="1"/>
                  </a:cubicBezTo>
                  <a:cubicBezTo>
                    <a:pt x="32" y="0"/>
                    <a:pt x="30" y="0"/>
                    <a:pt x="28" y="0"/>
                  </a:cubicBezTo>
                  <a:cubicBezTo>
                    <a:pt x="27" y="0"/>
                    <a:pt x="25" y="0"/>
                    <a:pt x="24" y="1"/>
                  </a:cubicBezTo>
                  <a:cubicBezTo>
                    <a:pt x="23" y="1"/>
                    <a:pt x="23" y="1"/>
                    <a:pt x="22" y="2"/>
                  </a:cubicBezTo>
                  <a:cubicBezTo>
                    <a:pt x="22" y="2"/>
                    <a:pt x="21" y="3"/>
                    <a:pt x="21" y="4"/>
                  </a:cubicBezTo>
                  <a:cubicBezTo>
                    <a:pt x="21" y="5"/>
                    <a:pt x="20" y="6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3" y="4"/>
                    <a:pt x="10" y="3"/>
                    <a:pt x="8" y="3"/>
                  </a:cubicBezTo>
                  <a:cubicBezTo>
                    <a:pt x="7" y="3"/>
                    <a:pt x="5" y="3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2" y="5"/>
                    <a:pt x="1" y="7"/>
                    <a:pt x="0" y="9"/>
                  </a:cubicBezTo>
                  <a:cubicBezTo>
                    <a:pt x="0" y="10"/>
                    <a:pt x="1" y="11"/>
                    <a:pt x="2" y="12"/>
                  </a:cubicBezTo>
                  <a:lnTo>
                    <a:pt x="3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40" name="Freeform 283"/>
            <p:cNvSpPr>
              <a:spLocks/>
            </p:cNvSpPr>
            <p:nvPr/>
          </p:nvSpPr>
          <p:spPr bwMode="auto">
            <a:xfrm>
              <a:off x="-3747136" y="2502248"/>
              <a:ext cx="2043643" cy="2208892"/>
            </a:xfrm>
            <a:custGeom>
              <a:avLst/>
              <a:gdLst/>
              <a:ahLst/>
              <a:cxnLst>
                <a:cxn ang="0">
                  <a:pos x="149" y="233"/>
                </a:cxn>
                <a:cxn ang="0">
                  <a:pos x="200" y="200"/>
                </a:cxn>
                <a:cxn ang="0">
                  <a:pos x="136" y="153"/>
                </a:cxn>
                <a:cxn ang="0">
                  <a:pos x="118" y="159"/>
                </a:cxn>
                <a:cxn ang="0">
                  <a:pos x="91" y="153"/>
                </a:cxn>
                <a:cxn ang="0">
                  <a:pos x="125" y="110"/>
                </a:cxn>
                <a:cxn ang="0">
                  <a:pos x="135" y="95"/>
                </a:cxn>
                <a:cxn ang="0">
                  <a:pos x="144" y="108"/>
                </a:cxn>
                <a:cxn ang="0">
                  <a:pos x="176" y="71"/>
                </a:cxn>
                <a:cxn ang="0">
                  <a:pos x="146" y="91"/>
                </a:cxn>
                <a:cxn ang="0">
                  <a:pos x="186" y="35"/>
                </a:cxn>
                <a:cxn ang="0">
                  <a:pos x="206" y="57"/>
                </a:cxn>
                <a:cxn ang="0">
                  <a:pos x="376" y="30"/>
                </a:cxn>
                <a:cxn ang="0">
                  <a:pos x="540" y="125"/>
                </a:cxn>
                <a:cxn ang="0">
                  <a:pos x="499" y="130"/>
                </a:cxn>
                <a:cxn ang="0">
                  <a:pos x="471" y="177"/>
                </a:cxn>
                <a:cxn ang="0">
                  <a:pos x="513" y="269"/>
                </a:cxn>
                <a:cxn ang="0">
                  <a:pos x="475" y="332"/>
                </a:cxn>
                <a:cxn ang="0">
                  <a:pos x="488" y="385"/>
                </a:cxn>
                <a:cxn ang="0">
                  <a:pos x="462" y="329"/>
                </a:cxn>
                <a:cxn ang="0">
                  <a:pos x="380" y="349"/>
                </a:cxn>
                <a:cxn ang="0">
                  <a:pos x="380" y="350"/>
                </a:cxn>
                <a:cxn ang="0">
                  <a:pos x="260" y="232"/>
                </a:cxn>
                <a:cxn ang="0">
                  <a:pos x="295" y="281"/>
                </a:cxn>
                <a:cxn ang="0">
                  <a:pos x="236" y="336"/>
                </a:cxn>
                <a:cxn ang="0">
                  <a:pos x="223" y="451"/>
                </a:cxn>
                <a:cxn ang="0">
                  <a:pos x="142" y="582"/>
                </a:cxn>
                <a:cxn ang="0">
                  <a:pos x="71" y="361"/>
                </a:cxn>
                <a:cxn ang="0">
                  <a:pos x="73" y="364"/>
                </a:cxn>
                <a:cxn ang="0">
                  <a:pos x="142" y="587"/>
                </a:cxn>
                <a:cxn ang="0">
                  <a:pos x="226" y="449"/>
                </a:cxn>
                <a:cxn ang="0">
                  <a:pos x="239" y="332"/>
                </a:cxn>
                <a:cxn ang="0">
                  <a:pos x="206" y="251"/>
                </a:cxn>
                <a:cxn ang="0">
                  <a:pos x="301" y="278"/>
                </a:cxn>
                <a:cxn ang="0">
                  <a:pos x="298" y="266"/>
                </a:cxn>
                <a:cxn ang="0">
                  <a:pos x="376" y="350"/>
                </a:cxn>
                <a:cxn ang="0">
                  <a:pos x="459" y="336"/>
                </a:cxn>
                <a:cxn ang="0">
                  <a:pos x="473" y="335"/>
                </a:cxn>
                <a:cxn ang="0">
                  <a:pos x="473" y="336"/>
                </a:cxn>
                <a:cxn ang="0">
                  <a:pos x="516" y="242"/>
                </a:cxn>
                <a:cxn ang="0">
                  <a:pos x="475" y="179"/>
                </a:cxn>
                <a:cxn ang="0">
                  <a:pos x="501" y="123"/>
                </a:cxn>
                <a:cxn ang="0">
                  <a:pos x="542" y="118"/>
                </a:cxn>
                <a:cxn ang="0">
                  <a:pos x="299" y="0"/>
                </a:cxn>
                <a:cxn ang="0">
                  <a:pos x="199" y="48"/>
                </a:cxn>
                <a:cxn ang="0">
                  <a:pos x="197" y="48"/>
                </a:cxn>
                <a:cxn ang="0">
                  <a:pos x="206" y="38"/>
                </a:cxn>
                <a:cxn ang="0">
                  <a:pos x="138" y="85"/>
                </a:cxn>
                <a:cxn ang="0">
                  <a:pos x="171" y="57"/>
                </a:cxn>
                <a:cxn ang="0">
                  <a:pos x="175" y="75"/>
                </a:cxn>
                <a:cxn ang="0">
                  <a:pos x="182" y="74"/>
                </a:cxn>
                <a:cxn ang="0">
                  <a:pos x="145" y="106"/>
                </a:cxn>
                <a:cxn ang="0">
                  <a:pos x="125" y="106"/>
                </a:cxn>
                <a:cxn ang="0">
                  <a:pos x="68" y="160"/>
                </a:cxn>
                <a:cxn ang="0">
                  <a:pos x="134" y="185"/>
                </a:cxn>
                <a:cxn ang="0">
                  <a:pos x="139" y="157"/>
                </a:cxn>
                <a:cxn ang="0">
                  <a:pos x="171" y="181"/>
                </a:cxn>
                <a:cxn ang="0">
                  <a:pos x="173" y="187"/>
                </a:cxn>
                <a:cxn ang="0">
                  <a:pos x="195" y="229"/>
                </a:cxn>
                <a:cxn ang="0">
                  <a:pos x="122" y="196"/>
                </a:cxn>
              </a:cxnLst>
              <a:rect l="0" t="0" r="r" b="b"/>
              <a:pathLst>
                <a:path w="544" h="587">
                  <a:moveTo>
                    <a:pt x="3" y="312"/>
                  </a:moveTo>
                  <a:cubicBezTo>
                    <a:pt x="5" y="311"/>
                    <a:pt x="5" y="311"/>
                    <a:pt x="5" y="311"/>
                  </a:cubicBezTo>
                  <a:cubicBezTo>
                    <a:pt x="5" y="310"/>
                    <a:pt x="4" y="309"/>
                    <a:pt x="4" y="308"/>
                  </a:cubicBezTo>
                  <a:cubicBezTo>
                    <a:pt x="4" y="306"/>
                    <a:pt x="5" y="302"/>
                    <a:pt x="6" y="301"/>
                  </a:cubicBezTo>
                  <a:cubicBezTo>
                    <a:pt x="46" y="220"/>
                    <a:pt x="46" y="220"/>
                    <a:pt x="46" y="220"/>
                  </a:cubicBezTo>
                  <a:cubicBezTo>
                    <a:pt x="47" y="219"/>
                    <a:pt x="48" y="218"/>
                    <a:pt x="49" y="217"/>
                  </a:cubicBezTo>
                  <a:cubicBezTo>
                    <a:pt x="50" y="215"/>
                    <a:pt x="52" y="215"/>
                    <a:pt x="53" y="214"/>
                  </a:cubicBezTo>
                  <a:cubicBezTo>
                    <a:pt x="117" y="198"/>
                    <a:pt x="117" y="198"/>
                    <a:pt x="117" y="198"/>
                  </a:cubicBezTo>
                  <a:cubicBezTo>
                    <a:pt x="118" y="198"/>
                    <a:pt x="118" y="198"/>
                    <a:pt x="118" y="198"/>
                  </a:cubicBezTo>
                  <a:cubicBezTo>
                    <a:pt x="118" y="198"/>
                    <a:pt x="118" y="198"/>
                    <a:pt x="119" y="199"/>
                  </a:cubicBezTo>
                  <a:cubicBezTo>
                    <a:pt x="119" y="199"/>
                    <a:pt x="120" y="200"/>
                    <a:pt x="120" y="201"/>
                  </a:cubicBezTo>
                  <a:cubicBezTo>
                    <a:pt x="120" y="212"/>
                    <a:pt x="120" y="212"/>
                    <a:pt x="120" y="212"/>
                  </a:cubicBezTo>
                  <a:cubicBezTo>
                    <a:pt x="120" y="214"/>
                    <a:pt x="121" y="216"/>
                    <a:pt x="122" y="218"/>
                  </a:cubicBezTo>
                  <a:cubicBezTo>
                    <a:pt x="123" y="220"/>
                    <a:pt x="125" y="222"/>
                    <a:pt x="127" y="223"/>
                  </a:cubicBezTo>
                  <a:cubicBezTo>
                    <a:pt x="145" y="232"/>
                    <a:pt x="145" y="232"/>
                    <a:pt x="145" y="232"/>
                  </a:cubicBezTo>
                  <a:cubicBezTo>
                    <a:pt x="146" y="233"/>
                    <a:pt x="148" y="233"/>
                    <a:pt x="149" y="233"/>
                  </a:cubicBezTo>
                  <a:cubicBezTo>
                    <a:pt x="152" y="233"/>
                    <a:pt x="154" y="232"/>
                    <a:pt x="156" y="231"/>
                  </a:cubicBezTo>
                  <a:cubicBezTo>
                    <a:pt x="159" y="228"/>
                    <a:pt x="159" y="228"/>
                    <a:pt x="159" y="228"/>
                  </a:cubicBezTo>
                  <a:cubicBezTo>
                    <a:pt x="160" y="228"/>
                    <a:pt x="162" y="227"/>
                    <a:pt x="163" y="227"/>
                  </a:cubicBezTo>
                  <a:cubicBezTo>
                    <a:pt x="164" y="227"/>
                    <a:pt x="165" y="228"/>
                    <a:pt x="166" y="228"/>
                  </a:cubicBezTo>
                  <a:cubicBezTo>
                    <a:pt x="172" y="233"/>
                    <a:pt x="172" y="233"/>
                    <a:pt x="172" y="233"/>
                  </a:cubicBezTo>
                  <a:cubicBezTo>
                    <a:pt x="174" y="234"/>
                    <a:pt x="177" y="235"/>
                    <a:pt x="179" y="235"/>
                  </a:cubicBezTo>
                  <a:cubicBezTo>
                    <a:pt x="181" y="235"/>
                    <a:pt x="182" y="234"/>
                    <a:pt x="184" y="233"/>
                  </a:cubicBezTo>
                  <a:cubicBezTo>
                    <a:pt x="185" y="232"/>
                    <a:pt x="185" y="232"/>
                    <a:pt x="185" y="232"/>
                  </a:cubicBezTo>
                  <a:cubicBezTo>
                    <a:pt x="186" y="232"/>
                    <a:pt x="187" y="232"/>
                    <a:pt x="188" y="232"/>
                  </a:cubicBezTo>
                  <a:cubicBezTo>
                    <a:pt x="190" y="232"/>
                    <a:pt x="191" y="232"/>
                    <a:pt x="192" y="233"/>
                  </a:cubicBezTo>
                  <a:cubicBezTo>
                    <a:pt x="194" y="234"/>
                    <a:pt x="194" y="234"/>
                    <a:pt x="194" y="234"/>
                  </a:cubicBezTo>
                  <a:cubicBezTo>
                    <a:pt x="195" y="235"/>
                    <a:pt x="196" y="235"/>
                    <a:pt x="197" y="235"/>
                  </a:cubicBezTo>
                  <a:cubicBezTo>
                    <a:pt x="199" y="235"/>
                    <a:pt x="200" y="234"/>
                    <a:pt x="201" y="233"/>
                  </a:cubicBezTo>
                  <a:cubicBezTo>
                    <a:pt x="202" y="232"/>
                    <a:pt x="202" y="231"/>
                    <a:pt x="202" y="229"/>
                  </a:cubicBezTo>
                  <a:cubicBezTo>
                    <a:pt x="202" y="206"/>
                    <a:pt x="202" y="206"/>
                    <a:pt x="202" y="206"/>
                  </a:cubicBezTo>
                  <a:cubicBezTo>
                    <a:pt x="202" y="204"/>
                    <a:pt x="201" y="202"/>
                    <a:pt x="200" y="200"/>
                  </a:cubicBezTo>
                  <a:cubicBezTo>
                    <a:pt x="199" y="198"/>
                    <a:pt x="197" y="197"/>
                    <a:pt x="195" y="196"/>
                  </a:cubicBezTo>
                  <a:cubicBezTo>
                    <a:pt x="183" y="192"/>
                    <a:pt x="183" y="192"/>
                    <a:pt x="183" y="192"/>
                  </a:cubicBezTo>
                  <a:cubicBezTo>
                    <a:pt x="182" y="192"/>
                    <a:pt x="181" y="191"/>
                    <a:pt x="180" y="190"/>
                  </a:cubicBezTo>
                  <a:cubicBezTo>
                    <a:pt x="179" y="189"/>
                    <a:pt x="178" y="188"/>
                    <a:pt x="177" y="186"/>
                  </a:cubicBezTo>
                  <a:cubicBezTo>
                    <a:pt x="176" y="181"/>
                    <a:pt x="176" y="181"/>
                    <a:pt x="176" y="181"/>
                  </a:cubicBezTo>
                  <a:cubicBezTo>
                    <a:pt x="176" y="180"/>
                    <a:pt x="175" y="179"/>
                    <a:pt x="174" y="178"/>
                  </a:cubicBezTo>
                  <a:cubicBezTo>
                    <a:pt x="174" y="178"/>
                    <a:pt x="173" y="177"/>
                    <a:pt x="171" y="177"/>
                  </a:cubicBezTo>
                  <a:cubicBezTo>
                    <a:pt x="170" y="177"/>
                    <a:pt x="170" y="177"/>
                    <a:pt x="169" y="178"/>
                  </a:cubicBezTo>
                  <a:cubicBezTo>
                    <a:pt x="168" y="178"/>
                    <a:pt x="168" y="179"/>
                    <a:pt x="167" y="180"/>
                  </a:cubicBezTo>
                  <a:cubicBezTo>
                    <a:pt x="164" y="185"/>
                    <a:pt x="164" y="185"/>
                    <a:pt x="164" y="185"/>
                  </a:cubicBezTo>
                  <a:cubicBezTo>
                    <a:pt x="163" y="186"/>
                    <a:pt x="163" y="186"/>
                    <a:pt x="163" y="186"/>
                  </a:cubicBezTo>
                  <a:cubicBezTo>
                    <a:pt x="162" y="186"/>
                    <a:pt x="162" y="186"/>
                    <a:pt x="161" y="185"/>
                  </a:cubicBezTo>
                  <a:cubicBezTo>
                    <a:pt x="143" y="156"/>
                    <a:pt x="143" y="156"/>
                    <a:pt x="143" y="156"/>
                  </a:cubicBezTo>
                  <a:cubicBezTo>
                    <a:pt x="143" y="155"/>
                    <a:pt x="142" y="154"/>
                    <a:pt x="141" y="154"/>
                  </a:cubicBezTo>
                  <a:cubicBezTo>
                    <a:pt x="141" y="153"/>
                    <a:pt x="140" y="153"/>
                    <a:pt x="138" y="153"/>
                  </a:cubicBezTo>
                  <a:cubicBezTo>
                    <a:pt x="138" y="153"/>
                    <a:pt x="137" y="153"/>
                    <a:pt x="136" y="153"/>
                  </a:cubicBezTo>
                  <a:cubicBezTo>
                    <a:pt x="135" y="154"/>
                    <a:pt x="135" y="154"/>
                    <a:pt x="135" y="155"/>
                  </a:cubicBezTo>
                  <a:cubicBezTo>
                    <a:pt x="134" y="156"/>
                    <a:pt x="134" y="157"/>
                    <a:pt x="134" y="159"/>
                  </a:cubicBezTo>
                  <a:cubicBezTo>
                    <a:pt x="134" y="161"/>
                    <a:pt x="135" y="164"/>
                    <a:pt x="136" y="166"/>
                  </a:cubicBezTo>
                  <a:cubicBezTo>
                    <a:pt x="141" y="175"/>
                    <a:pt x="141" y="175"/>
                    <a:pt x="141" y="175"/>
                  </a:cubicBezTo>
                  <a:cubicBezTo>
                    <a:pt x="141" y="176"/>
                    <a:pt x="142" y="177"/>
                    <a:pt x="142" y="179"/>
                  </a:cubicBezTo>
                  <a:cubicBezTo>
                    <a:pt x="142" y="180"/>
                    <a:pt x="141" y="182"/>
                    <a:pt x="141" y="183"/>
                  </a:cubicBezTo>
                  <a:cubicBezTo>
                    <a:pt x="141" y="183"/>
                    <a:pt x="141" y="183"/>
                    <a:pt x="141" y="183"/>
                  </a:cubicBezTo>
                  <a:cubicBezTo>
                    <a:pt x="140" y="184"/>
                    <a:pt x="140" y="184"/>
                    <a:pt x="140" y="184"/>
                  </a:cubicBezTo>
                  <a:cubicBezTo>
                    <a:pt x="140" y="184"/>
                    <a:pt x="140" y="184"/>
                    <a:pt x="140" y="184"/>
                  </a:cubicBezTo>
                  <a:cubicBezTo>
                    <a:pt x="140" y="184"/>
                    <a:pt x="140" y="184"/>
                    <a:pt x="140" y="184"/>
                  </a:cubicBezTo>
                  <a:cubicBezTo>
                    <a:pt x="139" y="185"/>
                    <a:pt x="139" y="185"/>
                    <a:pt x="139" y="185"/>
                  </a:cubicBezTo>
                  <a:cubicBezTo>
                    <a:pt x="139" y="184"/>
                    <a:pt x="139" y="184"/>
                    <a:pt x="139" y="184"/>
                  </a:cubicBezTo>
                  <a:cubicBezTo>
                    <a:pt x="138" y="184"/>
                    <a:pt x="138" y="184"/>
                    <a:pt x="138" y="183"/>
                  </a:cubicBezTo>
                  <a:cubicBezTo>
                    <a:pt x="129" y="163"/>
                    <a:pt x="129" y="163"/>
                    <a:pt x="129" y="163"/>
                  </a:cubicBezTo>
                  <a:cubicBezTo>
                    <a:pt x="127" y="160"/>
                    <a:pt x="124" y="158"/>
                    <a:pt x="121" y="158"/>
                  </a:cubicBezTo>
                  <a:cubicBezTo>
                    <a:pt x="120" y="158"/>
                    <a:pt x="119" y="158"/>
                    <a:pt x="118" y="159"/>
                  </a:cubicBezTo>
                  <a:cubicBezTo>
                    <a:pt x="105" y="165"/>
                    <a:pt x="105" y="165"/>
                    <a:pt x="105" y="165"/>
                  </a:cubicBezTo>
                  <a:cubicBezTo>
                    <a:pt x="102" y="167"/>
                    <a:pt x="98" y="170"/>
                    <a:pt x="96" y="173"/>
                  </a:cubicBezTo>
                  <a:cubicBezTo>
                    <a:pt x="86" y="187"/>
                    <a:pt x="86" y="187"/>
                    <a:pt x="86" y="187"/>
                  </a:cubicBezTo>
                  <a:cubicBezTo>
                    <a:pt x="85" y="188"/>
                    <a:pt x="84" y="189"/>
                    <a:pt x="83" y="190"/>
                  </a:cubicBezTo>
                  <a:cubicBezTo>
                    <a:pt x="81" y="191"/>
                    <a:pt x="80" y="191"/>
                    <a:pt x="79" y="191"/>
                  </a:cubicBezTo>
                  <a:cubicBezTo>
                    <a:pt x="62" y="192"/>
                    <a:pt x="62" y="192"/>
                    <a:pt x="62" y="192"/>
                  </a:cubicBezTo>
                  <a:cubicBezTo>
                    <a:pt x="61" y="192"/>
                    <a:pt x="61" y="192"/>
                    <a:pt x="61" y="192"/>
                  </a:cubicBezTo>
                  <a:cubicBezTo>
                    <a:pt x="61" y="192"/>
                    <a:pt x="61" y="192"/>
                    <a:pt x="61" y="192"/>
                  </a:cubicBezTo>
                  <a:cubicBezTo>
                    <a:pt x="60" y="192"/>
                    <a:pt x="60" y="191"/>
                    <a:pt x="60" y="190"/>
                  </a:cubicBezTo>
                  <a:cubicBezTo>
                    <a:pt x="60" y="189"/>
                    <a:pt x="60" y="189"/>
                    <a:pt x="60" y="189"/>
                  </a:cubicBezTo>
                  <a:cubicBezTo>
                    <a:pt x="64" y="170"/>
                    <a:pt x="64" y="170"/>
                    <a:pt x="64" y="170"/>
                  </a:cubicBezTo>
                  <a:cubicBezTo>
                    <a:pt x="65" y="169"/>
                    <a:pt x="66" y="167"/>
                    <a:pt x="67" y="166"/>
                  </a:cubicBezTo>
                  <a:cubicBezTo>
                    <a:pt x="67" y="165"/>
                    <a:pt x="69" y="164"/>
                    <a:pt x="69" y="164"/>
                  </a:cubicBezTo>
                  <a:cubicBezTo>
                    <a:pt x="82" y="162"/>
                    <a:pt x="82" y="162"/>
                    <a:pt x="82" y="162"/>
                  </a:cubicBezTo>
                  <a:cubicBezTo>
                    <a:pt x="84" y="161"/>
                    <a:pt x="86" y="160"/>
                    <a:pt x="87" y="158"/>
                  </a:cubicBezTo>
                  <a:cubicBezTo>
                    <a:pt x="89" y="157"/>
                    <a:pt x="90" y="155"/>
                    <a:pt x="91" y="153"/>
                  </a:cubicBezTo>
                  <a:cubicBezTo>
                    <a:pt x="91" y="151"/>
                    <a:pt x="91" y="151"/>
                    <a:pt x="91" y="151"/>
                  </a:cubicBezTo>
                  <a:cubicBezTo>
                    <a:pt x="92" y="150"/>
                    <a:pt x="92" y="148"/>
                    <a:pt x="92" y="147"/>
                  </a:cubicBezTo>
                  <a:cubicBezTo>
                    <a:pt x="92" y="144"/>
                    <a:pt x="91" y="141"/>
                    <a:pt x="90" y="139"/>
                  </a:cubicBezTo>
                  <a:cubicBezTo>
                    <a:pt x="89" y="138"/>
                    <a:pt x="89" y="138"/>
                    <a:pt x="89" y="138"/>
                  </a:cubicBezTo>
                  <a:cubicBezTo>
                    <a:pt x="89" y="138"/>
                    <a:pt x="90" y="137"/>
                    <a:pt x="91" y="136"/>
                  </a:cubicBezTo>
                  <a:cubicBezTo>
                    <a:pt x="109" y="126"/>
                    <a:pt x="109" y="126"/>
                    <a:pt x="109" y="126"/>
                  </a:cubicBezTo>
                  <a:cubicBezTo>
                    <a:pt x="112" y="124"/>
                    <a:pt x="116" y="121"/>
                    <a:pt x="118" y="118"/>
                  </a:cubicBezTo>
                  <a:cubicBezTo>
                    <a:pt x="120" y="114"/>
                    <a:pt x="120" y="114"/>
                    <a:pt x="120" y="114"/>
                  </a:cubicBezTo>
                  <a:cubicBezTo>
                    <a:pt x="121" y="113"/>
                    <a:pt x="122" y="112"/>
                    <a:pt x="123" y="111"/>
                  </a:cubicBezTo>
                  <a:cubicBezTo>
                    <a:pt x="124" y="111"/>
                    <a:pt x="124" y="110"/>
                    <a:pt x="125" y="110"/>
                  </a:cubicBezTo>
                  <a:cubicBezTo>
                    <a:pt x="125" y="110"/>
                    <a:pt x="125" y="110"/>
                    <a:pt x="125" y="110"/>
                  </a:cubicBezTo>
                  <a:cubicBezTo>
                    <a:pt x="125" y="110"/>
                    <a:pt x="125" y="110"/>
                    <a:pt x="125" y="110"/>
                  </a:cubicBezTo>
                  <a:cubicBezTo>
                    <a:pt x="125" y="110"/>
                    <a:pt x="125" y="110"/>
                    <a:pt x="125" y="110"/>
                  </a:cubicBezTo>
                  <a:cubicBezTo>
                    <a:pt x="125" y="110"/>
                    <a:pt x="125" y="110"/>
                    <a:pt x="125" y="110"/>
                  </a:cubicBezTo>
                  <a:cubicBezTo>
                    <a:pt x="125" y="110"/>
                    <a:pt x="125" y="110"/>
                    <a:pt x="125" y="110"/>
                  </a:cubicBezTo>
                  <a:cubicBezTo>
                    <a:pt x="125" y="110"/>
                    <a:pt x="125" y="110"/>
                    <a:pt x="125" y="110"/>
                  </a:cubicBezTo>
                  <a:cubicBezTo>
                    <a:pt x="125" y="110"/>
                    <a:pt x="125" y="110"/>
                    <a:pt x="125" y="110"/>
                  </a:cubicBezTo>
                  <a:cubicBezTo>
                    <a:pt x="125" y="110"/>
                    <a:pt x="125" y="110"/>
                    <a:pt x="125" y="110"/>
                  </a:cubicBezTo>
                  <a:cubicBezTo>
                    <a:pt x="126" y="110"/>
                    <a:pt x="127" y="110"/>
                    <a:pt x="128" y="109"/>
                  </a:cubicBezTo>
                  <a:cubicBezTo>
                    <a:pt x="130" y="108"/>
                    <a:pt x="131" y="106"/>
                    <a:pt x="133" y="103"/>
                  </a:cubicBezTo>
                  <a:cubicBezTo>
                    <a:pt x="135" y="97"/>
                    <a:pt x="135" y="97"/>
                    <a:pt x="135" y="97"/>
                  </a:cubicBezTo>
                  <a:cubicBezTo>
                    <a:pt x="135" y="97"/>
                    <a:pt x="135" y="96"/>
                    <a:pt x="136" y="96"/>
                  </a:cubicBezTo>
                  <a:cubicBezTo>
                    <a:pt x="136" y="96"/>
                    <a:pt x="136" y="96"/>
                    <a:pt x="136" y="96"/>
                  </a:cubicBezTo>
                  <a:cubicBezTo>
                    <a:pt x="135" y="95"/>
                    <a:pt x="135" y="95"/>
                    <a:pt x="135" y="95"/>
                  </a:cubicBezTo>
                  <a:cubicBezTo>
                    <a:pt x="135" y="96"/>
                    <a:pt x="135" y="96"/>
                    <a:pt x="135" y="96"/>
                  </a:cubicBezTo>
                  <a:cubicBezTo>
                    <a:pt x="136" y="96"/>
                    <a:pt x="136" y="96"/>
                    <a:pt x="136" y="96"/>
                  </a:cubicBezTo>
                  <a:cubicBezTo>
                    <a:pt x="135" y="95"/>
                    <a:pt x="135" y="95"/>
                    <a:pt x="135" y="95"/>
                  </a:cubicBezTo>
                  <a:cubicBezTo>
                    <a:pt x="135" y="96"/>
                    <a:pt x="135" y="96"/>
                    <a:pt x="135" y="96"/>
                  </a:cubicBezTo>
                  <a:cubicBezTo>
                    <a:pt x="135" y="95"/>
                    <a:pt x="135" y="95"/>
                    <a:pt x="135" y="95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5" y="96"/>
                    <a:pt x="135" y="96"/>
                    <a:pt x="135" y="96"/>
                  </a:cubicBezTo>
                  <a:cubicBezTo>
                    <a:pt x="135" y="95"/>
                    <a:pt x="135" y="95"/>
                    <a:pt x="135" y="95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5" y="95"/>
                    <a:pt x="135" y="95"/>
                    <a:pt x="135" y="95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5" y="95"/>
                    <a:pt x="135" y="95"/>
                    <a:pt x="135" y="95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5" y="97"/>
                    <a:pt x="135" y="97"/>
                    <a:pt x="135" y="97"/>
                  </a:cubicBezTo>
                  <a:cubicBezTo>
                    <a:pt x="136" y="101"/>
                    <a:pt x="136" y="101"/>
                    <a:pt x="136" y="101"/>
                  </a:cubicBezTo>
                  <a:cubicBezTo>
                    <a:pt x="136" y="103"/>
                    <a:pt x="137" y="105"/>
                    <a:pt x="138" y="107"/>
                  </a:cubicBezTo>
                  <a:cubicBezTo>
                    <a:pt x="140" y="109"/>
                    <a:pt x="142" y="110"/>
                    <a:pt x="144" y="110"/>
                  </a:cubicBezTo>
                  <a:cubicBezTo>
                    <a:pt x="144" y="108"/>
                    <a:pt x="144" y="108"/>
                    <a:pt x="144" y="108"/>
                  </a:cubicBezTo>
                  <a:cubicBezTo>
                    <a:pt x="144" y="110"/>
                    <a:pt x="144" y="110"/>
                    <a:pt x="144" y="110"/>
                  </a:cubicBezTo>
                  <a:cubicBezTo>
                    <a:pt x="144" y="110"/>
                    <a:pt x="144" y="110"/>
                    <a:pt x="144" y="110"/>
                  </a:cubicBezTo>
                  <a:cubicBezTo>
                    <a:pt x="144" y="110"/>
                    <a:pt x="144" y="110"/>
                    <a:pt x="144" y="110"/>
                  </a:cubicBezTo>
                  <a:cubicBezTo>
                    <a:pt x="144" y="110"/>
                    <a:pt x="144" y="110"/>
                    <a:pt x="144" y="110"/>
                  </a:cubicBezTo>
                  <a:cubicBezTo>
                    <a:pt x="144" y="111"/>
                    <a:pt x="145" y="111"/>
                    <a:pt x="146" y="111"/>
                  </a:cubicBezTo>
                  <a:cubicBezTo>
                    <a:pt x="149" y="111"/>
                    <a:pt x="152" y="109"/>
                    <a:pt x="155" y="107"/>
                  </a:cubicBezTo>
                  <a:cubicBezTo>
                    <a:pt x="170" y="91"/>
                    <a:pt x="170" y="91"/>
                    <a:pt x="170" y="91"/>
                  </a:cubicBezTo>
                  <a:cubicBezTo>
                    <a:pt x="172" y="88"/>
                    <a:pt x="176" y="85"/>
                    <a:pt x="178" y="83"/>
                  </a:cubicBezTo>
                  <a:cubicBezTo>
                    <a:pt x="182" y="81"/>
                    <a:pt x="182" y="81"/>
                    <a:pt x="182" y="81"/>
                  </a:cubicBezTo>
                  <a:cubicBezTo>
                    <a:pt x="183" y="80"/>
                    <a:pt x="184" y="79"/>
                    <a:pt x="185" y="78"/>
                  </a:cubicBezTo>
                  <a:cubicBezTo>
                    <a:pt x="186" y="77"/>
                    <a:pt x="186" y="76"/>
                    <a:pt x="186" y="74"/>
                  </a:cubicBezTo>
                  <a:cubicBezTo>
                    <a:pt x="186" y="73"/>
                    <a:pt x="186" y="73"/>
                    <a:pt x="186" y="73"/>
                  </a:cubicBezTo>
                  <a:cubicBezTo>
                    <a:pt x="186" y="72"/>
                    <a:pt x="185" y="71"/>
                    <a:pt x="184" y="70"/>
                  </a:cubicBezTo>
                  <a:cubicBezTo>
                    <a:pt x="183" y="70"/>
                    <a:pt x="182" y="70"/>
                    <a:pt x="181" y="70"/>
                  </a:cubicBezTo>
                  <a:cubicBezTo>
                    <a:pt x="180" y="70"/>
                    <a:pt x="179" y="70"/>
                    <a:pt x="177" y="71"/>
                  </a:cubicBezTo>
                  <a:cubicBezTo>
                    <a:pt x="176" y="71"/>
                    <a:pt x="176" y="71"/>
                    <a:pt x="176" y="71"/>
                  </a:cubicBezTo>
                  <a:cubicBezTo>
                    <a:pt x="175" y="71"/>
                    <a:pt x="175" y="71"/>
                    <a:pt x="175" y="71"/>
                  </a:cubicBezTo>
                  <a:cubicBezTo>
                    <a:pt x="174" y="71"/>
                    <a:pt x="172" y="70"/>
                    <a:pt x="172" y="69"/>
                  </a:cubicBezTo>
                  <a:cubicBezTo>
                    <a:pt x="172" y="69"/>
                    <a:pt x="172" y="68"/>
                    <a:pt x="172" y="67"/>
                  </a:cubicBezTo>
                  <a:cubicBezTo>
                    <a:pt x="172" y="66"/>
                    <a:pt x="172" y="64"/>
                    <a:pt x="173" y="63"/>
                  </a:cubicBezTo>
                  <a:cubicBezTo>
                    <a:pt x="174" y="61"/>
                    <a:pt x="175" y="59"/>
                    <a:pt x="175" y="57"/>
                  </a:cubicBezTo>
                  <a:cubicBezTo>
                    <a:pt x="175" y="57"/>
                    <a:pt x="175" y="56"/>
                    <a:pt x="174" y="55"/>
                  </a:cubicBezTo>
                  <a:cubicBezTo>
                    <a:pt x="174" y="54"/>
                    <a:pt x="173" y="54"/>
                    <a:pt x="172" y="53"/>
                  </a:cubicBezTo>
                  <a:cubicBezTo>
                    <a:pt x="171" y="53"/>
                    <a:pt x="171" y="53"/>
                    <a:pt x="171" y="53"/>
                  </a:cubicBezTo>
                  <a:cubicBezTo>
                    <a:pt x="169" y="53"/>
                    <a:pt x="168" y="54"/>
                    <a:pt x="167" y="54"/>
                  </a:cubicBezTo>
                  <a:cubicBezTo>
                    <a:pt x="165" y="55"/>
                    <a:pt x="164" y="56"/>
                    <a:pt x="163" y="58"/>
                  </a:cubicBezTo>
                  <a:cubicBezTo>
                    <a:pt x="161" y="61"/>
                    <a:pt x="161" y="61"/>
                    <a:pt x="161" y="61"/>
                  </a:cubicBezTo>
                  <a:cubicBezTo>
                    <a:pt x="158" y="65"/>
                    <a:pt x="157" y="70"/>
                    <a:pt x="156" y="74"/>
                  </a:cubicBezTo>
                  <a:cubicBezTo>
                    <a:pt x="156" y="77"/>
                    <a:pt x="154" y="82"/>
                    <a:pt x="152" y="84"/>
                  </a:cubicBezTo>
                  <a:cubicBezTo>
                    <a:pt x="148" y="90"/>
                    <a:pt x="148" y="90"/>
                    <a:pt x="148" y="90"/>
                  </a:cubicBezTo>
                  <a:cubicBezTo>
                    <a:pt x="147" y="91"/>
                    <a:pt x="147" y="91"/>
                    <a:pt x="147" y="91"/>
                  </a:cubicBezTo>
                  <a:cubicBezTo>
                    <a:pt x="146" y="91"/>
                    <a:pt x="146" y="91"/>
                    <a:pt x="146" y="91"/>
                  </a:cubicBezTo>
                  <a:cubicBezTo>
                    <a:pt x="146" y="90"/>
                    <a:pt x="146" y="90"/>
                    <a:pt x="146" y="89"/>
                  </a:cubicBezTo>
                  <a:cubicBezTo>
                    <a:pt x="144" y="86"/>
                    <a:pt x="144" y="86"/>
                    <a:pt x="144" y="86"/>
                  </a:cubicBezTo>
                  <a:cubicBezTo>
                    <a:pt x="144" y="84"/>
                    <a:pt x="143" y="83"/>
                    <a:pt x="141" y="82"/>
                  </a:cubicBezTo>
                  <a:cubicBezTo>
                    <a:pt x="140" y="80"/>
                    <a:pt x="138" y="80"/>
                    <a:pt x="136" y="80"/>
                  </a:cubicBezTo>
                  <a:cubicBezTo>
                    <a:pt x="135" y="80"/>
                    <a:pt x="135" y="80"/>
                    <a:pt x="135" y="80"/>
                  </a:cubicBezTo>
                  <a:cubicBezTo>
                    <a:pt x="135" y="80"/>
                    <a:pt x="135" y="80"/>
                    <a:pt x="135" y="80"/>
                  </a:cubicBezTo>
                  <a:cubicBezTo>
                    <a:pt x="135" y="80"/>
                    <a:pt x="135" y="80"/>
                    <a:pt x="135" y="80"/>
                  </a:cubicBezTo>
                  <a:cubicBezTo>
                    <a:pt x="134" y="79"/>
                    <a:pt x="134" y="79"/>
                    <a:pt x="134" y="79"/>
                  </a:cubicBezTo>
                  <a:cubicBezTo>
                    <a:pt x="134" y="78"/>
                    <a:pt x="134" y="78"/>
                    <a:pt x="134" y="78"/>
                  </a:cubicBezTo>
                  <a:cubicBezTo>
                    <a:pt x="134" y="77"/>
                    <a:pt x="134" y="77"/>
                    <a:pt x="134" y="76"/>
                  </a:cubicBezTo>
                  <a:cubicBezTo>
                    <a:pt x="134" y="76"/>
                    <a:pt x="134" y="76"/>
                    <a:pt x="134" y="76"/>
                  </a:cubicBezTo>
                  <a:cubicBezTo>
                    <a:pt x="134" y="73"/>
                    <a:pt x="137" y="68"/>
                    <a:pt x="139" y="67"/>
                  </a:cubicBezTo>
                  <a:cubicBezTo>
                    <a:pt x="174" y="32"/>
                    <a:pt x="174" y="32"/>
                    <a:pt x="174" y="32"/>
                  </a:cubicBezTo>
                  <a:cubicBezTo>
                    <a:pt x="175" y="31"/>
                    <a:pt x="177" y="31"/>
                    <a:pt x="178" y="31"/>
                  </a:cubicBezTo>
                  <a:cubicBezTo>
                    <a:pt x="179" y="31"/>
                    <a:pt x="180" y="31"/>
                    <a:pt x="180" y="31"/>
                  </a:cubicBezTo>
                  <a:cubicBezTo>
                    <a:pt x="186" y="35"/>
                    <a:pt x="186" y="35"/>
                    <a:pt x="186" y="35"/>
                  </a:cubicBezTo>
                  <a:cubicBezTo>
                    <a:pt x="188" y="37"/>
                    <a:pt x="193" y="39"/>
                    <a:pt x="196" y="40"/>
                  </a:cubicBezTo>
                  <a:cubicBezTo>
                    <a:pt x="204" y="42"/>
                    <a:pt x="204" y="42"/>
                    <a:pt x="204" y="42"/>
                  </a:cubicBezTo>
                  <a:cubicBezTo>
                    <a:pt x="205" y="42"/>
                    <a:pt x="206" y="43"/>
                    <a:pt x="206" y="43"/>
                  </a:cubicBezTo>
                  <a:cubicBezTo>
                    <a:pt x="206" y="43"/>
                    <a:pt x="206" y="43"/>
                    <a:pt x="206" y="43"/>
                  </a:cubicBezTo>
                  <a:cubicBezTo>
                    <a:pt x="206" y="44"/>
                    <a:pt x="206" y="44"/>
                    <a:pt x="206" y="44"/>
                  </a:cubicBezTo>
                  <a:cubicBezTo>
                    <a:pt x="206" y="44"/>
                    <a:pt x="205" y="44"/>
                    <a:pt x="204" y="45"/>
                  </a:cubicBezTo>
                  <a:cubicBezTo>
                    <a:pt x="203" y="45"/>
                    <a:pt x="202" y="45"/>
                    <a:pt x="201" y="45"/>
                  </a:cubicBezTo>
                  <a:cubicBezTo>
                    <a:pt x="201" y="45"/>
                    <a:pt x="201" y="45"/>
                    <a:pt x="201" y="45"/>
                  </a:cubicBezTo>
                  <a:cubicBezTo>
                    <a:pt x="198" y="45"/>
                    <a:pt x="198" y="45"/>
                    <a:pt x="198" y="45"/>
                  </a:cubicBezTo>
                  <a:cubicBezTo>
                    <a:pt x="198" y="45"/>
                    <a:pt x="198" y="45"/>
                    <a:pt x="198" y="45"/>
                  </a:cubicBezTo>
                  <a:cubicBezTo>
                    <a:pt x="197" y="45"/>
                    <a:pt x="196" y="45"/>
                    <a:pt x="196" y="46"/>
                  </a:cubicBezTo>
                  <a:cubicBezTo>
                    <a:pt x="195" y="46"/>
                    <a:pt x="195" y="46"/>
                    <a:pt x="195" y="46"/>
                  </a:cubicBezTo>
                  <a:cubicBezTo>
                    <a:pt x="194" y="47"/>
                    <a:pt x="194" y="47"/>
                    <a:pt x="194" y="48"/>
                  </a:cubicBezTo>
                  <a:cubicBezTo>
                    <a:pt x="194" y="49"/>
                    <a:pt x="195" y="50"/>
                    <a:pt x="195" y="50"/>
                  </a:cubicBezTo>
                  <a:cubicBezTo>
                    <a:pt x="196" y="51"/>
                    <a:pt x="196" y="51"/>
                    <a:pt x="197" y="52"/>
                  </a:cubicBezTo>
                  <a:cubicBezTo>
                    <a:pt x="206" y="57"/>
                    <a:pt x="206" y="57"/>
                    <a:pt x="206" y="57"/>
                  </a:cubicBezTo>
                  <a:cubicBezTo>
                    <a:pt x="207" y="58"/>
                    <a:pt x="208" y="58"/>
                    <a:pt x="209" y="58"/>
                  </a:cubicBezTo>
                  <a:cubicBezTo>
                    <a:pt x="212" y="58"/>
                    <a:pt x="215" y="56"/>
                    <a:pt x="216" y="53"/>
                  </a:cubicBezTo>
                  <a:cubicBezTo>
                    <a:pt x="216" y="52"/>
                    <a:pt x="217" y="51"/>
                    <a:pt x="218" y="50"/>
                  </a:cubicBezTo>
                  <a:cubicBezTo>
                    <a:pt x="219" y="50"/>
                    <a:pt x="220" y="49"/>
                    <a:pt x="221" y="49"/>
                  </a:cubicBezTo>
                  <a:cubicBezTo>
                    <a:pt x="256" y="49"/>
                    <a:pt x="256" y="49"/>
                    <a:pt x="256" y="49"/>
                  </a:cubicBezTo>
                  <a:cubicBezTo>
                    <a:pt x="258" y="49"/>
                    <a:pt x="260" y="49"/>
                    <a:pt x="262" y="48"/>
                  </a:cubicBezTo>
                  <a:cubicBezTo>
                    <a:pt x="264" y="48"/>
                    <a:pt x="265" y="47"/>
                    <a:pt x="267" y="46"/>
                  </a:cubicBezTo>
                  <a:cubicBezTo>
                    <a:pt x="278" y="39"/>
                    <a:pt x="278" y="39"/>
                    <a:pt x="278" y="39"/>
                  </a:cubicBezTo>
                  <a:cubicBezTo>
                    <a:pt x="281" y="37"/>
                    <a:pt x="284" y="33"/>
                    <a:pt x="286" y="30"/>
                  </a:cubicBezTo>
                  <a:cubicBezTo>
                    <a:pt x="292" y="17"/>
                    <a:pt x="292" y="17"/>
                    <a:pt x="292" y="17"/>
                  </a:cubicBezTo>
                  <a:cubicBezTo>
                    <a:pt x="293" y="15"/>
                    <a:pt x="294" y="13"/>
                    <a:pt x="294" y="11"/>
                  </a:cubicBezTo>
                  <a:cubicBezTo>
                    <a:pt x="295" y="9"/>
                    <a:pt x="295" y="7"/>
                    <a:pt x="295" y="5"/>
                  </a:cubicBezTo>
                  <a:cubicBezTo>
                    <a:pt x="295" y="5"/>
                    <a:pt x="295" y="4"/>
                    <a:pt x="296" y="4"/>
                  </a:cubicBezTo>
                  <a:cubicBezTo>
                    <a:pt x="296" y="4"/>
                    <a:pt x="296" y="4"/>
                    <a:pt x="296" y="4"/>
                  </a:cubicBezTo>
                  <a:cubicBezTo>
                    <a:pt x="297" y="4"/>
                    <a:pt x="297" y="4"/>
                    <a:pt x="297" y="4"/>
                  </a:cubicBezTo>
                  <a:cubicBezTo>
                    <a:pt x="376" y="30"/>
                    <a:pt x="376" y="30"/>
                    <a:pt x="376" y="30"/>
                  </a:cubicBezTo>
                  <a:cubicBezTo>
                    <a:pt x="377" y="30"/>
                    <a:pt x="378" y="31"/>
                    <a:pt x="379" y="31"/>
                  </a:cubicBezTo>
                  <a:cubicBezTo>
                    <a:pt x="382" y="31"/>
                    <a:pt x="384" y="30"/>
                    <a:pt x="386" y="27"/>
                  </a:cubicBezTo>
                  <a:cubicBezTo>
                    <a:pt x="386" y="27"/>
                    <a:pt x="387" y="27"/>
                    <a:pt x="388" y="26"/>
                  </a:cubicBezTo>
                  <a:cubicBezTo>
                    <a:pt x="388" y="26"/>
                    <a:pt x="389" y="26"/>
                    <a:pt x="390" y="26"/>
                  </a:cubicBezTo>
                  <a:cubicBezTo>
                    <a:pt x="391" y="26"/>
                    <a:pt x="391" y="26"/>
                    <a:pt x="392" y="26"/>
                  </a:cubicBezTo>
                  <a:cubicBezTo>
                    <a:pt x="503" y="53"/>
                    <a:pt x="503" y="53"/>
                    <a:pt x="503" y="53"/>
                  </a:cubicBezTo>
                  <a:cubicBezTo>
                    <a:pt x="504" y="54"/>
                    <a:pt x="506" y="54"/>
                    <a:pt x="507" y="55"/>
                  </a:cubicBezTo>
                  <a:cubicBezTo>
                    <a:pt x="509" y="56"/>
                    <a:pt x="510" y="57"/>
                    <a:pt x="511" y="58"/>
                  </a:cubicBezTo>
                  <a:cubicBezTo>
                    <a:pt x="524" y="72"/>
                    <a:pt x="524" y="72"/>
                    <a:pt x="524" y="72"/>
                  </a:cubicBezTo>
                  <a:cubicBezTo>
                    <a:pt x="525" y="72"/>
                    <a:pt x="525" y="73"/>
                    <a:pt x="525" y="73"/>
                  </a:cubicBezTo>
                  <a:cubicBezTo>
                    <a:pt x="525" y="74"/>
                    <a:pt x="525" y="74"/>
                    <a:pt x="524" y="75"/>
                  </a:cubicBezTo>
                  <a:cubicBezTo>
                    <a:pt x="521" y="76"/>
                    <a:pt x="521" y="76"/>
                    <a:pt x="521" y="76"/>
                  </a:cubicBezTo>
                  <a:cubicBezTo>
                    <a:pt x="519" y="77"/>
                    <a:pt x="517" y="80"/>
                    <a:pt x="517" y="82"/>
                  </a:cubicBezTo>
                  <a:cubicBezTo>
                    <a:pt x="517" y="84"/>
                    <a:pt x="518" y="85"/>
                    <a:pt x="519" y="87"/>
                  </a:cubicBezTo>
                  <a:cubicBezTo>
                    <a:pt x="538" y="120"/>
                    <a:pt x="538" y="120"/>
                    <a:pt x="538" y="120"/>
                  </a:cubicBezTo>
                  <a:cubicBezTo>
                    <a:pt x="539" y="121"/>
                    <a:pt x="540" y="123"/>
                    <a:pt x="540" y="125"/>
                  </a:cubicBezTo>
                  <a:cubicBezTo>
                    <a:pt x="540" y="126"/>
                    <a:pt x="539" y="127"/>
                    <a:pt x="539" y="128"/>
                  </a:cubicBezTo>
                  <a:cubicBezTo>
                    <a:pt x="539" y="129"/>
                    <a:pt x="538" y="129"/>
                    <a:pt x="538" y="129"/>
                  </a:cubicBezTo>
                  <a:cubicBezTo>
                    <a:pt x="538" y="129"/>
                    <a:pt x="538" y="129"/>
                    <a:pt x="538" y="129"/>
                  </a:cubicBezTo>
                  <a:cubicBezTo>
                    <a:pt x="538" y="129"/>
                    <a:pt x="537" y="129"/>
                    <a:pt x="536" y="128"/>
                  </a:cubicBezTo>
                  <a:cubicBezTo>
                    <a:pt x="503" y="78"/>
                    <a:pt x="503" y="78"/>
                    <a:pt x="503" y="78"/>
                  </a:cubicBezTo>
                  <a:cubicBezTo>
                    <a:pt x="502" y="76"/>
                    <a:pt x="499" y="74"/>
                    <a:pt x="496" y="74"/>
                  </a:cubicBezTo>
                  <a:cubicBezTo>
                    <a:pt x="495" y="74"/>
                    <a:pt x="494" y="75"/>
                    <a:pt x="493" y="75"/>
                  </a:cubicBezTo>
                  <a:cubicBezTo>
                    <a:pt x="474" y="86"/>
                    <a:pt x="474" y="86"/>
                    <a:pt x="474" y="86"/>
                  </a:cubicBezTo>
                  <a:cubicBezTo>
                    <a:pt x="471" y="88"/>
                    <a:pt x="470" y="91"/>
                    <a:pt x="470" y="94"/>
                  </a:cubicBezTo>
                  <a:cubicBezTo>
                    <a:pt x="470" y="96"/>
                    <a:pt x="470" y="97"/>
                    <a:pt x="470" y="98"/>
                  </a:cubicBezTo>
                  <a:cubicBezTo>
                    <a:pt x="475" y="114"/>
                    <a:pt x="475" y="114"/>
                    <a:pt x="475" y="114"/>
                  </a:cubicBezTo>
                  <a:cubicBezTo>
                    <a:pt x="476" y="116"/>
                    <a:pt x="477" y="118"/>
                    <a:pt x="479" y="119"/>
                  </a:cubicBezTo>
                  <a:cubicBezTo>
                    <a:pt x="480" y="121"/>
                    <a:pt x="482" y="122"/>
                    <a:pt x="484" y="122"/>
                  </a:cubicBezTo>
                  <a:cubicBezTo>
                    <a:pt x="495" y="124"/>
                    <a:pt x="495" y="124"/>
                    <a:pt x="495" y="124"/>
                  </a:cubicBezTo>
                  <a:cubicBezTo>
                    <a:pt x="495" y="124"/>
                    <a:pt x="497" y="125"/>
                    <a:pt x="497" y="126"/>
                  </a:cubicBezTo>
                  <a:cubicBezTo>
                    <a:pt x="498" y="127"/>
                    <a:pt x="499" y="128"/>
                    <a:pt x="499" y="130"/>
                  </a:cubicBezTo>
                  <a:cubicBezTo>
                    <a:pt x="505" y="155"/>
                    <a:pt x="505" y="155"/>
                    <a:pt x="505" y="155"/>
                  </a:cubicBezTo>
                  <a:cubicBezTo>
                    <a:pt x="505" y="156"/>
                    <a:pt x="505" y="157"/>
                    <a:pt x="505" y="158"/>
                  </a:cubicBezTo>
                  <a:cubicBezTo>
                    <a:pt x="505" y="161"/>
                    <a:pt x="505" y="164"/>
                    <a:pt x="504" y="166"/>
                  </a:cubicBezTo>
                  <a:cubicBezTo>
                    <a:pt x="500" y="175"/>
                    <a:pt x="500" y="175"/>
                    <a:pt x="500" y="175"/>
                  </a:cubicBezTo>
                  <a:cubicBezTo>
                    <a:pt x="499" y="177"/>
                    <a:pt x="499" y="178"/>
                    <a:pt x="499" y="180"/>
                  </a:cubicBezTo>
                  <a:cubicBezTo>
                    <a:pt x="499" y="183"/>
                    <a:pt x="500" y="186"/>
                    <a:pt x="501" y="188"/>
                  </a:cubicBezTo>
                  <a:cubicBezTo>
                    <a:pt x="516" y="205"/>
                    <a:pt x="516" y="205"/>
                    <a:pt x="516" y="205"/>
                  </a:cubicBezTo>
                  <a:cubicBezTo>
                    <a:pt x="517" y="206"/>
                    <a:pt x="518" y="208"/>
                    <a:pt x="518" y="210"/>
                  </a:cubicBezTo>
                  <a:cubicBezTo>
                    <a:pt x="518" y="211"/>
                    <a:pt x="518" y="211"/>
                    <a:pt x="518" y="211"/>
                  </a:cubicBezTo>
                  <a:cubicBezTo>
                    <a:pt x="517" y="212"/>
                    <a:pt x="517" y="212"/>
                    <a:pt x="517" y="212"/>
                  </a:cubicBezTo>
                  <a:cubicBezTo>
                    <a:pt x="517" y="212"/>
                    <a:pt x="516" y="212"/>
                    <a:pt x="515" y="211"/>
                  </a:cubicBezTo>
                  <a:cubicBezTo>
                    <a:pt x="494" y="187"/>
                    <a:pt x="494" y="187"/>
                    <a:pt x="494" y="187"/>
                  </a:cubicBezTo>
                  <a:cubicBezTo>
                    <a:pt x="492" y="185"/>
                    <a:pt x="488" y="182"/>
                    <a:pt x="485" y="180"/>
                  </a:cubicBezTo>
                  <a:cubicBezTo>
                    <a:pt x="478" y="176"/>
                    <a:pt x="478" y="176"/>
                    <a:pt x="478" y="176"/>
                  </a:cubicBezTo>
                  <a:cubicBezTo>
                    <a:pt x="477" y="175"/>
                    <a:pt x="476" y="175"/>
                    <a:pt x="475" y="175"/>
                  </a:cubicBezTo>
                  <a:cubicBezTo>
                    <a:pt x="473" y="175"/>
                    <a:pt x="472" y="176"/>
                    <a:pt x="471" y="177"/>
                  </a:cubicBezTo>
                  <a:cubicBezTo>
                    <a:pt x="470" y="178"/>
                    <a:pt x="469" y="179"/>
                    <a:pt x="469" y="180"/>
                  </a:cubicBezTo>
                  <a:cubicBezTo>
                    <a:pt x="468" y="181"/>
                    <a:pt x="468" y="182"/>
                    <a:pt x="468" y="184"/>
                  </a:cubicBezTo>
                  <a:cubicBezTo>
                    <a:pt x="468" y="187"/>
                    <a:pt x="469" y="190"/>
                    <a:pt x="471" y="193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73" y="196"/>
                    <a:pt x="474" y="197"/>
                    <a:pt x="475" y="198"/>
                  </a:cubicBezTo>
                  <a:cubicBezTo>
                    <a:pt x="477" y="199"/>
                    <a:pt x="478" y="200"/>
                    <a:pt x="480" y="200"/>
                  </a:cubicBezTo>
                  <a:cubicBezTo>
                    <a:pt x="481" y="200"/>
                    <a:pt x="481" y="200"/>
                    <a:pt x="482" y="200"/>
                  </a:cubicBezTo>
                  <a:cubicBezTo>
                    <a:pt x="482" y="199"/>
                    <a:pt x="482" y="199"/>
                    <a:pt x="482" y="199"/>
                  </a:cubicBezTo>
                  <a:cubicBezTo>
                    <a:pt x="482" y="199"/>
                    <a:pt x="483" y="200"/>
                    <a:pt x="484" y="200"/>
                  </a:cubicBezTo>
                  <a:cubicBezTo>
                    <a:pt x="484" y="201"/>
                    <a:pt x="485" y="202"/>
                    <a:pt x="485" y="203"/>
                  </a:cubicBezTo>
                  <a:cubicBezTo>
                    <a:pt x="486" y="206"/>
                    <a:pt x="486" y="206"/>
                    <a:pt x="486" y="206"/>
                  </a:cubicBezTo>
                  <a:cubicBezTo>
                    <a:pt x="487" y="210"/>
                    <a:pt x="490" y="215"/>
                    <a:pt x="493" y="217"/>
                  </a:cubicBezTo>
                  <a:cubicBezTo>
                    <a:pt x="508" y="233"/>
                    <a:pt x="508" y="233"/>
                    <a:pt x="508" y="233"/>
                  </a:cubicBezTo>
                  <a:cubicBezTo>
                    <a:pt x="509" y="234"/>
                    <a:pt x="510" y="235"/>
                    <a:pt x="511" y="237"/>
                  </a:cubicBezTo>
                  <a:cubicBezTo>
                    <a:pt x="511" y="239"/>
                    <a:pt x="512" y="241"/>
                    <a:pt x="512" y="242"/>
                  </a:cubicBezTo>
                  <a:cubicBezTo>
                    <a:pt x="513" y="269"/>
                    <a:pt x="513" y="269"/>
                    <a:pt x="513" y="269"/>
                  </a:cubicBezTo>
                  <a:cubicBezTo>
                    <a:pt x="513" y="269"/>
                    <a:pt x="513" y="269"/>
                    <a:pt x="513" y="269"/>
                  </a:cubicBezTo>
                  <a:cubicBezTo>
                    <a:pt x="513" y="271"/>
                    <a:pt x="513" y="272"/>
                    <a:pt x="512" y="272"/>
                  </a:cubicBezTo>
                  <a:cubicBezTo>
                    <a:pt x="512" y="273"/>
                    <a:pt x="511" y="273"/>
                    <a:pt x="510" y="273"/>
                  </a:cubicBezTo>
                  <a:cubicBezTo>
                    <a:pt x="493" y="273"/>
                    <a:pt x="493" y="273"/>
                    <a:pt x="493" y="273"/>
                  </a:cubicBezTo>
                  <a:cubicBezTo>
                    <a:pt x="490" y="273"/>
                    <a:pt x="489" y="275"/>
                    <a:pt x="487" y="276"/>
                  </a:cubicBezTo>
                  <a:cubicBezTo>
                    <a:pt x="486" y="278"/>
                    <a:pt x="485" y="280"/>
                    <a:pt x="485" y="282"/>
                  </a:cubicBezTo>
                  <a:cubicBezTo>
                    <a:pt x="485" y="289"/>
                    <a:pt x="485" y="289"/>
                    <a:pt x="485" y="289"/>
                  </a:cubicBezTo>
                  <a:cubicBezTo>
                    <a:pt x="485" y="293"/>
                    <a:pt x="487" y="299"/>
                    <a:pt x="489" y="302"/>
                  </a:cubicBezTo>
                  <a:cubicBezTo>
                    <a:pt x="502" y="324"/>
                    <a:pt x="502" y="324"/>
                    <a:pt x="502" y="324"/>
                  </a:cubicBezTo>
                  <a:cubicBezTo>
                    <a:pt x="503" y="325"/>
                    <a:pt x="503" y="326"/>
                    <a:pt x="503" y="328"/>
                  </a:cubicBezTo>
                  <a:cubicBezTo>
                    <a:pt x="503" y="329"/>
                    <a:pt x="503" y="331"/>
                    <a:pt x="502" y="332"/>
                  </a:cubicBezTo>
                  <a:cubicBezTo>
                    <a:pt x="492" y="349"/>
                    <a:pt x="492" y="349"/>
                    <a:pt x="492" y="349"/>
                  </a:cubicBezTo>
                  <a:cubicBezTo>
                    <a:pt x="492" y="350"/>
                    <a:pt x="491" y="350"/>
                    <a:pt x="491" y="350"/>
                  </a:cubicBezTo>
                  <a:cubicBezTo>
                    <a:pt x="490" y="350"/>
                    <a:pt x="490" y="350"/>
                    <a:pt x="489" y="349"/>
                  </a:cubicBezTo>
                  <a:cubicBezTo>
                    <a:pt x="477" y="333"/>
                    <a:pt x="477" y="333"/>
                    <a:pt x="477" y="333"/>
                  </a:cubicBezTo>
                  <a:cubicBezTo>
                    <a:pt x="476" y="333"/>
                    <a:pt x="476" y="332"/>
                    <a:pt x="475" y="332"/>
                  </a:cubicBezTo>
                  <a:cubicBezTo>
                    <a:pt x="474" y="331"/>
                    <a:pt x="474" y="331"/>
                    <a:pt x="473" y="331"/>
                  </a:cubicBezTo>
                  <a:cubicBezTo>
                    <a:pt x="472" y="331"/>
                    <a:pt x="471" y="331"/>
                    <a:pt x="471" y="332"/>
                  </a:cubicBezTo>
                  <a:cubicBezTo>
                    <a:pt x="470" y="332"/>
                    <a:pt x="470" y="333"/>
                    <a:pt x="469" y="334"/>
                  </a:cubicBezTo>
                  <a:cubicBezTo>
                    <a:pt x="469" y="335"/>
                    <a:pt x="469" y="336"/>
                    <a:pt x="469" y="337"/>
                  </a:cubicBezTo>
                  <a:cubicBezTo>
                    <a:pt x="469" y="341"/>
                    <a:pt x="469" y="341"/>
                    <a:pt x="469" y="341"/>
                  </a:cubicBezTo>
                  <a:cubicBezTo>
                    <a:pt x="469" y="345"/>
                    <a:pt x="470" y="351"/>
                    <a:pt x="472" y="354"/>
                  </a:cubicBezTo>
                  <a:cubicBezTo>
                    <a:pt x="487" y="384"/>
                    <a:pt x="487" y="384"/>
                    <a:pt x="487" y="384"/>
                  </a:cubicBezTo>
                  <a:cubicBezTo>
                    <a:pt x="488" y="384"/>
                    <a:pt x="488" y="385"/>
                    <a:pt x="488" y="385"/>
                  </a:cubicBezTo>
                  <a:cubicBezTo>
                    <a:pt x="488" y="385"/>
                    <a:pt x="488" y="385"/>
                    <a:pt x="488" y="385"/>
                  </a:cubicBezTo>
                  <a:cubicBezTo>
                    <a:pt x="488" y="385"/>
                    <a:pt x="488" y="385"/>
                    <a:pt x="488" y="385"/>
                  </a:cubicBezTo>
                  <a:cubicBezTo>
                    <a:pt x="488" y="385"/>
                    <a:pt x="488" y="385"/>
                    <a:pt x="488" y="385"/>
                  </a:cubicBezTo>
                  <a:cubicBezTo>
                    <a:pt x="488" y="385"/>
                    <a:pt x="488" y="385"/>
                    <a:pt x="488" y="385"/>
                  </a:cubicBezTo>
                  <a:cubicBezTo>
                    <a:pt x="488" y="385"/>
                    <a:pt x="488" y="385"/>
                    <a:pt x="488" y="385"/>
                  </a:cubicBezTo>
                  <a:cubicBezTo>
                    <a:pt x="489" y="385"/>
                    <a:pt x="489" y="385"/>
                    <a:pt x="489" y="385"/>
                  </a:cubicBezTo>
                  <a:cubicBezTo>
                    <a:pt x="488" y="384"/>
                    <a:pt x="488" y="384"/>
                    <a:pt x="488" y="384"/>
                  </a:cubicBezTo>
                  <a:cubicBezTo>
                    <a:pt x="488" y="385"/>
                    <a:pt x="488" y="385"/>
                    <a:pt x="488" y="385"/>
                  </a:cubicBezTo>
                  <a:cubicBezTo>
                    <a:pt x="489" y="385"/>
                    <a:pt x="489" y="385"/>
                    <a:pt x="489" y="385"/>
                  </a:cubicBezTo>
                  <a:cubicBezTo>
                    <a:pt x="488" y="384"/>
                    <a:pt x="488" y="384"/>
                    <a:pt x="488" y="384"/>
                  </a:cubicBezTo>
                  <a:cubicBezTo>
                    <a:pt x="489" y="385"/>
                    <a:pt x="489" y="385"/>
                    <a:pt x="489" y="385"/>
                  </a:cubicBezTo>
                  <a:cubicBezTo>
                    <a:pt x="489" y="384"/>
                    <a:pt x="489" y="384"/>
                    <a:pt x="489" y="384"/>
                  </a:cubicBezTo>
                  <a:cubicBezTo>
                    <a:pt x="488" y="384"/>
                    <a:pt x="488" y="384"/>
                    <a:pt x="488" y="384"/>
                  </a:cubicBezTo>
                  <a:cubicBezTo>
                    <a:pt x="489" y="385"/>
                    <a:pt x="489" y="385"/>
                    <a:pt x="489" y="385"/>
                  </a:cubicBezTo>
                  <a:cubicBezTo>
                    <a:pt x="489" y="384"/>
                    <a:pt x="489" y="384"/>
                    <a:pt x="489" y="384"/>
                  </a:cubicBezTo>
                  <a:cubicBezTo>
                    <a:pt x="489" y="384"/>
                    <a:pt x="489" y="384"/>
                    <a:pt x="489" y="384"/>
                  </a:cubicBezTo>
                  <a:cubicBezTo>
                    <a:pt x="488" y="384"/>
                    <a:pt x="488" y="384"/>
                    <a:pt x="488" y="384"/>
                  </a:cubicBezTo>
                  <a:cubicBezTo>
                    <a:pt x="483" y="381"/>
                    <a:pt x="483" y="381"/>
                    <a:pt x="483" y="381"/>
                  </a:cubicBezTo>
                  <a:cubicBezTo>
                    <a:pt x="482" y="381"/>
                    <a:pt x="481" y="380"/>
                    <a:pt x="480" y="379"/>
                  </a:cubicBezTo>
                  <a:cubicBezTo>
                    <a:pt x="479" y="377"/>
                    <a:pt x="477" y="376"/>
                    <a:pt x="477" y="374"/>
                  </a:cubicBezTo>
                  <a:cubicBezTo>
                    <a:pt x="466" y="351"/>
                    <a:pt x="466" y="351"/>
                    <a:pt x="466" y="351"/>
                  </a:cubicBezTo>
                  <a:cubicBezTo>
                    <a:pt x="465" y="349"/>
                    <a:pt x="463" y="343"/>
                    <a:pt x="463" y="340"/>
                  </a:cubicBezTo>
                  <a:cubicBezTo>
                    <a:pt x="463" y="336"/>
                    <a:pt x="463" y="336"/>
                    <a:pt x="463" y="336"/>
                  </a:cubicBezTo>
                  <a:cubicBezTo>
                    <a:pt x="463" y="333"/>
                    <a:pt x="463" y="331"/>
                    <a:pt x="462" y="329"/>
                  </a:cubicBezTo>
                  <a:cubicBezTo>
                    <a:pt x="462" y="327"/>
                    <a:pt x="461" y="324"/>
                    <a:pt x="459" y="323"/>
                  </a:cubicBezTo>
                  <a:cubicBezTo>
                    <a:pt x="425" y="277"/>
                    <a:pt x="425" y="277"/>
                    <a:pt x="425" y="277"/>
                  </a:cubicBezTo>
                  <a:cubicBezTo>
                    <a:pt x="424" y="275"/>
                    <a:pt x="422" y="274"/>
                    <a:pt x="420" y="274"/>
                  </a:cubicBezTo>
                  <a:cubicBezTo>
                    <a:pt x="418" y="274"/>
                    <a:pt x="416" y="275"/>
                    <a:pt x="414" y="277"/>
                  </a:cubicBezTo>
                  <a:cubicBezTo>
                    <a:pt x="391" y="309"/>
                    <a:pt x="391" y="309"/>
                    <a:pt x="391" y="309"/>
                  </a:cubicBezTo>
                  <a:cubicBezTo>
                    <a:pt x="389" y="312"/>
                    <a:pt x="387" y="316"/>
                    <a:pt x="387" y="321"/>
                  </a:cubicBezTo>
                  <a:cubicBezTo>
                    <a:pt x="387" y="322"/>
                    <a:pt x="387" y="322"/>
                    <a:pt x="387" y="322"/>
                  </a:cubicBezTo>
                  <a:cubicBezTo>
                    <a:pt x="387" y="322"/>
                    <a:pt x="387" y="322"/>
                    <a:pt x="387" y="322"/>
                  </a:cubicBezTo>
                  <a:cubicBezTo>
                    <a:pt x="387" y="323"/>
                    <a:pt x="387" y="323"/>
                    <a:pt x="387" y="324"/>
                  </a:cubicBezTo>
                  <a:cubicBezTo>
                    <a:pt x="387" y="327"/>
                    <a:pt x="387" y="332"/>
                    <a:pt x="386" y="334"/>
                  </a:cubicBezTo>
                  <a:cubicBezTo>
                    <a:pt x="380" y="348"/>
                    <a:pt x="380" y="348"/>
                    <a:pt x="380" y="348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50"/>
                    <a:pt x="380" y="350"/>
                    <a:pt x="380" y="350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50"/>
                    <a:pt x="380" y="350"/>
                    <a:pt x="380" y="350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50"/>
                    <a:pt x="380" y="350"/>
                    <a:pt x="380" y="350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50"/>
                    <a:pt x="380" y="350"/>
                    <a:pt x="380" y="350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50"/>
                    <a:pt x="380" y="350"/>
                    <a:pt x="380" y="350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50"/>
                    <a:pt x="380" y="350"/>
                    <a:pt x="380" y="350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50"/>
                    <a:pt x="380" y="350"/>
                    <a:pt x="380" y="350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50"/>
                    <a:pt x="380" y="350"/>
                    <a:pt x="380" y="350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49"/>
                    <a:pt x="380" y="349"/>
                    <a:pt x="380" y="348"/>
                  </a:cubicBezTo>
                  <a:cubicBezTo>
                    <a:pt x="356" y="286"/>
                    <a:pt x="356" y="286"/>
                    <a:pt x="356" y="286"/>
                  </a:cubicBezTo>
                  <a:cubicBezTo>
                    <a:pt x="355" y="284"/>
                    <a:pt x="354" y="283"/>
                    <a:pt x="353" y="282"/>
                  </a:cubicBezTo>
                  <a:cubicBezTo>
                    <a:pt x="352" y="281"/>
                    <a:pt x="351" y="280"/>
                    <a:pt x="349" y="280"/>
                  </a:cubicBezTo>
                  <a:cubicBezTo>
                    <a:pt x="348" y="280"/>
                    <a:pt x="347" y="280"/>
                    <a:pt x="347" y="281"/>
                  </a:cubicBezTo>
                  <a:cubicBezTo>
                    <a:pt x="346" y="281"/>
                    <a:pt x="346" y="281"/>
                    <a:pt x="346" y="281"/>
                  </a:cubicBezTo>
                  <a:cubicBezTo>
                    <a:pt x="345" y="281"/>
                    <a:pt x="344" y="281"/>
                    <a:pt x="342" y="279"/>
                  </a:cubicBezTo>
                  <a:cubicBezTo>
                    <a:pt x="331" y="268"/>
                    <a:pt x="331" y="268"/>
                    <a:pt x="331" y="268"/>
                  </a:cubicBezTo>
                  <a:cubicBezTo>
                    <a:pt x="330" y="266"/>
                    <a:pt x="328" y="265"/>
                    <a:pt x="326" y="264"/>
                  </a:cubicBezTo>
                  <a:cubicBezTo>
                    <a:pt x="325" y="263"/>
                    <a:pt x="323" y="263"/>
                    <a:pt x="321" y="263"/>
                  </a:cubicBezTo>
                  <a:cubicBezTo>
                    <a:pt x="304" y="263"/>
                    <a:pt x="304" y="263"/>
                    <a:pt x="304" y="263"/>
                  </a:cubicBezTo>
                  <a:cubicBezTo>
                    <a:pt x="303" y="263"/>
                    <a:pt x="301" y="262"/>
                    <a:pt x="300" y="262"/>
                  </a:cubicBezTo>
                  <a:cubicBezTo>
                    <a:pt x="298" y="261"/>
                    <a:pt x="297" y="261"/>
                    <a:pt x="296" y="260"/>
                  </a:cubicBezTo>
                  <a:cubicBezTo>
                    <a:pt x="260" y="232"/>
                    <a:pt x="260" y="232"/>
                    <a:pt x="260" y="232"/>
                  </a:cubicBezTo>
                  <a:cubicBezTo>
                    <a:pt x="259" y="231"/>
                    <a:pt x="257" y="231"/>
                    <a:pt x="256" y="231"/>
                  </a:cubicBezTo>
                  <a:cubicBezTo>
                    <a:pt x="253" y="231"/>
                    <a:pt x="251" y="232"/>
                    <a:pt x="249" y="234"/>
                  </a:cubicBezTo>
                  <a:cubicBezTo>
                    <a:pt x="249" y="235"/>
                    <a:pt x="249" y="235"/>
                    <a:pt x="249" y="235"/>
                  </a:cubicBezTo>
                  <a:cubicBezTo>
                    <a:pt x="249" y="235"/>
                    <a:pt x="249" y="235"/>
                    <a:pt x="249" y="235"/>
                  </a:cubicBezTo>
                  <a:cubicBezTo>
                    <a:pt x="249" y="235"/>
                    <a:pt x="249" y="235"/>
                    <a:pt x="249" y="235"/>
                  </a:cubicBezTo>
                  <a:cubicBezTo>
                    <a:pt x="248" y="236"/>
                    <a:pt x="247" y="238"/>
                    <a:pt x="247" y="240"/>
                  </a:cubicBezTo>
                  <a:cubicBezTo>
                    <a:pt x="247" y="242"/>
                    <a:pt x="248" y="245"/>
                    <a:pt x="249" y="246"/>
                  </a:cubicBezTo>
                  <a:cubicBezTo>
                    <a:pt x="268" y="265"/>
                    <a:pt x="268" y="265"/>
                    <a:pt x="268" y="265"/>
                  </a:cubicBezTo>
                  <a:cubicBezTo>
                    <a:pt x="269" y="266"/>
                    <a:pt x="271" y="267"/>
                    <a:pt x="273" y="268"/>
                  </a:cubicBezTo>
                  <a:cubicBezTo>
                    <a:pt x="275" y="269"/>
                    <a:pt x="277" y="269"/>
                    <a:pt x="279" y="269"/>
                  </a:cubicBezTo>
                  <a:cubicBezTo>
                    <a:pt x="282" y="269"/>
                    <a:pt x="282" y="269"/>
                    <a:pt x="282" y="269"/>
                  </a:cubicBezTo>
                  <a:cubicBezTo>
                    <a:pt x="283" y="269"/>
                    <a:pt x="285" y="270"/>
                    <a:pt x="286" y="270"/>
                  </a:cubicBezTo>
                  <a:cubicBezTo>
                    <a:pt x="288" y="271"/>
                    <a:pt x="289" y="272"/>
                    <a:pt x="290" y="272"/>
                  </a:cubicBezTo>
                  <a:cubicBezTo>
                    <a:pt x="295" y="275"/>
                    <a:pt x="295" y="275"/>
                    <a:pt x="295" y="275"/>
                  </a:cubicBezTo>
                  <a:cubicBezTo>
                    <a:pt x="296" y="276"/>
                    <a:pt x="296" y="277"/>
                    <a:pt x="296" y="278"/>
                  </a:cubicBezTo>
                  <a:cubicBezTo>
                    <a:pt x="296" y="279"/>
                    <a:pt x="296" y="280"/>
                    <a:pt x="295" y="281"/>
                  </a:cubicBezTo>
                  <a:cubicBezTo>
                    <a:pt x="271" y="317"/>
                    <a:pt x="271" y="317"/>
                    <a:pt x="271" y="317"/>
                  </a:cubicBezTo>
                  <a:cubicBezTo>
                    <a:pt x="270" y="318"/>
                    <a:pt x="269" y="319"/>
                    <a:pt x="267" y="320"/>
                  </a:cubicBezTo>
                  <a:cubicBezTo>
                    <a:pt x="266" y="320"/>
                    <a:pt x="265" y="321"/>
                    <a:pt x="264" y="321"/>
                  </a:cubicBezTo>
                  <a:cubicBezTo>
                    <a:pt x="257" y="321"/>
                    <a:pt x="257" y="321"/>
                    <a:pt x="257" y="321"/>
                  </a:cubicBezTo>
                  <a:cubicBezTo>
                    <a:pt x="256" y="321"/>
                    <a:pt x="255" y="320"/>
                    <a:pt x="253" y="320"/>
                  </a:cubicBezTo>
                  <a:cubicBezTo>
                    <a:pt x="252" y="319"/>
                    <a:pt x="250" y="318"/>
                    <a:pt x="249" y="317"/>
                  </a:cubicBezTo>
                  <a:cubicBezTo>
                    <a:pt x="240" y="309"/>
                    <a:pt x="240" y="309"/>
                    <a:pt x="240" y="309"/>
                  </a:cubicBezTo>
                  <a:cubicBezTo>
                    <a:pt x="238" y="307"/>
                    <a:pt x="235" y="303"/>
                    <a:pt x="234" y="300"/>
                  </a:cubicBezTo>
                  <a:cubicBezTo>
                    <a:pt x="214" y="254"/>
                    <a:pt x="214" y="254"/>
                    <a:pt x="214" y="254"/>
                  </a:cubicBezTo>
                  <a:cubicBezTo>
                    <a:pt x="213" y="253"/>
                    <a:pt x="212" y="251"/>
                    <a:pt x="211" y="250"/>
                  </a:cubicBezTo>
                  <a:cubicBezTo>
                    <a:pt x="209" y="248"/>
                    <a:pt x="208" y="247"/>
                    <a:pt x="206" y="247"/>
                  </a:cubicBezTo>
                  <a:cubicBezTo>
                    <a:pt x="205" y="247"/>
                    <a:pt x="203" y="248"/>
                    <a:pt x="203" y="249"/>
                  </a:cubicBezTo>
                  <a:cubicBezTo>
                    <a:pt x="202" y="250"/>
                    <a:pt x="202" y="251"/>
                    <a:pt x="202" y="252"/>
                  </a:cubicBezTo>
                  <a:cubicBezTo>
                    <a:pt x="202" y="254"/>
                    <a:pt x="202" y="255"/>
                    <a:pt x="203" y="256"/>
                  </a:cubicBezTo>
                  <a:cubicBezTo>
                    <a:pt x="232" y="331"/>
                    <a:pt x="232" y="331"/>
                    <a:pt x="232" y="331"/>
                  </a:cubicBezTo>
                  <a:cubicBezTo>
                    <a:pt x="233" y="333"/>
                    <a:pt x="234" y="334"/>
                    <a:pt x="236" y="336"/>
                  </a:cubicBezTo>
                  <a:cubicBezTo>
                    <a:pt x="237" y="337"/>
                    <a:pt x="239" y="338"/>
                    <a:pt x="241" y="338"/>
                  </a:cubicBezTo>
                  <a:cubicBezTo>
                    <a:pt x="242" y="338"/>
                    <a:pt x="242" y="338"/>
                    <a:pt x="242" y="338"/>
                  </a:cubicBezTo>
                  <a:cubicBezTo>
                    <a:pt x="266" y="336"/>
                    <a:pt x="266" y="336"/>
                    <a:pt x="266" y="336"/>
                  </a:cubicBezTo>
                  <a:cubicBezTo>
                    <a:pt x="266" y="336"/>
                    <a:pt x="266" y="336"/>
                    <a:pt x="266" y="336"/>
                  </a:cubicBezTo>
                  <a:cubicBezTo>
                    <a:pt x="267" y="336"/>
                    <a:pt x="267" y="336"/>
                    <a:pt x="267" y="336"/>
                  </a:cubicBezTo>
                  <a:cubicBezTo>
                    <a:pt x="267" y="337"/>
                    <a:pt x="267" y="337"/>
                    <a:pt x="267" y="337"/>
                  </a:cubicBezTo>
                  <a:cubicBezTo>
                    <a:pt x="267" y="338"/>
                    <a:pt x="267" y="338"/>
                    <a:pt x="266" y="339"/>
                  </a:cubicBezTo>
                  <a:cubicBezTo>
                    <a:pt x="250" y="380"/>
                    <a:pt x="250" y="380"/>
                    <a:pt x="250" y="380"/>
                  </a:cubicBezTo>
                  <a:cubicBezTo>
                    <a:pt x="248" y="383"/>
                    <a:pt x="246" y="388"/>
                    <a:pt x="244" y="390"/>
                  </a:cubicBezTo>
                  <a:cubicBezTo>
                    <a:pt x="223" y="415"/>
                    <a:pt x="223" y="415"/>
                    <a:pt x="223" y="415"/>
                  </a:cubicBezTo>
                  <a:cubicBezTo>
                    <a:pt x="222" y="417"/>
                    <a:pt x="221" y="419"/>
                    <a:pt x="220" y="421"/>
                  </a:cubicBezTo>
                  <a:cubicBezTo>
                    <a:pt x="220" y="423"/>
                    <a:pt x="219" y="426"/>
                    <a:pt x="219" y="428"/>
                  </a:cubicBezTo>
                  <a:cubicBezTo>
                    <a:pt x="219" y="437"/>
                    <a:pt x="219" y="437"/>
                    <a:pt x="219" y="437"/>
                  </a:cubicBezTo>
                  <a:cubicBezTo>
                    <a:pt x="219" y="441"/>
                    <a:pt x="220" y="447"/>
                    <a:pt x="222" y="450"/>
                  </a:cubicBezTo>
                  <a:cubicBezTo>
                    <a:pt x="222" y="450"/>
                    <a:pt x="222" y="450"/>
                    <a:pt x="222" y="450"/>
                  </a:cubicBezTo>
                  <a:cubicBezTo>
                    <a:pt x="223" y="451"/>
                    <a:pt x="223" y="451"/>
                    <a:pt x="223" y="451"/>
                  </a:cubicBezTo>
                  <a:cubicBezTo>
                    <a:pt x="223" y="451"/>
                    <a:pt x="223" y="451"/>
                    <a:pt x="223" y="451"/>
                  </a:cubicBezTo>
                  <a:cubicBezTo>
                    <a:pt x="224" y="454"/>
                    <a:pt x="225" y="459"/>
                    <a:pt x="225" y="462"/>
                  </a:cubicBezTo>
                  <a:cubicBezTo>
                    <a:pt x="225" y="481"/>
                    <a:pt x="225" y="481"/>
                    <a:pt x="225" y="481"/>
                  </a:cubicBezTo>
                  <a:cubicBezTo>
                    <a:pt x="225" y="482"/>
                    <a:pt x="225" y="484"/>
                    <a:pt x="224" y="486"/>
                  </a:cubicBezTo>
                  <a:cubicBezTo>
                    <a:pt x="224" y="488"/>
                    <a:pt x="223" y="489"/>
                    <a:pt x="222" y="490"/>
                  </a:cubicBezTo>
                  <a:cubicBezTo>
                    <a:pt x="206" y="506"/>
                    <a:pt x="206" y="506"/>
                    <a:pt x="206" y="506"/>
                  </a:cubicBezTo>
                  <a:cubicBezTo>
                    <a:pt x="204" y="507"/>
                    <a:pt x="203" y="509"/>
                    <a:pt x="202" y="511"/>
                  </a:cubicBezTo>
                  <a:cubicBezTo>
                    <a:pt x="202" y="513"/>
                    <a:pt x="201" y="516"/>
                    <a:pt x="201" y="518"/>
                  </a:cubicBezTo>
                  <a:cubicBezTo>
                    <a:pt x="201" y="526"/>
                    <a:pt x="201" y="526"/>
                    <a:pt x="201" y="526"/>
                  </a:cubicBezTo>
                  <a:cubicBezTo>
                    <a:pt x="201" y="527"/>
                    <a:pt x="201" y="529"/>
                    <a:pt x="200" y="531"/>
                  </a:cubicBezTo>
                  <a:cubicBezTo>
                    <a:pt x="199" y="533"/>
                    <a:pt x="199" y="535"/>
                    <a:pt x="198" y="536"/>
                  </a:cubicBezTo>
                  <a:cubicBezTo>
                    <a:pt x="170" y="570"/>
                    <a:pt x="170" y="570"/>
                    <a:pt x="170" y="570"/>
                  </a:cubicBezTo>
                  <a:cubicBezTo>
                    <a:pt x="169" y="571"/>
                    <a:pt x="168" y="573"/>
                    <a:pt x="166" y="574"/>
                  </a:cubicBezTo>
                  <a:cubicBezTo>
                    <a:pt x="165" y="575"/>
                    <a:pt x="163" y="576"/>
                    <a:pt x="162" y="576"/>
                  </a:cubicBezTo>
                  <a:cubicBezTo>
                    <a:pt x="142" y="582"/>
                    <a:pt x="142" y="582"/>
                    <a:pt x="142" y="582"/>
                  </a:cubicBezTo>
                  <a:cubicBezTo>
                    <a:pt x="142" y="582"/>
                    <a:pt x="142" y="582"/>
                    <a:pt x="142" y="582"/>
                  </a:cubicBezTo>
                  <a:cubicBezTo>
                    <a:pt x="141" y="582"/>
                    <a:pt x="141" y="582"/>
                    <a:pt x="140" y="582"/>
                  </a:cubicBezTo>
                  <a:cubicBezTo>
                    <a:pt x="139" y="581"/>
                    <a:pt x="139" y="580"/>
                    <a:pt x="138" y="579"/>
                  </a:cubicBezTo>
                  <a:cubicBezTo>
                    <a:pt x="111" y="492"/>
                    <a:pt x="111" y="492"/>
                    <a:pt x="111" y="492"/>
                  </a:cubicBezTo>
                  <a:cubicBezTo>
                    <a:pt x="111" y="491"/>
                    <a:pt x="111" y="489"/>
                    <a:pt x="111" y="487"/>
                  </a:cubicBezTo>
                  <a:cubicBezTo>
                    <a:pt x="111" y="485"/>
                    <a:pt x="111" y="483"/>
                    <a:pt x="112" y="481"/>
                  </a:cubicBezTo>
                  <a:cubicBezTo>
                    <a:pt x="117" y="467"/>
                    <a:pt x="117" y="467"/>
                    <a:pt x="117" y="467"/>
                  </a:cubicBezTo>
                  <a:cubicBezTo>
                    <a:pt x="118" y="465"/>
                    <a:pt x="118" y="462"/>
                    <a:pt x="118" y="459"/>
                  </a:cubicBezTo>
                  <a:cubicBezTo>
                    <a:pt x="118" y="457"/>
                    <a:pt x="118" y="455"/>
                    <a:pt x="118" y="453"/>
                  </a:cubicBezTo>
                  <a:cubicBezTo>
                    <a:pt x="108" y="415"/>
                    <a:pt x="108" y="415"/>
                    <a:pt x="108" y="415"/>
                  </a:cubicBezTo>
                  <a:cubicBezTo>
                    <a:pt x="108" y="412"/>
                    <a:pt x="107" y="406"/>
                    <a:pt x="107" y="403"/>
                  </a:cubicBezTo>
                  <a:cubicBezTo>
                    <a:pt x="107" y="388"/>
                    <a:pt x="107" y="388"/>
                    <a:pt x="107" y="388"/>
                  </a:cubicBezTo>
                  <a:cubicBezTo>
                    <a:pt x="107" y="385"/>
                    <a:pt x="106" y="383"/>
                    <a:pt x="105" y="381"/>
                  </a:cubicBezTo>
                  <a:cubicBezTo>
                    <a:pt x="104" y="379"/>
                    <a:pt x="103" y="377"/>
                    <a:pt x="102" y="376"/>
                  </a:cubicBezTo>
                  <a:cubicBezTo>
                    <a:pt x="82" y="361"/>
                    <a:pt x="82" y="361"/>
                    <a:pt x="82" y="361"/>
                  </a:cubicBezTo>
                  <a:cubicBezTo>
                    <a:pt x="81" y="360"/>
                    <a:pt x="78" y="359"/>
                    <a:pt x="76" y="359"/>
                  </a:cubicBezTo>
                  <a:cubicBezTo>
                    <a:pt x="74" y="359"/>
                    <a:pt x="73" y="360"/>
                    <a:pt x="71" y="361"/>
                  </a:cubicBezTo>
                  <a:cubicBezTo>
                    <a:pt x="58" y="368"/>
                    <a:pt x="58" y="368"/>
                    <a:pt x="58" y="368"/>
                  </a:cubicBezTo>
                  <a:cubicBezTo>
                    <a:pt x="56" y="369"/>
                    <a:pt x="53" y="370"/>
                    <a:pt x="51" y="370"/>
                  </a:cubicBezTo>
                  <a:cubicBezTo>
                    <a:pt x="50" y="370"/>
                    <a:pt x="50" y="370"/>
                    <a:pt x="50" y="370"/>
                  </a:cubicBezTo>
                  <a:cubicBezTo>
                    <a:pt x="19" y="363"/>
                    <a:pt x="19" y="363"/>
                    <a:pt x="19" y="363"/>
                  </a:cubicBezTo>
                  <a:cubicBezTo>
                    <a:pt x="18" y="363"/>
                    <a:pt x="17" y="363"/>
                    <a:pt x="16" y="361"/>
                  </a:cubicBezTo>
                  <a:cubicBezTo>
                    <a:pt x="15" y="360"/>
                    <a:pt x="15" y="359"/>
                    <a:pt x="14" y="358"/>
                  </a:cubicBezTo>
                  <a:cubicBezTo>
                    <a:pt x="5" y="311"/>
                    <a:pt x="5" y="311"/>
                    <a:pt x="5" y="311"/>
                  </a:cubicBezTo>
                  <a:cubicBezTo>
                    <a:pt x="3" y="312"/>
                    <a:pt x="3" y="312"/>
                    <a:pt x="3" y="312"/>
                  </a:cubicBezTo>
                  <a:cubicBezTo>
                    <a:pt x="0" y="312"/>
                    <a:pt x="0" y="312"/>
                    <a:pt x="0" y="312"/>
                  </a:cubicBezTo>
                  <a:cubicBezTo>
                    <a:pt x="10" y="358"/>
                    <a:pt x="10" y="358"/>
                    <a:pt x="10" y="358"/>
                  </a:cubicBezTo>
                  <a:cubicBezTo>
                    <a:pt x="11" y="361"/>
                    <a:pt x="12" y="363"/>
                    <a:pt x="13" y="364"/>
                  </a:cubicBezTo>
                  <a:cubicBezTo>
                    <a:pt x="14" y="366"/>
                    <a:pt x="16" y="367"/>
                    <a:pt x="18" y="368"/>
                  </a:cubicBezTo>
                  <a:cubicBezTo>
                    <a:pt x="49" y="374"/>
                    <a:pt x="49" y="374"/>
                    <a:pt x="49" y="374"/>
                  </a:cubicBezTo>
                  <a:cubicBezTo>
                    <a:pt x="50" y="374"/>
                    <a:pt x="50" y="374"/>
                    <a:pt x="51" y="374"/>
                  </a:cubicBezTo>
                  <a:cubicBezTo>
                    <a:pt x="54" y="374"/>
                    <a:pt x="57" y="373"/>
                    <a:pt x="60" y="372"/>
                  </a:cubicBezTo>
                  <a:cubicBezTo>
                    <a:pt x="73" y="364"/>
                    <a:pt x="73" y="364"/>
                    <a:pt x="73" y="364"/>
                  </a:cubicBezTo>
                  <a:cubicBezTo>
                    <a:pt x="74" y="364"/>
                    <a:pt x="75" y="364"/>
                    <a:pt x="76" y="364"/>
                  </a:cubicBezTo>
                  <a:cubicBezTo>
                    <a:pt x="77" y="364"/>
                    <a:pt x="79" y="364"/>
                    <a:pt x="80" y="365"/>
                  </a:cubicBezTo>
                  <a:cubicBezTo>
                    <a:pt x="99" y="379"/>
                    <a:pt x="99" y="379"/>
                    <a:pt x="99" y="379"/>
                  </a:cubicBezTo>
                  <a:cubicBezTo>
                    <a:pt x="100" y="380"/>
                    <a:pt x="101" y="381"/>
                    <a:pt x="101" y="383"/>
                  </a:cubicBezTo>
                  <a:cubicBezTo>
                    <a:pt x="102" y="384"/>
                    <a:pt x="103" y="386"/>
                    <a:pt x="103" y="388"/>
                  </a:cubicBezTo>
                  <a:cubicBezTo>
                    <a:pt x="103" y="403"/>
                    <a:pt x="103" y="403"/>
                    <a:pt x="103" y="403"/>
                  </a:cubicBezTo>
                  <a:cubicBezTo>
                    <a:pt x="103" y="407"/>
                    <a:pt x="103" y="413"/>
                    <a:pt x="104" y="416"/>
                  </a:cubicBezTo>
                  <a:cubicBezTo>
                    <a:pt x="114" y="454"/>
                    <a:pt x="114" y="454"/>
                    <a:pt x="114" y="454"/>
                  </a:cubicBezTo>
                  <a:cubicBezTo>
                    <a:pt x="114" y="456"/>
                    <a:pt x="114" y="457"/>
                    <a:pt x="114" y="459"/>
                  </a:cubicBezTo>
                  <a:cubicBezTo>
                    <a:pt x="114" y="461"/>
                    <a:pt x="114" y="464"/>
                    <a:pt x="113" y="466"/>
                  </a:cubicBezTo>
                  <a:cubicBezTo>
                    <a:pt x="108" y="480"/>
                    <a:pt x="108" y="480"/>
                    <a:pt x="108" y="480"/>
                  </a:cubicBezTo>
                  <a:cubicBezTo>
                    <a:pt x="107" y="482"/>
                    <a:pt x="107" y="485"/>
                    <a:pt x="107" y="487"/>
                  </a:cubicBezTo>
                  <a:cubicBezTo>
                    <a:pt x="107" y="489"/>
                    <a:pt x="107" y="491"/>
                    <a:pt x="107" y="493"/>
                  </a:cubicBezTo>
                  <a:cubicBezTo>
                    <a:pt x="134" y="580"/>
                    <a:pt x="134" y="580"/>
                    <a:pt x="134" y="580"/>
                  </a:cubicBezTo>
                  <a:cubicBezTo>
                    <a:pt x="135" y="582"/>
                    <a:pt x="136" y="584"/>
                    <a:pt x="137" y="585"/>
                  </a:cubicBezTo>
                  <a:cubicBezTo>
                    <a:pt x="138" y="586"/>
                    <a:pt x="140" y="587"/>
                    <a:pt x="142" y="587"/>
                  </a:cubicBezTo>
                  <a:cubicBezTo>
                    <a:pt x="142" y="587"/>
                    <a:pt x="143" y="587"/>
                    <a:pt x="144" y="586"/>
                  </a:cubicBezTo>
                  <a:cubicBezTo>
                    <a:pt x="164" y="580"/>
                    <a:pt x="164" y="580"/>
                    <a:pt x="164" y="580"/>
                  </a:cubicBezTo>
                  <a:cubicBezTo>
                    <a:pt x="165" y="579"/>
                    <a:pt x="167" y="578"/>
                    <a:pt x="169" y="577"/>
                  </a:cubicBezTo>
                  <a:cubicBezTo>
                    <a:pt x="171" y="576"/>
                    <a:pt x="172" y="575"/>
                    <a:pt x="173" y="573"/>
                  </a:cubicBezTo>
                  <a:cubicBezTo>
                    <a:pt x="201" y="539"/>
                    <a:pt x="201" y="539"/>
                    <a:pt x="201" y="539"/>
                  </a:cubicBezTo>
                  <a:cubicBezTo>
                    <a:pt x="202" y="537"/>
                    <a:pt x="203" y="535"/>
                    <a:pt x="204" y="533"/>
                  </a:cubicBezTo>
                  <a:cubicBezTo>
                    <a:pt x="205" y="530"/>
                    <a:pt x="205" y="528"/>
                    <a:pt x="205" y="526"/>
                  </a:cubicBezTo>
                  <a:cubicBezTo>
                    <a:pt x="205" y="518"/>
                    <a:pt x="205" y="518"/>
                    <a:pt x="205" y="518"/>
                  </a:cubicBezTo>
                  <a:cubicBezTo>
                    <a:pt x="205" y="516"/>
                    <a:pt x="206" y="515"/>
                    <a:pt x="206" y="513"/>
                  </a:cubicBezTo>
                  <a:cubicBezTo>
                    <a:pt x="207" y="511"/>
                    <a:pt x="208" y="510"/>
                    <a:pt x="209" y="509"/>
                  </a:cubicBezTo>
                  <a:cubicBezTo>
                    <a:pt x="225" y="493"/>
                    <a:pt x="225" y="493"/>
                    <a:pt x="225" y="493"/>
                  </a:cubicBezTo>
                  <a:cubicBezTo>
                    <a:pt x="226" y="492"/>
                    <a:pt x="227" y="490"/>
                    <a:pt x="228" y="488"/>
                  </a:cubicBezTo>
                  <a:cubicBezTo>
                    <a:pt x="229" y="485"/>
                    <a:pt x="230" y="483"/>
                    <a:pt x="230" y="481"/>
                  </a:cubicBezTo>
                  <a:cubicBezTo>
                    <a:pt x="230" y="462"/>
                    <a:pt x="230" y="462"/>
                    <a:pt x="230" y="462"/>
                  </a:cubicBezTo>
                  <a:cubicBezTo>
                    <a:pt x="230" y="458"/>
                    <a:pt x="228" y="453"/>
                    <a:pt x="226" y="449"/>
                  </a:cubicBezTo>
                  <a:cubicBezTo>
                    <a:pt x="226" y="449"/>
                    <a:pt x="226" y="449"/>
                    <a:pt x="226" y="449"/>
                  </a:cubicBezTo>
                  <a:cubicBezTo>
                    <a:pt x="226" y="448"/>
                    <a:pt x="226" y="448"/>
                    <a:pt x="226" y="448"/>
                  </a:cubicBezTo>
                  <a:cubicBezTo>
                    <a:pt x="226" y="448"/>
                    <a:pt x="226" y="448"/>
                    <a:pt x="226" y="448"/>
                  </a:cubicBezTo>
                  <a:cubicBezTo>
                    <a:pt x="225" y="446"/>
                    <a:pt x="223" y="440"/>
                    <a:pt x="223" y="437"/>
                  </a:cubicBezTo>
                  <a:cubicBezTo>
                    <a:pt x="223" y="428"/>
                    <a:pt x="223" y="428"/>
                    <a:pt x="223" y="428"/>
                  </a:cubicBezTo>
                  <a:cubicBezTo>
                    <a:pt x="223" y="426"/>
                    <a:pt x="224" y="424"/>
                    <a:pt x="224" y="423"/>
                  </a:cubicBezTo>
                  <a:cubicBezTo>
                    <a:pt x="225" y="421"/>
                    <a:pt x="226" y="419"/>
                    <a:pt x="227" y="418"/>
                  </a:cubicBezTo>
                  <a:cubicBezTo>
                    <a:pt x="247" y="393"/>
                    <a:pt x="247" y="393"/>
                    <a:pt x="247" y="393"/>
                  </a:cubicBezTo>
                  <a:cubicBezTo>
                    <a:pt x="249" y="390"/>
                    <a:pt x="252" y="385"/>
                    <a:pt x="254" y="382"/>
                  </a:cubicBezTo>
                  <a:cubicBezTo>
                    <a:pt x="270" y="340"/>
                    <a:pt x="270" y="340"/>
                    <a:pt x="270" y="340"/>
                  </a:cubicBezTo>
                  <a:cubicBezTo>
                    <a:pt x="271" y="339"/>
                    <a:pt x="271" y="338"/>
                    <a:pt x="271" y="337"/>
                  </a:cubicBezTo>
                  <a:cubicBezTo>
                    <a:pt x="271" y="336"/>
                    <a:pt x="271" y="334"/>
                    <a:pt x="270" y="333"/>
                  </a:cubicBezTo>
                  <a:cubicBezTo>
                    <a:pt x="269" y="332"/>
                    <a:pt x="267" y="332"/>
                    <a:pt x="266" y="332"/>
                  </a:cubicBezTo>
                  <a:cubicBezTo>
                    <a:pt x="266" y="332"/>
                    <a:pt x="266" y="332"/>
                    <a:pt x="266" y="332"/>
                  </a:cubicBezTo>
                  <a:cubicBezTo>
                    <a:pt x="242" y="334"/>
                    <a:pt x="242" y="334"/>
                    <a:pt x="242" y="334"/>
                  </a:cubicBezTo>
                  <a:cubicBezTo>
                    <a:pt x="241" y="334"/>
                    <a:pt x="241" y="334"/>
                    <a:pt x="241" y="334"/>
                  </a:cubicBezTo>
                  <a:cubicBezTo>
                    <a:pt x="241" y="334"/>
                    <a:pt x="240" y="333"/>
                    <a:pt x="239" y="332"/>
                  </a:cubicBezTo>
                  <a:cubicBezTo>
                    <a:pt x="238" y="332"/>
                    <a:pt x="237" y="330"/>
                    <a:pt x="236" y="329"/>
                  </a:cubicBezTo>
                  <a:cubicBezTo>
                    <a:pt x="207" y="255"/>
                    <a:pt x="207" y="255"/>
                    <a:pt x="207" y="255"/>
                  </a:cubicBezTo>
                  <a:cubicBezTo>
                    <a:pt x="206" y="254"/>
                    <a:pt x="206" y="253"/>
                    <a:pt x="206" y="252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1"/>
                    <a:pt x="206" y="251"/>
                    <a:pt x="206" y="251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1"/>
                    <a:pt x="206" y="251"/>
                    <a:pt x="206" y="251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1"/>
                    <a:pt x="206" y="251"/>
                    <a:pt x="206" y="251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1"/>
                    <a:pt x="206" y="251"/>
                    <a:pt x="206" y="251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1"/>
                    <a:pt x="206" y="251"/>
                    <a:pt x="206" y="251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1"/>
                    <a:pt x="206" y="251"/>
                    <a:pt x="206" y="251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2"/>
                    <a:pt x="207" y="252"/>
                    <a:pt x="208" y="253"/>
                  </a:cubicBezTo>
                  <a:cubicBezTo>
                    <a:pt x="209" y="254"/>
                    <a:pt x="210" y="255"/>
                    <a:pt x="210" y="256"/>
                  </a:cubicBezTo>
                  <a:cubicBezTo>
                    <a:pt x="230" y="301"/>
                    <a:pt x="230" y="301"/>
                    <a:pt x="230" y="301"/>
                  </a:cubicBezTo>
                  <a:cubicBezTo>
                    <a:pt x="232" y="305"/>
                    <a:pt x="235" y="309"/>
                    <a:pt x="237" y="312"/>
                  </a:cubicBezTo>
                  <a:cubicBezTo>
                    <a:pt x="246" y="321"/>
                    <a:pt x="246" y="321"/>
                    <a:pt x="246" y="321"/>
                  </a:cubicBezTo>
                  <a:cubicBezTo>
                    <a:pt x="248" y="322"/>
                    <a:pt x="249" y="323"/>
                    <a:pt x="251" y="324"/>
                  </a:cubicBezTo>
                  <a:cubicBezTo>
                    <a:pt x="253" y="325"/>
                    <a:pt x="255" y="325"/>
                    <a:pt x="257" y="325"/>
                  </a:cubicBezTo>
                  <a:cubicBezTo>
                    <a:pt x="264" y="325"/>
                    <a:pt x="264" y="325"/>
                    <a:pt x="264" y="325"/>
                  </a:cubicBezTo>
                  <a:cubicBezTo>
                    <a:pt x="266" y="325"/>
                    <a:pt x="268" y="324"/>
                    <a:pt x="270" y="323"/>
                  </a:cubicBezTo>
                  <a:cubicBezTo>
                    <a:pt x="271" y="322"/>
                    <a:pt x="273" y="321"/>
                    <a:pt x="274" y="319"/>
                  </a:cubicBezTo>
                  <a:cubicBezTo>
                    <a:pt x="299" y="283"/>
                    <a:pt x="299" y="283"/>
                    <a:pt x="299" y="283"/>
                  </a:cubicBezTo>
                  <a:cubicBezTo>
                    <a:pt x="300" y="282"/>
                    <a:pt x="301" y="280"/>
                    <a:pt x="301" y="278"/>
                  </a:cubicBezTo>
                  <a:cubicBezTo>
                    <a:pt x="301" y="276"/>
                    <a:pt x="299" y="273"/>
                    <a:pt x="297" y="272"/>
                  </a:cubicBezTo>
                  <a:cubicBezTo>
                    <a:pt x="293" y="269"/>
                    <a:pt x="293" y="269"/>
                    <a:pt x="293" y="269"/>
                  </a:cubicBezTo>
                  <a:cubicBezTo>
                    <a:pt x="291" y="268"/>
                    <a:pt x="289" y="267"/>
                    <a:pt x="288" y="266"/>
                  </a:cubicBezTo>
                  <a:cubicBezTo>
                    <a:pt x="286" y="266"/>
                    <a:pt x="284" y="265"/>
                    <a:pt x="282" y="265"/>
                  </a:cubicBezTo>
                  <a:cubicBezTo>
                    <a:pt x="279" y="265"/>
                    <a:pt x="279" y="265"/>
                    <a:pt x="279" y="265"/>
                  </a:cubicBezTo>
                  <a:cubicBezTo>
                    <a:pt x="278" y="265"/>
                    <a:pt x="276" y="265"/>
                    <a:pt x="275" y="264"/>
                  </a:cubicBezTo>
                  <a:cubicBezTo>
                    <a:pt x="273" y="264"/>
                    <a:pt x="272" y="263"/>
                    <a:pt x="271" y="262"/>
                  </a:cubicBezTo>
                  <a:cubicBezTo>
                    <a:pt x="253" y="243"/>
                    <a:pt x="253" y="243"/>
                    <a:pt x="253" y="243"/>
                  </a:cubicBezTo>
                  <a:cubicBezTo>
                    <a:pt x="252" y="242"/>
                    <a:pt x="251" y="241"/>
                    <a:pt x="251" y="240"/>
                  </a:cubicBezTo>
                  <a:cubicBezTo>
                    <a:pt x="251" y="239"/>
                    <a:pt x="252" y="238"/>
                    <a:pt x="252" y="237"/>
                  </a:cubicBezTo>
                  <a:cubicBezTo>
                    <a:pt x="252" y="237"/>
                    <a:pt x="252" y="237"/>
                    <a:pt x="252" y="237"/>
                  </a:cubicBezTo>
                  <a:cubicBezTo>
                    <a:pt x="253" y="237"/>
                    <a:pt x="253" y="237"/>
                    <a:pt x="253" y="237"/>
                  </a:cubicBezTo>
                  <a:cubicBezTo>
                    <a:pt x="253" y="236"/>
                    <a:pt x="255" y="235"/>
                    <a:pt x="256" y="235"/>
                  </a:cubicBezTo>
                  <a:cubicBezTo>
                    <a:pt x="256" y="235"/>
                    <a:pt x="257" y="235"/>
                    <a:pt x="258" y="236"/>
                  </a:cubicBezTo>
                  <a:cubicBezTo>
                    <a:pt x="293" y="263"/>
                    <a:pt x="293" y="263"/>
                    <a:pt x="293" y="263"/>
                  </a:cubicBezTo>
                  <a:cubicBezTo>
                    <a:pt x="295" y="264"/>
                    <a:pt x="296" y="265"/>
                    <a:pt x="298" y="266"/>
                  </a:cubicBezTo>
                  <a:cubicBezTo>
                    <a:pt x="300" y="267"/>
                    <a:pt x="302" y="267"/>
                    <a:pt x="304" y="267"/>
                  </a:cubicBezTo>
                  <a:cubicBezTo>
                    <a:pt x="321" y="267"/>
                    <a:pt x="321" y="267"/>
                    <a:pt x="321" y="267"/>
                  </a:cubicBezTo>
                  <a:cubicBezTo>
                    <a:pt x="322" y="267"/>
                    <a:pt x="323" y="267"/>
                    <a:pt x="325" y="268"/>
                  </a:cubicBezTo>
                  <a:cubicBezTo>
                    <a:pt x="326" y="269"/>
                    <a:pt x="327" y="270"/>
                    <a:pt x="328" y="271"/>
                  </a:cubicBezTo>
                  <a:cubicBezTo>
                    <a:pt x="339" y="282"/>
                    <a:pt x="339" y="282"/>
                    <a:pt x="339" y="282"/>
                  </a:cubicBezTo>
                  <a:cubicBezTo>
                    <a:pt x="341" y="284"/>
                    <a:pt x="344" y="285"/>
                    <a:pt x="346" y="285"/>
                  </a:cubicBezTo>
                  <a:cubicBezTo>
                    <a:pt x="347" y="285"/>
                    <a:pt x="348" y="285"/>
                    <a:pt x="349" y="284"/>
                  </a:cubicBezTo>
                  <a:cubicBezTo>
                    <a:pt x="349" y="284"/>
                    <a:pt x="349" y="284"/>
                    <a:pt x="349" y="284"/>
                  </a:cubicBezTo>
                  <a:cubicBezTo>
                    <a:pt x="349" y="284"/>
                    <a:pt x="349" y="284"/>
                    <a:pt x="349" y="284"/>
                  </a:cubicBezTo>
                  <a:cubicBezTo>
                    <a:pt x="349" y="284"/>
                    <a:pt x="349" y="284"/>
                    <a:pt x="349" y="284"/>
                  </a:cubicBezTo>
                  <a:cubicBezTo>
                    <a:pt x="349" y="284"/>
                    <a:pt x="349" y="284"/>
                    <a:pt x="349" y="284"/>
                  </a:cubicBezTo>
                  <a:cubicBezTo>
                    <a:pt x="349" y="284"/>
                    <a:pt x="349" y="284"/>
                    <a:pt x="349" y="284"/>
                  </a:cubicBezTo>
                  <a:cubicBezTo>
                    <a:pt x="349" y="284"/>
                    <a:pt x="349" y="284"/>
                    <a:pt x="349" y="284"/>
                  </a:cubicBezTo>
                  <a:cubicBezTo>
                    <a:pt x="349" y="284"/>
                    <a:pt x="350" y="284"/>
                    <a:pt x="350" y="285"/>
                  </a:cubicBezTo>
                  <a:cubicBezTo>
                    <a:pt x="351" y="285"/>
                    <a:pt x="351" y="286"/>
                    <a:pt x="352" y="287"/>
                  </a:cubicBezTo>
                  <a:cubicBezTo>
                    <a:pt x="376" y="350"/>
                    <a:pt x="376" y="350"/>
                    <a:pt x="376" y="350"/>
                  </a:cubicBezTo>
                  <a:cubicBezTo>
                    <a:pt x="376" y="351"/>
                    <a:pt x="377" y="352"/>
                    <a:pt x="377" y="352"/>
                  </a:cubicBezTo>
                  <a:cubicBezTo>
                    <a:pt x="378" y="353"/>
                    <a:pt x="379" y="354"/>
                    <a:pt x="380" y="354"/>
                  </a:cubicBezTo>
                  <a:cubicBezTo>
                    <a:pt x="381" y="354"/>
                    <a:pt x="382" y="353"/>
                    <a:pt x="383" y="352"/>
                  </a:cubicBezTo>
                  <a:cubicBezTo>
                    <a:pt x="384" y="352"/>
                    <a:pt x="384" y="351"/>
                    <a:pt x="384" y="350"/>
                  </a:cubicBezTo>
                  <a:cubicBezTo>
                    <a:pt x="390" y="336"/>
                    <a:pt x="390" y="336"/>
                    <a:pt x="390" y="336"/>
                  </a:cubicBezTo>
                  <a:cubicBezTo>
                    <a:pt x="391" y="332"/>
                    <a:pt x="392" y="327"/>
                    <a:pt x="392" y="324"/>
                  </a:cubicBezTo>
                  <a:cubicBezTo>
                    <a:pt x="392" y="323"/>
                    <a:pt x="392" y="323"/>
                    <a:pt x="392" y="322"/>
                  </a:cubicBezTo>
                  <a:cubicBezTo>
                    <a:pt x="392" y="321"/>
                    <a:pt x="392" y="321"/>
                    <a:pt x="392" y="321"/>
                  </a:cubicBezTo>
                  <a:cubicBezTo>
                    <a:pt x="392" y="321"/>
                    <a:pt x="392" y="321"/>
                    <a:pt x="392" y="321"/>
                  </a:cubicBezTo>
                  <a:cubicBezTo>
                    <a:pt x="392" y="317"/>
                    <a:pt x="393" y="313"/>
                    <a:pt x="394" y="311"/>
                  </a:cubicBezTo>
                  <a:cubicBezTo>
                    <a:pt x="418" y="279"/>
                    <a:pt x="418" y="279"/>
                    <a:pt x="418" y="279"/>
                  </a:cubicBezTo>
                  <a:cubicBezTo>
                    <a:pt x="419" y="278"/>
                    <a:pt x="419" y="278"/>
                    <a:pt x="420" y="278"/>
                  </a:cubicBezTo>
                  <a:cubicBezTo>
                    <a:pt x="420" y="278"/>
                    <a:pt x="421" y="278"/>
                    <a:pt x="422" y="279"/>
                  </a:cubicBezTo>
                  <a:cubicBezTo>
                    <a:pt x="456" y="325"/>
                    <a:pt x="456" y="325"/>
                    <a:pt x="456" y="325"/>
                  </a:cubicBezTo>
                  <a:cubicBezTo>
                    <a:pt x="457" y="326"/>
                    <a:pt x="458" y="328"/>
                    <a:pt x="458" y="330"/>
                  </a:cubicBezTo>
                  <a:cubicBezTo>
                    <a:pt x="459" y="332"/>
                    <a:pt x="459" y="334"/>
                    <a:pt x="459" y="336"/>
                  </a:cubicBezTo>
                  <a:cubicBezTo>
                    <a:pt x="459" y="340"/>
                    <a:pt x="459" y="340"/>
                    <a:pt x="459" y="340"/>
                  </a:cubicBezTo>
                  <a:cubicBezTo>
                    <a:pt x="459" y="344"/>
                    <a:pt x="460" y="350"/>
                    <a:pt x="462" y="353"/>
                  </a:cubicBezTo>
                  <a:cubicBezTo>
                    <a:pt x="473" y="376"/>
                    <a:pt x="473" y="376"/>
                    <a:pt x="473" y="376"/>
                  </a:cubicBezTo>
                  <a:cubicBezTo>
                    <a:pt x="474" y="378"/>
                    <a:pt x="475" y="380"/>
                    <a:pt x="477" y="381"/>
                  </a:cubicBezTo>
                  <a:cubicBezTo>
                    <a:pt x="478" y="383"/>
                    <a:pt x="480" y="384"/>
                    <a:pt x="481" y="385"/>
                  </a:cubicBezTo>
                  <a:cubicBezTo>
                    <a:pt x="486" y="388"/>
                    <a:pt x="486" y="388"/>
                    <a:pt x="486" y="388"/>
                  </a:cubicBezTo>
                  <a:cubicBezTo>
                    <a:pt x="487" y="388"/>
                    <a:pt x="488" y="388"/>
                    <a:pt x="489" y="388"/>
                  </a:cubicBezTo>
                  <a:cubicBezTo>
                    <a:pt x="490" y="388"/>
                    <a:pt x="491" y="388"/>
                    <a:pt x="491" y="387"/>
                  </a:cubicBezTo>
                  <a:cubicBezTo>
                    <a:pt x="492" y="387"/>
                    <a:pt x="492" y="386"/>
                    <a:pt x="492" y="385"/>
                  </a:cubicBezTo>
                  <a:cubicBezTo>
                    <a:pt x="492" y="384"/>
                    <a:pt x="492" y="383"/>
                    <a:pt x="491" y="382"/>
                  </a:cubicBezTo>
                  <a:cubicBezTo>
                    <a:pt x="476" y="352"/>
                    <a:pt x="476" y="352"/>
                    <a:pt x="476" y="352"/>
                  </a:cubicBezTo>
                  <a:cubicBezTo>
                    <a:pt x="475" y="350"/>
                    <a:pt x="473" y="344"/>
                    <a:pt x="473" y="341"/>
                  </a:cubicBezTo>
                  <a:cubicBezTo>
                    <a:pt x="473" y="337"/>
                    <a:pt x="473" y="337"/>
                    <a:pt x="473" y="337"/>
                  </a:cubicBezTo>
                  <a:cubicBezTo>
                    <a:pt x="473" y="336"/>
                    <a:pt x="474" y="335"/>
                    <a:pt x="474" y="335"/>
                  </a:cubicBezTo>
                  <a:cubicBezTo>
                    <a:pt x="474" y="335"/>
                    <a:pt x="474" y="335"/>
                    <a:pt x="474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4" y="335"/>
                    <a:pt x="474" y="335"/>
                    <a:pt x="474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4"/>
                    <a:pt x="473" y="334"/>
                    <a:pt x="473" y="334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4"/>
                    <a:pt x="473" y="334"/>
                    <a:pt x="473" y="334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6"/>
                    <a:pt x="473" y="336"/>
                    <a:pt x="473" y="336"/>
                  </a:cubicBezTo>
                  <a:cubicBezTo>
                    <a:pt x="486" y="352"/>
                    <a:pt x="486" y="352"/>
                    <a:pt x="486" y="352"/>
                  </a:cubicBezTo>
                  <a:cubicBezTo>
                    <a:pt x="487" y="353"/>
                    <a:pt x="489" y="354"/>
                    <a:pt x="491" y="354"/>
                  </a:cubicBezTo>
                  <a:cubicBezTo>
                    <a:pt x="493" y="354"/>
                    <a:pt x="495" y="353"/>
                    <a:pt x="496" y="351"/>
                  </a:cubicBezTo>
                  <a:cubicBezTo>
                    <a:pt x="506" y="334"/>
                    <a:pt x="506" y="334"/>
                    <a:pt x="506" y="334"/>
                  </a:cubicBezTo>
                  <a:cubicBezTo>
                    <a:pt x="507" y="332"/>
                    <a:pt x="508" y="330"/>
                    <a:pt x="508" y="328"/>
                  </a:cubicBezTo>
                  <a:cubicBezTo>
                    <a:pt x="508" y="326"/>
                    <a:pt x="507" y="323"/>
                    <a:pt x="506" y="321"/>
                  </a:cubicBezTo>
                  <a:cubicBezTo>
                    <a:pt x="493" y="300"/>
                    <a:pt x="493" y="300"/>
                    <a:pt x="493" y="300"/>
                  </a:cubicBezTo>
                  <a:cubicBezTo>
                    <a:pt x="491" y="298"/>
                    <a:pt x="490" y="292"/>
                    <a:pt x="490" y="289"/>
                  </a:cubicBezTo>
                  <a:cubicBezTo>
                    <a:pt x="490" y="282"/>
                    <a:pt x="490" y="282"/>
                    <a:pt x="490" y="282"/>
                  </a:cubicBezTo>
                  <a:cubicBezTo>
                    <a:pt x="490" y="281"/>
                    <a:pt x="490" y="280"/>
                    <a:pt x="491" y="279"/>
                  </a:cubicBezTo>
                  <a:cubicBezTo>
                    <a:pt x="491" y="278"/>
                    <a:pt x="492" y="278"/>
                    <a:pt x="493" y="278"/>
                  </a:cubicBezTo>
                  <a:cubicBezTo>
                    <a:pt x="510" y="278"/>
                    <a:pt x="510" y="278"/>
                    <a:pt x="510" y="278"/>
                  </a:cubicBezTo>
                  <a:cubicBezTo>
                    <a:pt x="512" y="278"/>
                    <a:pt x="514" y="277"/>
                    <a:pt x="515" y="275"/>
                  </a:cubicBezTo>
                  <a:cubicBezTo>
                    <a:pt x="517" y="274"/>
                    <a:pt x="517" y="271"/>
                    <a:pt x="517" y="269"/>
                  </a:cubicBezTo>
                  <a:cubicBezTo>
                    <a:pt x="517" y="269"/>
                    <a:pt x="517" y="269"/>
                    <a:pt x="517" y="269"/>
                  </a:cubicBezTo>
                  <a:cubicBezTo>
                    <a:pt x="516" y="242"/>
                    <a:pt x="516" y="242"/>
                    <a:pt x="516" y="242"/>
                  </a:cubicBezTo>
                  <a:cubicBezTo>
                    <a:pt x="516" y="240"/>
                    <a:pt x="515" y="237"/>
                    <a:pt x="515" y="235"/>
                  </a:cubicBezTo>
                  <a:cubicBezTo>
                    <a:pt x="514" y="233"/>
                    <a:pt x="513" y="231"/>
                    <a:pt x="511" y="230"/>
                  </a:cubicBezTo>
                  <a:cubicBezTo>
                    <a:pt x="496" y="214"/>
                    <a:pt x="496" y="214"/>
                    <a:pt x="496" y="214"/>
                  </a:cubicBezTo>
                  <a:cubicBezTo>
                    <a:pt x="494" y="212"/>
                    <a:pt x="491" y="208"/>
                    <a:pt x="490" y="205"/>
                  </a:cubicBezTo>
                  <a:cubicBezTo>
                    <a:pt x="490" y="202"/>
                    <a:pt x="490" y="202"/>
                    <a:pt x="490" y="202"/>
                  </a:cubicBezTo>
                  <a:cubicBezTo>
                    <a:pt x="489" y="200"/>
                    <a:pt x="488" y="198"/>
                    <a:pt x="487" y="197"/>
                  </a:cubicBezTo>
                  <a:cubicBezTo>
                    <a:pt x="485" y="196"/>
                    <a:pt x="484" y="195"/>
                    <a:pt x="482" y="195"/>
                  </a:cubicBezTo>
                  <a:cubicBezTo>
                    <a:pt x="481" y="195"/>
                    <a:pt x="481" y="195"/>
                    <a:pt x="481" y="195"/>
                  </a:cubicBezTo>
                  <a:cubicBezTo>
                    <a:pt x="480" y="195"/>
                    <a:pt x="480" y="195"/>
                    <a:pt x="480" y="195"/>
                  </a:cubicBezTo>
                  <a:cubicBezTo>
                    <a:pt x="479" y="195"/>
                    <a:pt x="479" y="195"/>
                    <a:pt x="478" y="195"/>
                  </a:cubicBezTo>
                  <a:cubicBezTo>
                    <a:pt x="477" y="194"/>
                    <a:pt x="476" y="193"/>
                    <a:pt x="475" y="192"/>
                  </a:cubicBezTo>
                  <a:cubicBezTo>
                    <a:pt x="474" y="191"/>
                    <a:pt x="474" y="191"/>
                    <a:pt x="474" y="191"/>
                  </a:cubicBezTo>
                  <a:cubicBezTo>
                    <a:pt x="473" y="189"/>
                    <a:pt x="473" y="186"/>
                    <a:pt x="473" y="184"/>
                  </a:cubicBezTo>
                  <a:cubicBezTo>
                    <a:pt x="473" y="183"/>
                    <a:pt x="473" y="182"/>
                    <a:pt x="473" y="181"/>
                  </a:cubicBezTo>
                  <a:cubicBezTo>
                    <a:pt x="473" y="181"/>
                    <a:pt x="473" y="180"/>
                    <a:pt x="474" y="180"/>
                  </a:cubicBezTo>
                  <a:cubicBezTo>
                    <a:pt x="475" y="179"/>
                    <a:pt x="475" y="179"/>
                    <a:pt x="475" y="179"/>
                  </a:cubicBezTo>
                  <a:cubicBezTo>
                    <a:pt x="475" y="179"/>
                    <a:pt x="475" y="179"/>
                    <a:pt x="476" y="180"/>
                  </a:cubicBezTo>
                  <a:cubicBezTo>
                    <a:pt x="483" y="184"/>
                    <a:pt x="483" y="184"/>
                    <a:pt x="483" y="184"/>
                  </a:cubicBezTo>
                  <a:cubicBezTo>
                    <a:pt x="485" y="185"/>
                    <a:pt x="489" y="188"/>
                    <a:pt x="491" y="190"/>
                  </a:cubicBezTo>
                  <a:cubicBezTo>
                    <a:pt x="512" y="214"/>
                    <a:pt x="512" y="214"/>
                    <a:pt x="512" y="214"/>
                  </a:cubicBezTo>
                  <a:cubicBezTo>
                    <a:pt x="513" y="215"/>
                    <a:pt x="515" y="216"/>
                    <a:pt x="517" y="216"/>
                  </a:cubicBezTo>
                  <a:cubicBezTo>
                    <a:pt x="519" y="216"/>
                    <a:pt x="521" y="215"/>
                    <a:pt x="521" y="213"/>
                  </a:cubicBezTo>
                  <a:cubicBezTo>
                    <a:pt x="522" y="212"/>
                    <a:pt x="522" y="211"/>
                    <a:pt x="522" y="210"/>
                  </a:cubicBezTo>
                  <a:cubicBezTo>
                    <a:pt x="522" y="207"/>
                    <a:pt x="521" y="204"/>
                    <a:pt x="520" y="202"/>
                  </a:cubicBezTo>
                  <a:cubicBezTo>
                    <a:pt x="505" y="185"/>
                    <a:pt x="505" y="185"/>
                    <a:pt x="505" y="185"/>
                  </a:cubicBezTo>
                  <a:cubicBezTo>
                    <a:pt x="504" y="184"/>
                    <a:pt x="503" y="182"/>
                    <a:pt x="503" y="180"/>
                  </a:cubicBezTo>
                  <a:cubicBezTo>
                    <a:pt x="503" y="179"/>
                    <a:pt x="503" y="178"/>
                    <a:pt x="504" y="177"/>
                  </a:cubicBezTo>
                  <a:cubicBezTo>
                    <a:pt x="508" y="167"/>
                    <a:pt x="508" y="167"/>
                    <a:pt x="508" y="167"/>
                  </a:cubicBezTo>
                  <a:cubicBezTo>
                    <a:pt x="509" y="165"/>
                    <a:pt x="509" y="161"/>
                    <a:pt x="509" y="158"/>
                  </a:cubicBezTo>
                  <a:cubicBezTo>
                    <a:pt x="509" y="157"/>
                    <a:pt x="509" y="155"/>
                    <a:pt x="509" y="154"/>
                  </a:cubicBezTo>
                  <a:cubicBezTo>
                    <a:pt x="504" y="129"/>
                    <a:pt x="504" y="129"/>
                    <a:pt x="504" y="129"/>
                  </a:cubicBezTo>
                  <a:cubicBezTo>
                    <a:pt x="503" y="127"/>
                    <a:pt x="502" y="125"/>
                    <a:pt x="501" y="123"/>
                  </a:cubicBezTo>
                  <a:cubicBezTo>
                    <a:pt x="499" y="121"/>
                    <a:pt x="497" y="120"/>
                    <a:pt x="495" y="120"/>
                  </a:cubicBezTo>
                  <a:cubicBezTo>
                    <a:pt x="485" y="118"/>
                    <a:pt x="485" y="118"/>
                    <a:pt x="485" y="118"/>
                  </a:cubicBezTo>
                  <a:cubicBezTo>
                    <a:pt x="484" y="118"/>
                    <a:pt x="483" y="117"/>
                    <a:pt x="482" y="116"/>
                  </a:cubicBezTo>
                  <a:cubicBezTo>
                    <a:pt x="481" y="115"/>
                    <a:pt x="480" y="114"/>
                    <a:pt x="479" y="112"/>
                  </a:cubicBezTo>
                  <a:cubicBezTo>
                    <a:pt x="474" y="96"/>
                    <a:pt x="474" y="96"/>
                    <a:pt x="474" y="96"/>
                  </a:cubicBezTo>
                  <a:cubicBezTo>
                    <a:pt x="474" y="96"/>
                    <a:pt x="474" y="95"/>
                    <a:pt x="474" y="94"/>
                  </a:cubicBezTo>
                  <a:cubicBezTo>
                    <a:pt x="474" y="92"/>
                    <a:pt x="475" y="91"/>
                    <a:pt x="476" y="90"/>
                  </a:cubicBezTo>
                  <a:cubicBezTo>
                    <a:pt x="495" y="79"/>
                    <a:pt x="495" y="79"/>
                    <a:pt x="495" y="79"/>
                  </a:cubicBezTo>
                  <a:cubicBezTo>
                    <a:pt x="496" y="79"/>
                    <a:pt x="496" y="79"/>
                    <a:pt x="496" y="79"/>
                  </a:cubicBezTo>
                  <a:cubicBezTo>
                    <a:pt x="498" y="78"/>
                    <a:pt x="499" y="79"/>
                    <a:pt x="500" y="81"/>
                  </a:cubicBezTo>
                  <a:cubicBezTo>
                    <a:pt x="533" y="131"/>
                    <a:pt x="533" y="131"/>
                    <a:pt x="533" y="131"/>
                  </a:cubicBezTo>
                  <a:cubicBezTo>
                    <a:pt x="534" y="133"/>
                    <a:pt x="536" y="134"/>
                    <a:pt x="538" y="134"/>
                  </a:cubicBezTo>
                  <a:cubicBezTo>
                    <a:pt x="539" y="134"/>
                    <a:pt x="540" y="133"/>
                    <a:pt x="541" y="133"/>
                  </a:cubicBezTo>
                  <a:cubicBezTo>
                    <a:pt x="541" y="132"/>
                    <a:pt x="542" y="131"/>
                    <a:pt x="543" y="130"/>
                  </a:cubicBezTo>
                  <a:cubicBezTo>
                    <a:pt x="544" y="129"/>
                    <a:pt x="544" y="127"/>
                    <a:pt x="544" y="125"/>
                  </a:cubicBezTo>
                  <a:cubicBezTo>
                    <a:pt x="544" y="122"/>
                    <a:pt x="543" y="120"/>
                    <a:pt x="542" y="118"/>
                  </a:cubicBezTo>
                  <a:cubicBezTo>
                    <a:pt x="522" y="84"/>
                    <a:pt x="522" y="84"/>
                    <a:pt x="522" y="84"/>
                  </a:cubicBezTo>
                  <a:cubicBezTo>
                    <a:pt x="522" y="84"/>
                    <a:pt x="522" y="83"/>
                    <a:pt x="522" y="82"/>
                  </a:cubicBezTo>
                  <a:cubicBezTo>
                    <a:pt x="522" y="81"/>
                    <a:pt x="522" y="80"/>
                    <a:pt x="523" y="80"/>
                  </a:cubicBezTo>
                  <a:cubicBezTo>
                    <a:pt x="526" y="78"/>
                    <a:pt x="526" y="78"/>
                    <a:pt x="526" y="78"/>
                  </a:cubicBezTo>
                  <a:cubicBezTo>
                    <a:pt x="528" y="78"/>
                    <a:pt x="530" y="76"/>
                    <a:pt x="529" y="73"/>
                  </a:cubicBezTo>
                  <a:cubicBezTo>
                    <a:pt x="529" y="72"/>
                    <a:pt x="529" y="70"/>
                    <a:pt x="527" y="69"/>
                  </a:cubicBezTo>
                  <a:cubicBezTo>
                    <a:pt x="514" y="55"/>
                    <a:pt x="514" y="55"/>
                    <a:pt x="514" y="55"/>
                  </a:cubicBezTo>
                  <a:cubicBezTo>
                    <a:pt x="513" y="54"/>
                    <a:pt x="511" y="53"/>
                    <a:pt x="509" y="52"/>
                  </a:cubicBezTo>
                  <a:cubicBezTo>
                    <a:pt x="508" y="51"/>
                    <a:pt x="506" y="50"/>
                    <a:pt x="504" y="49"/>
                  </a:cubicBezTo>
                  <a:cubicBezTo>
                    <a:pt x="393" y="22"/>
                    <a:pt x="393" y="22"/>
                    <a:pt x="393" y="22"/>
                  </a:cubicBezTo>
                  <a:cubicBezTo>
                    <a:pt x="392" y="22"/>
                    <a:pt x="391" y="21"/>
                    <a:pt x="390" y="21"/>
                  </a:cubicBezTo>
                  <a:cubicBezTo>
                    <a:pt x="389" y="21"/>
                    <a:pt x="387" y="22"/>
                    <a:pt x="386" y="22"/>
                  </a:cubicBezTo>
                  <a:cubicBezTo>
                    <a:pt x="385" y="23"/>
                    <a:pt x="383" y="24"/>
                    <a:pt x="383" y="25"/>
                  </a:cubicBezTo>
                  <a:cubicBezTo>
                    <a:pt x="382" y="26"/>
                    <a:pt x="381" y="26"/>
                    <a:pt x="379" y="26"/>
                  </a:cubicBezTo>
                  <a:cubicBezTo>
                    <a:pt x="378" y="26"/>
                    <a:pt x="378" y="26"/>
                    <a:pt x="377" y="26"/>
                  </a:cubicBezTo>
                  <a:cubicBezTo>
                    <a:pt x="299" y="0"/>
                    <a:pt x="299" y="0"/>
                    <a:pt x="299" y="0"/>
                  </a:cubicBezTo>
                  <a:cubicBezTo>
                    <a:pt x="298" y="0"/>
                    <a:pt x="297" y="0"/>
                    <a:pt x="296" y="0"/>
                  </a:cubicBezTo>
                  <a:cubicBezTo>
                    <a:pt x="295" y="0"/>
                    <a:pt x="294" y="0"/>
                    <a:pt x="293" y="1"/>
                  </a:cubicBezTo>
                  <a:cubicBezTo>
                    <a:pt x="292" y="2"/>
                    <a:pt x="291" y="4"/>
                    <a:pt x="291" y="5"/>
                  </a:cubicBezTo>
                  <a:cubicBezTo>
                    <a:pt x="291" y="6"/>
                    <a:pt x="291" y="8"/>
                    <a:pt x="290" y="10"/>
                  </a:cubicBezTo>
                  <a:cubicBezTo>
                    <a:pt x="290" y="11"/>
                    <a:pt x="289" y="13"/>
                    <a:pt x="288" y="15"/>
                  </a:cubicBezTo>
                  <a:cubicBezTo>
                    <a:pt x="282" y="28"/>
                    <a:pt x="282" y="28"/>
                    <a:pt x="282" y="28"/>
                  </a:cubicBezTo>
                  <a:cubicBezTo>
                    <a:pt x="281" y="31"/>
                    <a:pt x="277" y="34"/>
                    <a:pt x="275" y="36"/>
                  </a:cubicBezTo>
                  <a:cubicBezTo>
                    <a:pt x="265" y="42"/>
                    <a:pt x="265" y="42"/>
                    <a:pt x="265" y="42"/>
                  </a:cubicBezTo>
                  <a:cubicBezTo>
                    <a:pt x="264" y="43"/>
                    <a:pt x="262" y="44"/>
                    <a:pt x="260" y="44"/>
                  </a:cubicBezTo>
                  <a:cubicBezTo>
                    <a:pt x="259" y="45"/>
                    <a:pt x="257" y="45"/>
                    <a:pt x="256" y="45"/>
                  </a:cubicBezTo>
                  <a:cubicBezTo>
                    <a:pt x="221" y="45"/>
                    <a:pt x="221" y="45"/>
                    <a:pt x="221" y="45"/>
                  </a:cubicBezTo>
                  <a:cubicBezTo>
                    <a:pt x="219" y="45"/>
                    <a:pt x="217" y="46"/>
                    <a:pt x="215" y="47"/>
                  </a:cubicBezTo>
                  <a:cubicBezTo>
                    <a:pt x="214" y="48"/>
                    <a:pt x="212" y="50"/>
                    <a:pt x="212" y="52"/>
                  </a:cubicBezTo>
                  <a:cubicBezTo>
                    <a:pt x="211" y="53"/>
                    <a:pt x="210" y="54"/>
                    <a:pt x="209" y="54"/>
                  </a:cubicBezTo>
                  <a:cubicBezTo>
                    <a:pt x="209" y="54"/>
                    <a:pt x="209" y="54"/>
                    <a:pt x="208" y="54"/>
                  </a:cubicBezTo>
                  <a:cubicBezTo>
                    <a:pt x="199" y="48"/>
                    <a:pt x="199" y="48"/>
                    <a:pt x="199" y="48"/>
                  </a:cubicBezTo>
                  <a:cubicBezTo>
                    <a:pt x="198" y="48"/>
                    <a:pt x="198" y="47"/>
                    <a:pt x="198" y="47"/>
                  </a:cubicBezTo>
                  <a:cubicBezTo>
                    <a:pt x="198" y="47"/>
                    <a:pt x="198" y="47"/>
                    <a:pt x="198" y="47"/>
                  </a:cubicBezTo>
                  <a:cubicBezTo>
                    <a:pt x="197" y="48"/>
                    <a:pt x="197" y="48"/>
                    <a:pt x="197" y="48"/>
                  </a:cubicBezTo>
                  <a:cubicBezTo>
                    <a:pt x="198" y="48"/>
                    <a:pt x="198" y="48"/>
                    <a:pt x="198" y="48"/>
                  </a:cubicBezTo>
                  <a:cubicBezTo>
                    <a:pt x="198" y="47"/>
                    <a:pt x="198" y="47"/>
                    <a:pt x="198" y="47"/>
                  </a:cubicBezTo>
                  <a:cubicBezTo>
                    <a:pt x="197" y="48"/>
                    <a:pt x="197" y="48"/>
                    <a:pt x="197" y="48"/>
                  </a:cubicBezTo>
                  <a:cubicBezTo>
                    <a:pt x="198" y="48"/>
                    <a:pt x="198" y="48"/>
                    <a:pt x="198" y="48"/>
                  </a:cubicBezTo>
                  <a:cubicBezTo>
                    <a:pt x="197" y="48"/>
                    <a:pt x="197" y="48"/>
                    <a:pt x="197" y="48"/>
                  </a:cubicBezTo>
                  <a:cubicBezTo>
                    <a:pt x="198" y="49"/>
                    <a:pt x="198" y="49"/>
                    <a:pt x="198" y="49"/>
                  </a:cubicBezTo>
                  <a:cubicBezTo>
                    <a:pt x="198" y="48"/>
                    <a:pt x="198" y="48"/>
                    <a:pt x="198" y="48"/>
                  </a:cubicBezTo>
                  <a:cubicBezTo>
                    <a:pt x="197" y="48"/>
                    <a:pt x="197" y="48"/>
                    <a:pt x="197" y="48"/>
                  </a:cubicBezTo>
                  <a:cubicBezTo>
                    <a:pt x="198" y="49"/>
                    <a:pt x="198" y="49"/>
                    <a:pt x="198" y="49"/>
                  </a:cubicBezTo>
                  <a:cubicBezTo>
                    <a:pt x="197" y="48"/>
                    <a:pt x="197" y="48"/>
                    <a:pt x="197" y="48"/>
                  </a:cubicBezTo>
                  <a:cubicBezTo>
                    <a:pt x="197" y="49"/>
                    <a:pt x="197" y="49"/>
                    <a:pt x="197" y="49"/>
                  </a:cubicBezTo>
                  <a:cubicBezTo>
                    <a:pt x="198" y="49"/>
                    <a:pt x="198" y="49"/>
                    <a:pt x="198" y="49"/>
                  </a:cubicBezTo>
                  <a:cubicBezTo>
                    <a:pt x="197" y="48"/>
                    <a:pt x="197" y="48"/>
                    <a:pt x="197" y="48"/>
                  </a:cubicBezTo>
                  <a:cubicBezTo>
                    <a:pt x="197" y="49"/>
                    <a:pt x="197" y="49"/>
                    <a:pt x="197" y="49"/>
                  </a:cubicBezTo>
                  <a:cubicBezTo>
                    <a:pt x="197" y="49"/>
                    <a:pt x="197" y="49"/>
                    <a:pt x="197" y="49"/>
                  </a:cubicBezTo>
                  <a:cubicBezTo>
                    <a:pt x="197" y="50"/>
                    <a:pt x="197" y="50"/>
                    <a:pt x="197" y="50"/>
                  </a:cubicBezTo>
                  <a:cubicBezTo>
                    <a:pt x="197" y="49"/>
                    <a:pt x="197" y="49"/>
                    <a:pt x="197" y="49"/>
                  </a:cubicBezTo>
                  <a:cubicBezTo>
                    <a:pt x="197" y="49"/>
                    <a:pt x="197" y="49"/>
                    <a:pt x="197" y="49"/>
                  </a:cubicBezTo>
                  <a:cubicBezTo>
                    <a:pt x="197" y="50"/>
                    <a:pt x="197" y="50"/>
                    <a:pt x="197" y="50"/>
                  </a:cubicBezTo>
                  <a:cubicBezTo>
                    <a:pt x="197" y="50"/>
                    <a:pt x="197" y="50"/>
                    <a:pt x="197" y="50"/>
                  </a:cubicBezTo>
                  <a:cubicBezTo>
                    <a:pt x="198" y="50"/>
                    <a:pt x="198" y="50"/>
                    <a:pt x="198" y="50"/>
                  </a:cubicBezTo>
                  <a:cubicBezTo>
                    <a:pt x="198" y="50"/>
                    <a:pt x="198" y="50"/>
                    <a:pt x="198" y="50"/>
                  </a:cubicBezTo>
                  <a:cubicBezTo>
                    <a:pt x="201" y="50"/>
                    <a:pt x="201" y="50"/>
                    <a:pt x="201" y="50"/>
                  </a:cubicBezTo>
                  <a:cubicBezTo>
                    <a:pt x="201" y="50"/>
                    <a:pt x="201" y="50"/>
                    <a:pt x="201" y="50"/>
                  </a:cubicBezTo>
                  <a:cubicBezTo>
                    <a:pt x="203" y="50"/>
                    <a:pt x="205" y="49"/>
                    <a:pt x="206" y="49"/>
                  </a:cubicBezTo>
                  <a:cubicBezTo>
                    <a:pt x="208" y="48"/>
                    <a:pt x="209" y="47"/>
                    <a:pt x="210" y="46"/>
                  </a:cubicBezTo>
                  <a:cubicBezTo>
                    <a:pt x="210" y="45"/>
                    <a:pt x="211" y="44"/>
                    <a:pt x="211" y="43"/>
                  </a:cubicBezTo>
                  <a:cubicBezTo>
                    <a:pt x="211" y="42"/>
                    <a:pt x="210" y="41"/>
                    <a:pt x="209" y="40"/>
                  </a:cubicBezTo>
                  <a:cubicBezTo>
                    <a:pt x="208" y="39"/>
                    <a:pt x="207" y="38"/>
                    <a:pt x="206" y="38"/>
                  </a:cubicBezTo>
                  <a:cubicBezTo>
                    <a:pt x="197" y="35"/>
                    <a:pt x="197" y="35"/>
                    <a:pt x="197" y="35"/>
                  </a:cubicBezTo>
                  <a:cubicBezTo>
                    <a:pt x="195" y="35"/>
                    <a:pt x="190" y="33"/>
                    <a:pt x="188" y="31"/>
                  </a:cubicBezTo>
                  <a:cubicBezTo>
                    <a:pt x="183" y="28"/>
                    <a:pt x="183" y="28"/>
                    <a:pt x="183" y="28"/>
                  </a:cubicBezTo>
                  <a:cubicBezTo>
                    <a:pt x="181" y="27"/>
                    <a:pt x="180" y="26"/>
                    <a:pt x="178" y="26"/>
                  </a:cubicBezTo>
                  <a:cubicBezTo>
                    <a:pt x="176" y="26"/>
                    <a:pt x="173" y="27"/>
                    <a:pt x="171" y="29"/>
                  </a:cubicBezTo>
                  <a:cubicBezTo>
                    <a:pt x="136" y="64"/>
                    <a:pt x="136" y="64"/>
                    <a:pt x="136" y="64"/>
                  </a:cubicBezTo>
                  <a:cubicBezTo>
                    <a:pt x="133" y="66"/>
                    <a:pt x="131" y="71"/>
                    <a:pt x="130" y="75"/>
                  </a:cubicBezTo>
                  <a:cubicBezTo>
                    <a:pt x="130" y="76"/>
                    <a:pt x="130" y="76"/>
                    <a:pt x="130" y="76"/>
                  </a:cubicBezTo>
                  <a:cubicBezTo>
                    <a:pt x="130" y="76"/>
                    <a:pt x="130" y="77"/>
                    <a:pt x="130" y="78"/>
                  </a:cubicBezTo>
                  <a:cubicBezTo>
                    <a:pt x="130" y="79"/>
                    <a:pt x="130" y="81"/>
                    <a:pt x="131" y="82"/>
                  </a:cubicBezTo>
                  <a:cubicBezTo>
                    <a:pt x="132" y="83"/>
                    <a:pt x="133" y="84"/>
                    <a:pt x="135" y="84"/>
                  </a:cubicBezTo>
                  <a:cubicBezTo>
                    <a:pt x="136" y="84"/>
                    <a:pt x="136" y="84"/>
                    <a:pt x="136" y="84"/>
                  </a:cubicBezTo>
                  <a:cubicBezTo>
                    <a:pt x="136" y="84"/>
                    <a:pt x="136" y="84"/>
                    <a:pt x="136" y="84"/>
                  </a:cubicBezTo>
                  <a:cubicBezTo>
                    <a:pt x="136" y="84"/>
                    <a:pt x="136" y="84"/>
                    <a:pt x="136" y="84"/>
                  </a:cubicBezTo>
                  <a:cubicBezTo>
                    <a:pt x="136" y="84"/>
                    <a:pt x="136" y="84"/>
                    <a:pt x="136" y="84"/>
                  </a:cubicBezTo>
                  <a:cubicBezTo>
                    <a:pt x="137" y="84"/>
                    <a:pt x="138" y="84"/>
                    <a:pt x="138" y="85"/>
                  </a:cubicBezTo>
                  <a:cubicBezTo>
                    <a:pt x="139" y="86"/>
                    <a:pt x="140" y="87"/>
                    <a:pt x="140" y="88"/>
                  </a:cubicBezTo>
                  <a:cubicBezTo>
                    <a:pt x="141" y="91"/>
                    <a:pt x="141" y="91"/>
                    <a:pt x="141" y="91"/>
                  </a:cubicBezTo>
                  <a:cubicBezTo>
                    <a:pt x="142" y="92"/>
                    <a:pt x="143" y="93"/>
                    <a:pt x="143" y="94"/>
                  </a:cubicBezTo>
                  <a:cubicBezTo>
                    <a:pt x="144" y="95"/>
                    <a:pt x="145" y="95"/>
                    <a:pt x="147" y="95"/>
                  </a:cubicBezTo>
                  <a:cubicBezTo>
                    <a:pt x="148" y="95"/>
                    <a:pt x="150" y="94"/>
                    <a:pt x="151" y="93"/>
                  </a:cubicBezTo>
                  <a:cubicBezTo>
                    <a:pt x="156" y="86"/>
                    <a:pt x="156" y="86"/>
                    <a:pt x="156" y="86"/>
                  </a:cubicBezTo>
                  <a:cubicBezTo>
                    <a:pt x="158" y="83"/>
                    <a:pt x="160" y="78"/>
                    <a:pt x="160" y="74"/>
                  </a:cubicBezTo>
                  <a:cubicBezTo>
                    <a:pt x="161" y="71"/>
                    <a:pt x="163" y="66"/>
                    <a:pt x="164" y="64"/>
                  </a:cubicBezTo>
                  <a:cubicBezTo>
                    <a:pt x="167" y="60"/>
                    <a:pt x="167" y="60"/>
                    <a:pt x="167" y="60"/>
                  </a:cubicBezTo>
                  <a:cubicBezTo>
                    <a:pt x="167" y="59"/>
                    <a:pt x="168" y="59"/>
                    <a:pt x="169" y="58"/>
                  </a:cubicBezTo>
                  <a:cubicBezTo>
                    <a:pt x="170" y="58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8"/>
                    <a:pt x="170" y="59"/>
                    <a:pt x="169" y="60"/>
                  </a:cubicBezTo>
                  <a:cubicBezTo>
                    <a:pt x="168" y="62"/>
                    <a:pt x="167" y="65"/>
                    <a:pt x="167" y="67"/>
                  </a:cubicBezTo>
                  <a:cubicBezTo>
                    <a:pt x="167" y="69"/>
                    <a:pt x="168" y="70"/>
                    <a:pt x="168" y="71"/>
                  </a:cubicBezTo>
                  <a:cubicBezTo>
                    <a:pt x="169" y="74"/>
                    <a:pt x="172" y="75"/>
                    <a:pt x="175" y="75"/>
                  </a:cubicBezTo>
                  <a:cubicBezTo>
                    <a:pt x="176" y="75"/>
                    <a:pt x="177" y="75"/>
                    <a:pt x="178" y="75"/>
                  </a:cubicBezTo>
                  <a:cubicBezTo>
                    <a:pt x="179" y="75"/>
                    <a:pt x="179" y="75"/>
                    <a:pt x="179" y="75"/>
                  </a:cubicBezTo>
                  <a:cubicBezTo>
                    <a:pt x="180" y="74"/>
                    <a:pt x="180" y="74"/>
                    <a:pt x="181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5"/>
                    <a:pt x="181" y="76"/>
                  </a:cubicBezTo>
                  <a:cubicBezTo>
                    <a:pt x="181" y="76"/>
                    <a:pt x="180" y="77"/>
                    <a:pt x="179" y="78"/>
                  </a:cubicBezTo>
                  <a:cubicBezTo>
                    <a:pt x="176" y="80"/>
                    <a:pt x="176" y="80"/>
                    <a:pt x="176" y="80"/>
                  </a:cubicBezTo>
                  <a:cubicBezTo>
                    <a:pt x="173" y="82"/>
                    <a:pt x="170" y="85"/>
                    <a:pt x="167" y="88"/>
                  </a:cubicBezTo>
                  <a:cubicBezTo>
                    <a:pt x="152" y="104"/>
                    <a:pt x="152" y="104"/>
                    <a:pt x="152" y="104"/>
                  </a:cubicBezTo>
                  <a:cubicBezTo>
                    <a:pt x="150" y="105"/>
                    <a:pt x="148" y="106"/>
                    <a:pt x="146" y="106"/>
                  </a:cubicBezTo>
                  <a:cubicBezTo>
                    <a:pt x="145" y="106"/>
                    <a:pt x="145" y="106"/>
                    <a:pt x="145" y="106"/>
                  </a:cubicBezTo>
                  <a:cubicBezTo>
                    <a:pt x="144" y="108"/>
                    <a:pt x="144" y="108"/>
                    <a:pt x="144" y="108"/>
                  </a:cubicBezTo>
                  <a:cubicBezTo>
                    <a:pt x="145" y="106"/>
                    <a:pt x="145" y="106"/>
                    <a:pt x="145" y="106"/>
                  </a:cubicBezTo>
                  <a:cubicBezTo>
                    <a:pt x="145" y="106"/>
                    <a:pt x="145" y="106"/>
                    <a:pt x="145" y="106"/>
                  </a:cubicBezTo>
                  <a:cubicBezTo>
                    <a:pt x="145" y="106"/>
                    <a:pt x="145" y="106"/>
                    <a:pt x="145" y="106"/>
                  </a:cubicBezTo>
                  <a:cubicBezTo>
                    <a:pt x="145" y="106"/>
                    <a:pt x="145" y="106"/>
                    <a:pt x="145" y="106"/>
                  </a:cubicBezTo>
                  <a:cubicBezTo>
                    <a:pt x="144" y="106"/>
                    <a:pt x="143" y="105"/>
                    <a:pt x="142" y="104"/>
                  </a:cubicBezTo>
                  <a:cubicBezTo>
                    <a:pt x="141" y="103"/>
                    <a:pt x="140" y="102"/>
                    <a:pt x="140" y="100"/>
                  </a:cubicBezTo>
                  <a:cubicBezTo>
                    <a:pt x="139" y="96"/>
                    <a:pt x="139" y="96"/>
                    <a:pt x="139" y="96"/>
                  </a:cubicBezTo>
                  <a:cubicBezTo>
                    <a:pt x="139" y="95"/>
                    <a:pt x="138" y="94"/>
                    <a:pt x="138" y="94"/>
                  </a:cubicBezTo>
                  <a:cubicBezTo>
                    <a:pt x="138" y="93"/>
                    <a:pt x="137" y="93"/>
                    <a:pt x="137" y="93"/>
                  </a:cubicBezTo>
                  <a:cubicBezTo>
                    <a:pt x="136" y="92"/>
                    <a:pt x="136" y="92"/>
                    <a:pt x="135" y="92"/>
                  </a:cubicBezTo>
                  <a:cubicBezTo>
                    <a:pt x="134" y="92"/>
                    <a:pt x="133" y="93"/>
                    <a:pt x="132" y="93"/>
                  </a:cubicBezTo>
                  <a:cubicBezTo>
                    <a:pt x="132" y="94"/>
                    <a:pt x="131" y="95"/>
                    <a:pt x="131" y="96"/>
                  </a:cubicBezTo>
                  <a:cubicBezTo>
                    <a:pt x="129" y="101"/>
                    <a:pt x="129" y="101"/>
                    <a:pt x="129" y="101"/>
                  </a:cubicBezTo>
                  <a:cubicBezTo>
                    <a:pt x="128" y="103"/>
                    <a:pt x="127" y="104"/>
                    <a:pt x="126" y="105"/>
                  </a:cubicBezTo>
                  <a:cubicBezTo>
                    <a:pt x="126" y="105"/>
                    <a:pt x="126" y="105"/>
                    <a:pt x="125" y="106"/>
                  </a:cubicBezTo>
                  <a:cubicBezTo>
                    <a:pt x="125" y="106"/>
                    <a:pt x="125" y="106"/>
                    <a:pt x="125" y="106"/>
                  </a:cubicBezTo>
                  <a:cubicBezTo>
                    <a:pt x="125" y="106"/>
                    <a:pt x="125" y="106"/>
                    <a:pt x="125" y="106"/>
                  </a:cubicBezTo>
                  <a:cubicBezTo>
                    <a:pt x="125" y="106"/>
                    <a:pt x="125" y="106"/>
                    <a:pt x="125" y="106"/>
                  </a:cubicBezTo>
                  <a:cubicBezTo>
                    <a:pt x="125" y="106"/>
                    <a:pt x="125" y="106"/>
                    <a:pt x="125" y="106"/>
                  </a:cubicBezTo>
                  <a:cubicBezTo>
                    <a:pt x="125" y="106"/>
                    <a:pt x="125" y="106"/>
                    <a:pt x="125" y="106"/>
                  </a:cubicBezTo>
                  <a:cubicBezTo>
                    <a:pt x="125" y="106"/>
                    <a:pt x="125" y="106"/>
                    <a:pt x="125" y="106"/>
                  </a:cubicBezTo>
                  <a:cubicBezTo>
                    <a:pt x="125" y="106"/>
                    <a:pt x="125" y="106"/>
                    <a:pt x="125" y="106"/>
                  </a:cubicBezTo>
                  <a:cubicBezTo>
                    <a:pt x="124" y="106"/>
                    <a:pt x="124" y="106"/>
                    <a:pt x="123" y="106"/>
                  </a:cubicBezTo>
                  <a:cubicBezTo>
                    <a:pt x="121" y="107"/>
                    <a:pt x="119" y="109"/>
                    <a:pt x="117" y="111"/>
                  </a:cubicBezTo>
                  <a:cubicBezTo>
                    <a:pt x="114" y="115"/>
                    <a:pt x="114" y="115"/>
                    <a:pt x="114" y="115"/>
                  </a:cubicBezTo>
                  <a:cubicBezTo>
                    <a:pt x="113" y="117"/>
                    <a:pt x="109" y="121"/>
                    <a:pt x="107" y="122"/>
                  </a:cubicBezTo>
                  <a:cubicBezTo>
                    <a:pt x="89" y="133"/>
                    <a:pt x="89" y="133"/>
                    <a:pt x="89" y="133"/>
                  </a:cubicBezTo>
                  <a:cubicBezTo>
                    <a:pt x="86" y="134"/>
                    <a:pt x="85" y="136"/>
                    <a:pt x="85" y="138"/>
                  </a:cubicBezTo>
                  <a:cubicBezTo>
                    <a:pt x="85" y="140"/>
                    <a:pt x="85" y="141"/>
                    <a:pt x="86" y="142"/>
                  </a:cubicBezTo>
                  <a:cubicBezTo>
                    <a:pt x="87" y="143"/>
                    <a:pt x="87" y="145"/>
                    <a:pt x="87" y="147"/>
                  </a:cubicBezTo>
                  <a:cubicBezTo>
                    <a:pt x="87" y="148"/>
                    <a:pt x="87" y="149"/>
                    <a:pt x="87" y="150"/>
                  </a:cubicBezTo>
                  <a:cubicBezTo>
                    <a:pt x="86" y="152"/>
                    <a:pt x="86" y="152"/>
                    <a:pt x="86" y="152"/>
                  </a:cubicBezTo>
                  <a:cubicBezTo>
                    <a:pt x="86" y="153"/>
                    <a:pt x="85" y="154"/>
                    <a:pt x="84" y="155"/>
                  </a:cubicBezTo>
                  <a:cubicBezTo>
                    <a:pt x="83" y="156"/>
                    <a:pt x="82" y="157"/>
                    <a:pt x="81" y="157"/>
                  </a:cubicBezTo>
                  <a:cubicBezTo>
                    <a:pt x="68" y="160"/>
                    <a:pt x="68" y="160"/>
                    <a:pt x="68" y="160"/>
                  </a:cubicBezTo>
                  <a:cubicBezTo>
                    <a:pt x="66" y="160"/>
                    <a:pt x="65" y="162"/>
                    <a:pt x="63" y="163"/>
                  </a:cubicBezTo>
                  <a:cubicBezTo>
                    <a:pt x="62" y="165"/>
                    <a:pt x="61" y="167"/>
                    <a:pt x="60" y="169"/>
                  </a:cubicBezTo>
                  <a:cubicBezTo>
                    <a:pt x="56" y="188"/>
                    <a:pt x="56" y="188"/>
                    <a:pt x="56" y="188"/>
                  </a:cubicBezTo>
                  <a:cubicBezTo>
                    <a:pt x="56" y="189"/>
                    <a:pt x="56" y="189"/>
                    <a:pt x="56" y="190"/>
                  </a:cubicBezTo>
                  <a:cubicBezTo>
                    <a:pt x="56" y="192"/>
                    <a:pt x="56" y="193"/>
                    <a:pt x="57" y="195"/>
                  </a:cubicBezTo>
                  <a:cubicBezTo>
                    <a:pt x="58" y="196"/>
                    <a:pt x="60" y="197"/>
                    <a:pt x="61" y="197"/>
                  </a:cubicBezTo>
                  <a:cubicBezTo>
                    <a:pt x="62" y="197"/>
                    <a:pt x="62" y="197"/>
                    <a:pt x="62" y="197"/>
                  </a:cubicBezTo>
                  <a:cubicBezTo>
                    <a:pt x="79" y="196"/>
                    <a:pt x="79" y="196"/>
                    <a:pt x="79" y="196"/>
                  </a:cubicBezTo>
                  <a:cubicBezTo>
                    <a:pt x="81" y="195"/>
                    <a:pt x="83" y="195"/>
                    <a:pt x="85" y="194"/>
                  </a:cubicBezTo>
                  <a:cubicBezTo>
                    <a:pt x="87" y="193"/>
                    <a:pt x="88" y="191"/>
                    <a:pt x="90" y="189"/>
                  </a:cubicBezTo>
                  <a:cubicBezTo>
                    <a:pt x="99" y="176"/>
                    <a:pt x="99" y="176"/>
                    <a:pt x="99" y="176"/>
                  </a:cubicBezTo>
                  <a:cubicBezTo>
                    <a:pt x="101" y="173"/>
                    <a:pt x="105" y="170"/>
                    <a:pt x="107" y="169"/>
                  </a:cubicBezTo>
                  <a:cubicBezTo>
                    <a:pt x="120" y="163"/>
                    <a:pt x="120" y="163"/>
                    <a:pt x="120" y="163"/>
                  </a:cubicBezTo>
                  <a:cubicBezTo>
                    <a:pt x="120" y="162"/>
                    <a:pt x="121" y="162"/>
                    <a:pt x="121" y="162"/>
                  </a:cubicBezTo>
                  <a:cubicBezTo>
                    <a:pt x="122" y="162"/>
                    <a:pt x="124" y="163"/>
                    <a:pt x="125" y="165"/>
                  </a:cubicBezTo>
                  <a:cubicBezTo>
                    <a:pt x="134" y="185"/>
                    <a:pt x="134" y="185"/>
                    <a:pt x="134" y="185"/>
                  </a:cubicBezTo>
                  <a:cubicBezTo>
                    <a:pt x="134" y="186"/>
                    <a:pt x="135" y="187"/>
                    <a:pt x="136" y="188"/>
                  </a:cubicBezTo>
                  <a:cubicBezTo>
                    <a:pt x="137" y="188"/>
                    <a:pt x="138" y="189"/>
                    <a:pt x="139" y="189"/>
                  </a:cubicBezTo>
                  <a:cubicBezTo>
                    <a:pt x="141" y="189"/>
                    <a:pt x="143" y="188"/>
                    <a:pt x="144" y="186"/>
                  </a:cubicBezTo>
                  <a:cubicBezTo>
                    <a:pt x="144" y="185"/>
                    <a:pt x="144" y="185"/>
                    <a:pt x="144" y="185"/>
                  </a:cubicBezTo>
                  <a:cubicBezTo>
                    <a:pt x="144" y="185"/>
                    <a:pt x="144" y="185"/>
                    <a:pt x="144" y="185"/>
                  </a:cubicBezTo>
                  <a:cubicBezTo>
                    <a:pt x="144" y="185"/>
                    <a:pt x="144" y="185"/>
                    <a:pt x="144" y="185"/>
                  </a:cubicBezTo>
                  <a:cubicBezTo>
                    <a:pt x="145" y="183"/>
                    <a:pt x="146" y="181"/>
                    <a:pt x="146" y="179"/>
                  </a:cubicBezTo>
                  <a:cubicBezTo>
                    <a:pt x="146" y="176"/>
                    <a:pt x="146" y="174"/>
                    <a:pt x="144" y="172"/>
                  </a:cubicBezTo>
                  <a:cubicBezTo>
                    <a:pt x="140" y="164"/>
                    <a:pt x="140" y="164"/>
                    <a:pt x="140" y="164"/>
                  </a:cubicBezTo>
                  <a:cubicBezTo>
                    <a:pt x="139" y="163"/>
                    <a:pt x="138" y="160"/>
                    <a:pt x="138" y="159"/>
                  </a:cubicBezTo>
                  <a:cubicBezTo>
                    <a:pt x="138" y="158"/>
                    <a:pt x="138" y="157"/>
                    <a:pt x="139" y="157"/>
                  </a:cubicBezTo>
                  <a:cubicBezTo>
                    <a:pt x="139" y="157"/>
                    <a:pt x="139" y="157"/>
                    <a:pt x="139" y="157"/>
                  </a:cubicBezTo>
                  <a:cubicBezTo>
                    <a:pt x="139" y="157"/>
                    <a:pt x="139" y="157"/>
                    <a:pt x="139" y="157"/>
                  </a:cubicBezTo>
                  <a:cubicBezTo>
                    <a:pt x="138" y="156"/>
                    <a:pt x="138" y="156"/>
                    <a:pt x="138" y="156"/>
                  </a:cubicBezTo>
                  <a:cubicBezTo>
                    <a:pt x="138" y="157"/>
                    <a:pt x="138" y="157"/>
                    <a:pt x="138" y="157"/>
                  </a:cubicBezTo>
                  <a:cubicBezTo>
                    <a:pt x="139" y="157"/>
                    <a:pt x="139" y="157"/>
                    <a:pt x="139" y="157"/>
                  </a:cubicBezTo>
                  <a:cubicBezTo>
                    <a:pt x="138" y="156"/>
                    <a:pt x="138" y="156"/>
                    <a:pt x="138" y="156"/>
                  </a:cubicBezTo>
                  <a:cubicBezTo>
                    <a:pt x="138" y="157"/>
                    <a:pt x="138" y="157"/>
                    <a:pt x="138" y="157"/>
                  </a:cubicBezTo>
                  <a:cubicBezTo>
                    <a:pt x="138" y="157"/>
                    <a:pt x="138" y="157"/>
                    <a:pt x="138" y="157"/>
                  </a:cubicBezTo>
                  <a:cubicBezTo>
                    <a:pt x="138" y="157"/>
                    <a:pt x="138" y="157"/>
                    <a:pt x="138" y="157"/>
                  </a:cubicBezTo>
                  <a:cubicBezTo>
                    <a:pt x="138" y="157"/>
                    <a:pt x="138" y="157"/>
                    <a:pt x="138" y="157"/>
                  </a:cubicBezTo>
                  <a:cubicBezTo>
                    <a:pt x="138" y="157"/>
                    <a:pt x="138" y="157"/>
                    <a:pt x="138" y="157"/>
                  </a:cubicBezTo>
                  <a:cubicBezTo>
                    <a:pt x="138" y="157"/>
                    <a:pt x="138" y="157"/>
                    <a:pt x="138" y="157"/>
                  </a:cubicBezTo>
                  <a:cubicBezTo>
                    <a:pt x="139" y="157"/>
                    <a:pt x="139" y="157"/>
                    <a:pt x="139" y="157"/>
                  </a:cubicBezTo>
                  <a:cubicBezTo>
                    <a:pt x="139" y="157"/>
                    <a:pt x="139" y="158"/>
                    <a:pt x="140" y="158"/>
                  </a:cubicBezTo>
                  <a:cubicBezTo>
                    <a:pt x="157" y="187"/>
                    <a:pt x="157" y="187"/>
                    <a:pt x="157" y="187"/>
                  </a:cubicBezTo>
                  <a:cubicBezTo>
                    <a:pt x="159" y="189"/>
                    <a:pt x="160" y="191"/>
                    <a:pt x="163" y="191"/>
                  </a:cubicBezTo>
                  <a:cubicBezTo>
                    <a:pt x="165" y="191"/>
                    <a:pt x="166" y="189"/>
                    <a:pt x="168" y="187"/>
                  </a:cubicBezTo>
                  <a:cubicBezTo>
                    <a:pt x="171" y="182"/>
                    <a:pt x="171" y="182"/>
                    <a:pt x="171" y="182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2" y="181"/>
                    <a:pt x="172" y="181"/>
                    <a:pt x="172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2" y="181"/>
                    <a:pt x="172" y="181"/>
                    <a:pt x="172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2" y="182"/>
                    <a:pt x="172" y="183"/>
                  </a:cubicBezTo>
                  <a:cubicBezTo>
                    <a:pt x="173" y="187"/>
                    <a:pt x="173" y="187"/>
                    <a:pt x="173" y="187"/>
                  </a:cubicBezTo>
                  <a:cubicBezTo>
                    <a:pt x="174" y="189"/>
                    <a:pt x="175" y="191"/>
                    <a:pt x="176" y="193"/>
                  </a:cubicBezTo>
                  <a:cubicBezTo>
                    <a:pt x="178" y="195"/>
                    <a:pt x="179" y="196"/>
                    <a:pt x="181" y="197"/>
                  </a:cubicBezTo>
                  <a:cubicBezTo>
                    <a:pt x="194" y="200"/>
                    <a:pt x="194" y="200"/>
                    <a:pt x="194" y="200"/>
                  </a:cubicBezTo>
                  <a:cubicBezTo>
                    <a:pt x="195" y="200"/>
                    <a:pt x="196" y="201"/>
                    <a:pt x="197" y="202"/>
                  </a:cubicBezTo>
                  <a:cubicBezTo>
                    <a:pt x="197" y="203"/>
                    <a:pt x="198" y="205"/>
                    <a:pt x="198" y="206"/>
                  </a:cubicBezTo>
                  <a:cubicBezTo>
                    <a:pt x="198" y="229"/>
                    <a:pt x="198" y="229"/>
                    <a:pt x="198" y="229"/>
                  </a:cubicBezTo>
                  <a:cubicBezTo>
                    <a:pt x="198" y="230"/>
                    <a:pt x="197" y="231"/>
                    <a:pt x="197" y="231"/>
                  </a:cubicBezTo>
                  <a:cubicBezTo>
                    <a:pt x="197" y="231"/>
                    <a:pt x="197" y="231"/>
                    <a:pt x="197" y="231"/>
                  </a:cubicBezTo>
                  <a:cubicBezTo>
                    <a:pt x="197" y="231"/>
                    <a:pt x="197" y="231"/>
                    <a:pt x="197" y="231"/>
                  </a:cubicBezTo>
                  <a:cubicBezTo>
                    <a:pt x="197" y="231"/>
                    <a:pt x="197" y="231"/>
                    <a:pt x="197" y="231"/>
                  </a:cubicBezTo>
                  <a:cubicBezTo>
                    <a:pt x="197" y="231"/>
                    <a:pt x="197" y="231"/>
                    <a:pt x="197" y="231"/>
                  </a:cubicBezTo>
                  <a:cubicBezTo>
                    <a:pt x="197" y="231"/>
                    <a:pt x="197" y="231"/>
                    <a:pt x="197" y="231"/>
                  </a:cubicBezTo>
                  <a:cubicBezTo>
                    <a:pt x="197" y="231"/>
                    <a:pt x="197" y="231"/>
                    <a:pt x="197" y="231"/>
                  </a:cubicBezTo>
                  <a:cubicBezTo>
                    <a:pt x="197" y="231"/>
                    <a:pt x="197" y="231"/>
                    <a:pt x="197" y="231"/>
                  </a:cubicBezTo>
                  <a:cubicBezTo>
                    <a:pt x="197" y="231"/>
                    <a:pt x="197" y="231"/>
                    <a:pt x="197" y="231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3" y="228"/>
                    <a:pt x="191" y="227"/>
                    <a:pt x="188" y="227"/>
                  </a:cubicBezTo>
                  <a:cubicBezTo>
                    <a:pt x="187" y="227"/>
                    <a:pt x="185" y="228"/>
                    <a:pt x="183" y="229"/>
                  </a:cubicBezTo>
                  <a:cubicBezTo>
                    <a:pt x="182" y="230"/>
                    <a:pt x="182" y="230"/>
                    <a:pt x="182" y="230"/>
                  </a:cubicBezTo>
                  <a:cubicBezTo>
                    <a:pt x="181" y="230"/>
                    <a:pt x="180" y="230"/>
                    <a:pt x="179" y="230"/>
                  </a:cubicBezTo>
                  <a:cubicBezTo>
                    <a:pt x="177" y="230"/>
                    <a:pt x="176" y="230"/>
                    <a:pt x="175" y="229"/>
                  </a:cubicBezTo>
                  <a:cubicBezTo>
                    <a:pt x="168" y="225"/>
                    <a:pt x="168" y="225"/>
                    <a:pt x="168" y="225"/>
                  </a:cubicBezTo>
                  <a:cubicBezTo>
                    <a:pt x="167" y="223"/>
                    <a:pt x="165" y="223"/>
                    <a:pt x="163" y="223"/>
                  </a:cubicBezTo>
                  <a:cubicBezTo>
                    <a:pt x="161" y="223"/>
                    <a:pt x="159" y="224"/>
                    <a:pt x="157" y="225"/>
                  </a:cubicBezTo>
                  <a:cubicBezTo>
                    <a:pt x="154" y="227"/>
                    <a:pt x="154" y="227"/>
                    <a:pt x="154" y="227"/>
                  </a:cubicBezTo>
                  <a:cubicBezTo>
                    <a:pt x="153" y="228"/>
                    <a:pt x="151" y="229"/>
                    <a:pt x="149" y="229"/>
                  </a:cubicBezTo>
                  <a:cubicBezTo>
                    <a:pt x="148" y="229"/>
                    <a:pt x="147" y="229"/>
                    <a:pt x="147" y="228"/>
                  </a:cubicBezTo>
                  <a:cubicBezTo>
                    <a:pt x="129" y="219"/>
                    <a:pt x="129" y="219"/>
                    <a:pt x="129" y="219"/>
                  </a:cubicBezTo>
                  <a:cubicBezTo>
                    <a:pt x="128" y="219"/>
                    <a:pt x="127" y="217"/>
                    <a:pt x="126" y="216"/>
                  </a:cubicBezTo>
                  <a:cubicBezTo>
                    <a:pt x="125" y="215"/>
                    <a:pt x="125" y="213"/>
                    <a:pt x="125" y="212"/>
                  </a:cubicBezTo>
                  <a:cubicBezTo>
                    <a:pt x="124" y="201"/>
                    <a:pt x="124" y="201"/>
                    <a:pt x="124" y="201"/>
                  </a:cubicBezTo>
                  <a:cubicBezTo>
                    <a:pt x="124" y="199"/>
                    <a:pt x="123" y="197"/>
                    <a:pt x="122" y="196"/>
                  </a:cubicBezTo>
                  <a:cubicBezTo>
                    <a:pt x="121" y="195"/>
                    <a:pt x="119" y="194"/>
                    <a:pt x="118" y="194"/>
                  </a:cubicBezTo>
                  <a:cubicBezTo>
                    <a:pt x="117" y="194"/>
                    <a:pt x="117" y="194"/>
                    <a:pt x="116" y="194"/>
                  </a:cubicBezTo>
                  <a:cubicBezTo>
                    <a:pt x="51" y="210"/>
                    <a:pt x="51" y="210"/>
                    <a:pt x="51" y="210"/>
                  </a:cubicBezTo>
                  <a:cubicBezTo>
                    <a:pt x="50" y="211"/>
                    <a:pt x="48" y="212"/>
                    <a:pt x="46" y="213"/>
                  </a:cubicBezTo>
                  <a:cubicBezTo>
                    <a:pt x="45" y="215"/>
                    <a:pt x="43" y="216"/>
                    <a:pt x="42" y="218"/>
                  </a:cubicBezTo>
                  <a:cubicBezTo>
                    <a:pt x="2" y="299"/>
                    <a:pt x="2" y="299"/>
                    <a:pt x="2" y="299"/>
                  </a:cubicBezTo>
                  <a:cubicBezTo>
                    <a:pt x="1" y="301"/>
                    <a:pt x="0" y="305"/>
                    <a:pt x="0" y="308"/>
                  </a:cubicBezTo>
                  <a:cubicBezTo>
                    <a:pt x="0" y="310"/>
                    <a:pt x="0" y="311"/>
                    <a:pt x="0" y="312"/>
                  </a:cubicBezTo>
                  <a:lnTo>
                    <a:pt x="3" y="3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41" name="Freeform 284"/>
            <p:cNvSpPr>
              <a:spLocks/>
            </p:cNvSpPr>
            <p:nvPr/>
          </p:nvSpPr>
          <p:spPr bwMode="auto">
            <a:xfrm>
              <a:off x="-3751950" y="2445673"/>
              <a:ext cx="507902" cy="324692"/>
            </a:xfrm>
            <a:custGeom>
              <a:avLst/>
              <a:gdLst/>
              <a:ahLst/>
              <a:cxnLst>
                <a:cxn ang="0">
                  <a:pos x="6" y="86"/>
                </a:cxn>
                <a:cxn ang="0">
                  <a:pos x="11" y="85"/>
                </a:cxn>
                <a:cxn ang="0">
                  <a:pos x="10" y="84"/>
                </a:cxn>
                <a:cxn ang="0">
                  <a:pos x="10" y="84"/>
                </a:cxn>
                <a:cxn ang="0">
                  <a:pos x="10" y="84"/>
                </a:cxn>
                <a:cxn ang="0">
                  <a:pos x="11" y="86"/>
                </a:cxn>
                <a:cxn ang="0">
                  <a:pos x="19" y="83"/>
                </a:cxn>
                <a:cxn ang="0">
                  <a:pos x="34" y="70"/>
                </a:cxn>
                <a:cxn ang="0">
                  <a:pos x="69" y="53"/>
                </a:cxn>
                <a:cxn ang="0">
                  <a:pos x="84" y="55"/>
                </a:cxn>
                <a:cxn ang="0">
                  <a:pos x="87" y="47"/>
                </a:cxn>
                <a:cxn ang="0">
                  <a:pos x="84" y="42"/>
                </a:cxn>
                <a:cxn ang="0">
                  <a:pos x="84" y="42"/>
                </a:cxn>
                <a:cxn ang="0">
                  <a:pos x="84" y="41"/>
                </a:cxn>
                <a:cxn ang="0">
                  <a:pos x="84" y="41"/>
                </a:cxn>
                <a:cxn ang="0">
                  <a:pos x="88" y="41"/>
                </a:cxn>
                <a:cxn ang="0">
                  <a:pos x="93" y="40"/>
                </a:cxn>
                <a:cxn ang="0">
                  <a:pos x="134" y="12"/>
                </a:cxn>
                <a:cxn ang="0">
                  <a:pos x="131" y="5"/>
                </a:cxn>
                <a:cxn ang="0">
                  <a:pos x="130" y="9"/>
                </a:cxn>
                <a:cxn ang="0">
                  <a:pos x="131" y="10"/>
                </a:cxn>
                <a:cxn ang="0">
                  <a:pos x="131" y="10"/>
                </a:cxn>
                <a:cxn ang="0">
                  <a:pos x="131" y="10"/>
                </a:cxn>
                <a:cxn ang="0">
                  <a:pos x="131" y="9"/>
                </a:cxn>
                <a:cxn ang="0">
                  <a:pos x="131" y="9"/>
                </a:cxn>
                <a:cxn ang="0">
                  <a:pos x="130" y="10"/>
                </a:cxn>
                <a:cxn ang="0">
                  <a:pos x="89" y="37"/>
                </a:cxn>
                <a:cxn ang="0">
                  <a:pos x="84" y="37"/>
                </a:cxn>
                <a:cxn ang="0">
                  <a:pos x="82" y="48"/>
                </a:cxn>
                <a:cxn ang="0">
                  <a:pos x="84" y="51"/>
                </a:cxn>
                <a:cxn ang="0">
                  <a:pos x="84" y="51"/>
                </a:cxn>
                <a:cxn ang="0">
                  <a:pos x="84" y="51"/>
                </a:cxn>
                <a:cxn ang="0">
                  <a:pos x="84" y="51"/>
                </a:cxn>
                <a:cxn ang="0">
                  <a:pos x="84" y="51"/>
                </a:cxn>
                <a:cxn ang="0">
                  <a:pos x="84" y="51"/>
                </a:cxn>
                <a:cxn ang="0">
                  <a:pos x="69" y="49"/>
                </a:cxn>
                <a:cxn ang="0">
                  <a:pos x="31" y="66"/>
                </a:cxn>
                <a:cxn ang="0">
                  <a:pos x="16" y="80"/>
                </a:cxn>
                <a:cxn ang="0">
                  <a:pos x="13" y="82"/>
                </a:cxn>
                <a:cxn ang="0">
                  <a:pos x="13" y="82"/>
                </a:cxn>
                <a:cxn ang="0">
                  <a:pos x="13" y="82"/>
                </a:cxn>
                <a:cxn ang="0">
                  <a:pos x="13" y="82"/>
                </a:cxn>
                <a:cxn ang="0">
                  <a:pos x="13" y="83"/>
                </a:cxn>
                <a:cxn ang="0">
                  <a:pos x="13" y="83"/>
                </a:cxn>
                <a:cxn ang="0">
                  <a:pos x="11" y="80"/>
                </a:cxn>
                <a:cxn ang="0">
                  <a:pos x="5" y="82"/>
                </a:cxn>
              </a:cxnLst>
              <a:rect l="0" t="0" r="r" b="b"/>
              <a:pathLst>
                <a:path w="135" h="86">
                  <a:moveTo>
                    <a:pt x="0" y="83"/>
                  </a:moveTo>
                  <a:cubicBezTo>
                    <a:pt x="0" y="83"/>
                    <a:pt x="1" y="84"/>
                    <a:pt x="2" y="85"/>
                  </a:cubicBezTo>
                  <a:cubicBezTo>
                    <a:pt x="3" y="86"/>
                    <a:pt x="5" y="86"/>
                    <a:pt x="6" y="86"/>
                  </a:cubicBezTo>
                  <a:cubicBezTo>
                    <a:pt x="7" y="86"/>
                    <a:pt x="9" y="86"/>
                    <a:pt x="10" y="85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11" y="84"/>
                    <a:pt x="11" y="84"/>
                    <a:pt x="11" y="84"/>
                  </a:cubicBezTo>
                  <a:cubicBezTo>
                    <a:pt x="10" y="84"/>
                    <a:pt x="10" y="84"/>
                    <a:pt x="10" y="84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11" y="84"/>
                    <a:pt x="11" y="84"/>
                    <a:pt x="11" y="84"/>
                  </a:cubicBezTo>
                  <a:cubicBezTo>
                    <a:pt x="10" y="84"/>
                    <a:pt x="10" y="84"/>
                    <a:pt x="10" y="84"/>
                  </a:cubicBezTo>
                  <a:cubicBezTo>
                    <a:pt x="11" y="84"/>
                    <a:pt x="11" y="84"/>
                    <a:pt x="11" y="84"/>
                  </a:cubicBezTo>
                  <a:cubicBezTo>
                    <a:pt x="10" y="84"/>
                    <a:pt x="10" y="84"/>
                    <a:pt x="10" y="84"/>
                  </a:cubicBezTo>
                  <a:cubicBezTo>
                    <a:pt x="10" y="84"/>
                    <a:pt x="10" y="84"/>
                    <a:pt x="10" y="84"/>
                  </a:cubicBezTo>
                  <a:cubicBezTo>
                    <a:pt x="11" y="84"/>
                    <a:pt x="11" y="84"/>
                    <a:pt x="11" y="84"/>
                  </a:cubicBezTo>
                  <a:cubicBezTo>
                    <a:pt x="10" y="84"/>
                    <a:pt x="10" y="84"/>
                    <a:pt x="10" y="84"/>
                  </a:cubicBezTo>
                  <a:cubicBezTo>
                    <a:pt x="10" y="85"/>
                    <a:pt x="11" y="85"/>
                    <a:pt x="11" y="86"/>
                  </a:cubicBezTo>
                  <a:cubicBezTo>
                    <a:pt x="12" y="86"/>
                    <a:pt x="13" y="86"/>
                    <a:pt x="13" y="86"/>
                  </a:cubicBezTo>
                  <a:cubicBezTo>
                    <a:pt x="14" y="86"/>
                    <a:pt x="15" y="86"/>
                    <a:pt x="16" y="85"/>
                  </a:cubicBezTo>
                  <a:cubicBezTo>
                    <a:pt x="17" y="85"/>
                    <a:pt x="18" y="84"/>
                    <a:pt x="19" y="83"/>
                  </a:cubicBezTo>
                  <a:cubicBezTo>
                    <a:pt x="20" y="82"/>
                    <a:pt x="20" y="82"/>
                    <a:pt x="20" y="82"/>
                  </a:cubicBezTo>
                  <a:cubicBezTo>
                    <a:pt x="22" y="80"/>
                    <a:pt x="26" y="76"/>
                    <a:pt x="28" y="75"/>
                  </a:cubicBezTo>
                  <a:cubicBezTo>
                    <a:pt x="34" y="70"/>
                    <a:pt x="34" y="70"/>
                    <a:pt x="34" y="70"/>
                  </a:cubicBezTo>
                  <a:cubicBezTo>
                    <a:pt x="36" y="68"/>
                    <a:pt x="40" y="65"/>
                    <a:pt x="43" y="64"/>
                  </a:cubicBezTo>
                  <a:cubicBezTo>
                    <a:pt x="62" y="54"/>
                    <a:pt x="62" y="54"/>
                    <a:pt x="62" y="54"/>
                  </a:cubicBezTo>
                  <a:cubicBezTo>
                    <a:pt x="64" y="54"/>
                    <a:pt x="67" y="53"/>
                    <a:pt x="69" y="53"/>
                  </a:cubicBezTo>
                  <a:cubicBezTo>
                    <a:pt x="70" y="53"/>
                    <a:pt x="70" y="53"/>
                    <a:pt x="71" y="53"/>
                  </a:cubicBezTo>
                  <a:cubicBezTo>
                    <a:pt x="83" y="55"/>
                    <a:pt x="83" y="55"/>
                    <a:pt x="83" y="55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85" y="55"/>
                    <a:pt x="86" y="55"/>
                    <a:pt x="87" y="54"/>
                  </a:cubicBezTo>
                  <a:cubicBezTo>
                    <a:pt x="88" y="53"/>
                    <a:pt x="88" y="52"/>
                    <a:pt x="88" y="51"/>
                  </a:cubicBezTo>
                  <a:cubicBezTo>
                    <a:pt x="88" y="50"/>
                    <a:pt x="87" y="48"/>
                    <a:pt x="87" y="47"/>
                  </a:cubicBezTo>
                  <a:cubicBezTo>
                    <a:pt x="86" y="46"/>
                    <a:pt x="86" y="46"/>
                    <a:pt x="86" y="46"/>
                  </a:cubicBezTo>
                  <a:cubicBezTo>
                    <a:pt x="85" y="45"/>
                    <a:pt x="84" y="43"/>
                    <a:pt x="84" y="4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1"/>
                    <a:pt x="84" y="41"/>
                    <a:pt x="84" y="41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1"/>
                    <a:pt x="84" y="41"/>
                    <a:pt x="84" y="41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5" y="41"/>
                    <a:pt x="85" y="41"/>
                    <a:pt x="85" y="41"/>
                  </a:cubicBezTo>
                  <a:cubicBezTo>
                    <a:pt x="86" y="41"/>
                    <a:pt x="87" y="41"/>
                    <a:pt x="88" y="41"/>
                  </a:cubicBezTo>
                  <a:cubicBezTo>
                    <a:pt x="88" y="41"/>
                    <a:pt x="88" y="41"/>
                    <a:pt x="88" y="41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90" y="41"/>
                    <a:pt x="92" y="41"/>
                    <a:pt x="93" y="40"/>
                  </a:cubicBezTo>
                  <a:cubicBezTo>
                    <a:pt x="95" y="39"/>
                    <a:pt x="96" y="39"/>
                    <a:pt x="98" y="38"/>
                  </a:cubicBezTo>
                  <a:cubicBezTo>
                    <a:pt x="133" y="13"/>
                    <a:pt x="133" y="13"/>
                    <a:pt x="133" y="13"/>
                  </a:cubicBezTo>
                  <a:cubicBezTo>
                    <a:pt x="134" y="12"/>
                    <a:pt x="134" y="12"/>
                    <a:pt x="134" y="12"/>
                  </a:cubicBezTo>
                  <a:cubicBezTo>
                    <a:pt x="135" y="11"/>
                    <a:pt x="135" y="10"/>
                    <a:pt x="135" y="9"/>
                  </a:cubicBezTo>
                  <a:cubicBezTo>
                    <a:pt x="135" y="8"/>
                    <a:pt x="135" y="7"/>
                    <a:pt x="134" y="6"/>
                  </a:cubicBezTo>
                  <a:cubicBezTo>
                    <a:pt x="133" y="6"/>
                    <a:pt x="132" y="5"/>
                    <a:pt x="131" y="5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30" y="9"/>
                    <a:pt x="130" y="9"/>
                    <a:pt x="130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2" y="9"/>
                    <a:pt x="132" y="9"/>
                    <a:pt x="132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2" y="9"/>
                    <a:pt x="132" y="9"/>
                    <a:pt x="132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9"/>
                    <a:pt x="131" y="9"/>
                    <a:pt x="130" y="10"/>
                  </a:cubicBezTo>
                  <a:cubicBezTo>
                    <a:pt x="95" y="34"/>
                    <a:pt x="95" y="34"/>
                    <a:pt x="95" y="34"/>
                  </a:cubicBezTo>
                  <a:cubicBezTo>
                    <a:pt x="94" y="35"/>
                    <a:pt x="93" y="36"/>
                    <a:pt x="92" y="36"/>
                  </a:cubicBezTo>
                  <a:cubicBezTo>
                    <a:pt x="91" y="36"/>
                    <a:pt x="89" y="37"/>
                    <a:pt x="89" y="37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88" y="37"/>
                    <a:pt x="88" y="37"/>
                    <a:pt x="88" y="37"/>
                  </a:cubicBezTo>
                  <a:cubicBezTo>
                    <a:pt x="86" y="37"/>
                    <a:pt x="85" y="37"/>
                    <a:pt x="84" y="37"/>
                  </a:cubicBezTo>
                  <a:cubicBezTo>
                    <a:pt x="83" y="37"/>
                    <a:pt x="82" y="38"/>
                    <a:pt x="81" y="39"/>
                  </a:cubicBezTo>
                  <a:cubicBezTo>
                    <a:pt x="80" y="40"/>
                    <a:pt x="80" y="41"/>
                    <a:pt x="80" y="42"/>
                  </a:cubicBezTo>
                  <a:cubicBezTo>
                    <a:pt x="80" y="44"/>
                    <a:pt x="81" y="46"/>
                    <a:pt x="82" y="48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4" y="50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71" y="49"/>
                    <a:pt x="70" y="49"/>
                    <a:pt x="69" y="49"/>
                  </a:cubicBezTo>
                  <a:cubicBezTo>
                    <a:pt x="66" y="49"/>
                    <a:pt x="63" y="49"/>
                    <a:pt x="60" y="51"/>
                  </a:cubicBezTo>
                  <a:cubicBezTo>
                    <a:pt x="41" y="60"/>
                    <a:pt x="41" y="60"/>
                    <a:pt x="41" y="60"/>
                  </a:cubicBezTo>
                  <a:cubicBezTo>
                    <a:pt x="38" y="62"/>
                    <a:pt x="34" y="64"/>
                    <a:pt x="31" y="66"/>
                  </a:cubicBezTo>
                  <a:cubicBezTo>
                    <a:pt x="25" y="71"/>
                    <a:pt x="25" y="71"/>
                    <a:pt x="25" y="71"/>
                  </a:cubicBezTo>
                  <a:cubicBezTo>
                    <a:pt x="23" y="73"/>
                    <a:pt x="19" y="77"/>
                    <a:pt x="17" y="79"/>
                  </a:cubicBezTo>
                  <a:cubicBezTo>
                    <a:pt x="16" y="80"/>
                    <a:pt x="16" y="80"/>
                    <a:pt x="16" y="80"/>
                  </a:cubicBezTo>
                  <a:cubicBezTo>
                    <a:pt x="15" y="81"/>
                    <a:pt x="14" y="81"/>
                    <a:pt x="14" y="82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4" y="82"/>
                    <a:pt x="14" y="82"/>
                    <a:pt x="14" y="82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4" y="82"/>
                    <a:pt x="14" y="82"/>
                    <a:pt x="14" y="82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82"/>
                    <a:pt x="14" y="82"/>
                    <a:pt x="14" y="82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82"/>
                    <a:pt x="13" y="81"/>
                    <a:pt x="13" y="81"/>
                  </a:cubicBezTo>
                  <a:cubicBezTo>
                    <a:pt x="12" y="80"/>
                    <a:pt x="11" y="80"/>
                    <a:pt x="11" y="80"/>
                  </a:cubicBezTo>
                  <a:cubicBezTo>
                    <a:pt x="9" y="80"/>
                    <a:pt x="8" y="81"/>
                    <a:pt x="7" y="82"/>
                  </a:cubicBezTo>
                  <a:cubicBezTo>
                    <a:pt x="6" y="82"/>
                    <a:pt x="6" y="82"/>
                    <a:pt x="6" y="82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4" y="81"/>
                    <a:pt x="3" y="79"/>
                    <a:pt x="3" y="79"/>
                  </a:cubicBezTo>
                  <a:lnTo>
                    <a:pt x="0" y="8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42" name="Freeform 285"/>
            <p:cNvSpPr>
              <a:spLocks/>
            </p:cNvSpPr>
            <p:nvPr/>
          </p:nvSpPr>
          <p:spPr bwMode="auto">
            <a:xfrm>
              <a:off x="-1826256" y="3864971"/>
              <a:ext cx="149241" cy="223842"/>
            </a:xfrm>
            <a:custGeom>
              <a:avLst/>
              <a:gdLst/>
              <a:ahLst/>
              <a:cxnLst>
                <a:cxn ang="0">
                  <a:pos x="4" y="37"/>
                </a:cxn>
                <a:cxn ang="0">
                  <a:pos x="6" y="36"/>
                </a:cxn>
                <a:cxn ang="0">
                  <a:pos x="4" y="33"/>
                </a:cxn>
                <a:cxn ang="0">
                  <a:pos x="5" y="30"/>
                </a:cxn>
                <a:cxn ang="0">
                  <a:pos x="25" y="6"/>
                </a:cxn>
                <a:cxn ang="0">
                  <a:pos x="28" y="5"/>
                </a:cxn>
                <a:cxn ang="0">
                  <a:pos x="30" y="5"/>
                </a:cxn>
                <a:cxn ang="0">
                  <a:pos x="33" y="8"/>
                </a:cxn>
                <a:cxn ang="0">
                  <a:pos x="35" y="10"/>
                </a:cxn>
                <a:cxn ang="0">
                  <a:pos x="35" y="14"/>
                </a:cxn>
                <a:cxn ang="0">
                  <a:pos x="35" y="15"/>
                </a:cxn>
                <a:cxn ang="0">
                  <a:pos x="26" y="54"/>
                </a:cxn>
                <a:cxn ang="0">
                  <a:pos x="26" y="55"/>
                </a:cxn>
                <a:cxn ang="0">
                  <a:pos x="25" y="55"/>
                </a:cxn>
                <a:cxn ang="0">
                  <a:pos x="24" y="55"/>
                </a:cxn>
                <a:cxn ang="0">
                  <a:pos x="6" y="36"/>
                </a:cxn>
                <a:cxn ang="0">
                  <a:pos x="4" y="37"/>
                </a:cxn>
                <a:cxn ang="0">
                  <a:pos x="2" y="39"/>
                </a:cxn>
                <a:cxn ang="0">
                  <a:pos x="21" y="58"/>
                </a:cxn>
                <a:cxn ang="0">
                  <a:pos x="25" y="60"/>
                </a:cxn>
                <a:cxn ang="0">
                  <a:pos x="29" y="58"/>
                </a:cxn>
                <a:cxn ang="0">
                  <a:pos x="31" y="55"/>
                </a:cxn>
                <a:cxn ang="0">
                  <a:pos x="39" y="16"/>
                </a:cxn>
                <a:cxn ang="0">
                  <a:pos x="40" y="14"/>
                </a:cxn>
                <a:cxn ang="0">
                  <a:pos x="39" y="9"/>
                </a:cxn>
                <a:cxn ang="0">
                  <a:pos x="36" y="4"/>
                </a:cxn>
                <a:cxn ang="0">
                  <a:pos x="33" y="2"/>
                </a:cxn>
                <a:cxn ang="0">
                  <a:pos x="28" y="0"/>
                </a:cxn>
                <a:cxn ang="0">
                  <a:pos x="22" y="3"/>
                </a:cxn>
                <a:cxn ang="0">
                  <a:pos x="2" y="27"/>
                </a:cxn>
                <a:cxn ang="0">
                  <a:pos x="0" y="33"/>
                </a:cxn>
                <a:cxn ang="0">
                  <a:pos x="2" y="39"/>
                </a:cxn>
                <a:cxn ang="0">
                  <a:pos x="4" y="37"/>
                </a:cxn>
              </a:cxnLst>
              <a:rect l="0" t="0" r="r" b="b"/>
              <a:pathLst>
                <a:path w="40" h="60">
                  <a:moveTo>
                    <a:pt x="4" y="37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5" y="35"/>
                    <a:pt x="4" y="34"/>
                    <a:pt x="4" y="33"/>
                  </a:cubicBezTo>
                  <a:cubicBezTo>
                    <a:pt x="4" y="32"/>
                    <a:pt x="5" y="31"/>
                    <a:pt x="5" y="30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6" y="5"/>
                    <a:pt x="27" y="5"/>
                    <a:pt x="28" y="5"/>
                  </a:cubicBezTo>
                  <a:cubicBezTo>
                    <a:pt x="29" y="5"/>
                    <a:pt x="29" y="5"/>
                    <a:pt x="30" y="5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34" y="8"/>
                    <a:pt x="34" y="9"/>
                    <a:pt x="35" y="10"/>
                  </a:cubicBezTo>
                  <a:cubicBezTo>
                    <a:pt x="35" y="11"/>
                    <a:pt x="35" y="13"/>
                    <a:pt x="35" y="14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25" y="55"/>
                    <a:pt x="25" y="55"/>
                    <a:pt x="24" y="5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3" y="59"/>
                    <a:pt x="24" y="60"/>
                    <a:pt x="25" y="60"/>
                  </a:cubicBezTo>
                  <a:cubicBezTo>
                    <a:pt x="27" y="60"/>
                    <a:pt x="28" y="59"/>
                    <a:pt x="29" y="58"/>
                  </a:cubicBezTo>
                  <a:cubicBezTo>
                    <a:pt x="30" y="57"/>
                    <a:pt x="30" y="56"/>
                    <a:pt x="31" y="55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0" y="16"/>
                    <a:pt x="40" y="15"/>
                    <a:pt x="40" y="14"/>
                  </a:cubicBezTo>
                  <a:cubicBezTo>
                    <a:pt x="40" y="12"/>
                    <a:pt x="39" y="10"/>
                    <a:pt x="39" y="9"/>
                  </a:cubicBezTo>
                  <a:cubicBezTo>
                    <a:pt x="38" y="7"/>
                    <a:pt x="37" y="5"/>
                    <a:pt x="36" y="4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1" y="1"/>
                    <a:pt x="30" y="0"/>
                    <a:pt x="28" y="0"/>
                  </a:cubicBezTo>
                  <a:cubicBezTo>
                    <a:pt x="26" y="0"/>
                    <a:pt x="23" y="1"/>
                    <a:pt x="22" y="3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1" y="29"/>
                    <a:pt x="0" y="31"/>
                    <a:pt x="0" y="33"/>
                  </a:cubicBezTo>
                  <a:cubicBezTo>
                    <a:pt x="0" y="35"/>
                    <a:pt x="1" y="37"/>
                    <a:pt x="2" y="39"/>
                  </a:cubicBezTo>
                  <a:lnTo>
                    <a:pt x="4" y="3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43" name="Freeform 286"/>
            <p:cNvSpPr>
              <a:spLocks/>
            </p:cNvSpPr>
            <p:nvPr/>
          </p:nvSpPr>
          <p:spPr bwMode="auto">
            <a:xfrm>
              <a:off x="-2038082" y="3899408"/>
              <a:ext cx="180535" cy="250899"/>
            </a:xfrm>
            <a:custGeom>
              <a:avLst/>
              <a:gdLst/>
              <a:ahLst/>
              <a:cxnLst>
                <a:cxn ang="0">
                  <a:pos x="5" y="4"/>
                </a:cxn>
                <a:cxn ang="0">
                  <a:pos x="5" y="3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4" y="4"/>
                </a:cxn>
                <a:cxn ang="0">
                  <a:pos x="3" y="3"/>
                </a:cxn>
                <a:cxn ang="0">
                  <a:pos x="3" y="3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3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5" y="5"/>
                </a:cxn>
                <a:cxn ang="0">
                  <a:pos x="13" y="10"/>
                </a:cxn>
                <a:cxn ang="0">
                  <a:pos x="44" y="61"/>
                </a:cxn>
                <a:cxn ang="0">
                  <a:pos x="44" y="63"/>
                </a:cxn>
                <a:cxn ang="0">
                  <a:pos x="45" y="64"/>
                </a:cxn>
                <a:cxn ang="0">
                  <a:pos x="44" y="63"/>
                </a:cxn>
                <a:cxn ang="0">
                  <a:pos x="45" y="63"/>
                </a:cxn>
                <a:cxn ang="0">
                  <a:pos x="45" y="63"/>
                </a:cxn>
                <a:cxn ang="0">
                  <a:pos x="45" y="64"/>
                </a:cxn>
                <a:cxn ang="0">
                  <a:pos x="45" y="63"/>
                </a:cxn>
                <a:cxn ang="0">
                  <a:pos x="45" y="63"/>
                </a:cxn>
                <a:cxn ang="0">
                  <a:pos x="45" y="63"/>
                </a:cxn>
                <a:cxn ang="0">
                  <a:pos x="44" y="62"/>
                </a:cxn>
                <a:cxn ang="0">
                  <a:pos x="3" y="6"/>
                </a:cxn>
                <a:cxn ang="0">
                  <a:pos x="41" y="64"/>
                </a:cxn>
                <a:cxn ang="0">
                  <a:pos x="45" y="67"/>
                </a:cxn>
                <a:cxn ang="0">
                  <a:pos x="48" y="64"/>
                </a:cxn>
                <a:cxn ang="0">
                  <a:pos x="48" y="61"/>
                </a:cxn>
                <a:cxn ang="0">
                  <a:pos x="16" y="8"/>
                </a:cxn>
                <a:cxn ang="0">
                  <a:pos x="7" y="0"/>
                </a:cxn>
                <a:cxn ang="0">
                  <a:pos x="4" y="0"/>
                </a:cxn>
                <a:cxn ang="0">
                  <a:pos x="0" y="3"/>
                </a:cxn>
                <a:cxn ang="0">
                  <a:pos x="3" y="6"/>
                </a:cxn>
              </a:cxnLst>
              <a:rect l="0" t="0" r="r" b="b"/>
              <a:pathLst>
                <a:path w="48" h="67">
                  <a:moveTo>
                    <a:pt x="3" y="6"/>
                  </a:move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6" y="5"/>
                    <a:pt x="8" y="6"/>
                    <a:pt x="9" y="7"/>
                  </a:cubicBezTo>
                  <a:cubicBezTo>
                    <a:pt x="10" y="8"/>
                    <a:pt x="12" y="9"/>
                    <a:pt x="13" y="10"/>
                  </a:cubicBezTo>
                  <a:cubicBezTo>
                    <a:pt x="41" y="50"/>
                    <a:pt x="41" y="50"/>
                    <a:pt x="41" y="50"/>
                  </a:cubicBezTo>
                  <a:cubicBezTo>
                    <a:pt x="42" y="52"/>
                    <a:pt x="44" y="57"/>
                    <a:pt x="44" y="61"/>
                  </a:cubicBezTo>
                  <a:cubicBezTo>
                    <a:pt x="44" y="61"/>
                    <a:pt x="44" y="61"/>
                    <a:pt x="44" y="61"/>
                  </a:cubicBezTo>
                  <a:cubicBezTo>
                    <a:pt x="44" y="62"/>
                    <a:pt x="44" y="63"/>
                    <a:pt x="44" y="63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5" y="64"/>
                    <a:pt x="45" y="64"/>
                    <a:pt x="45" y="64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5" y="64"/>
                    <a:pt x="45" y="64"/>
                    <a:pt x="45" y="64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4"/>
                    <a:pt x="45" y="64"/>
                    <a:pt x="45" y="64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4"/>
                    <a:pt x="45" y="64"/>
                    <a:pt x="45" y="64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2"/>
                    <a:pt x="44" y="62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1" y="65"/>
                    <a:pt x="42" y="65"/>
                    <a:pt x="42" y="66"/>
                  </a:cubicBezTo>
                  <a:cubicBezTo>
                    <a:pt x="43" y="66"/>
                    <a:pt x="44" y="67"/>
                    <a:pt x="45" y="67"/>
                  </a:cubicBezTo>
                  <a:cubicBezTo>
                    <a:pt x="45" y="67"/>
                    <a:pt x="46" y="67"/>
                    <a:pt x="47" y="66"/>
                  </a:cubicBezTo>
                  <a:cubicBezTo>
                    <a:pt x="47" y="65"/>
                    <a:pt x="48" y="65"/>
                    <a:pt x="48" y="64"/>
                  </a:cubicBezTo>
                  <a:cubicBezTo>
                    <a:pt x="48" y="63"/>
                    <a:pt x="48" y="62"/>
                    <a:pt x="48" y="61"/>
                  </a:cubicBezTo>
                  <a:cubicBezTo>
                    <a:pt x="48" y="61"/>
                    <a:pt x="48" y="61"/>
                    <a:pt x="48" y="61"/>
                  </a:cubicBezTo>
                  <a:cubicBezTo>
                    <a:pt x="48" y="56"/>
                    <a:pt x="47" y="51"/>
                    <a:pt x="44" y="4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6"/>
                    <a:pt x="13" y="5"/>
                    <a:pt x="12" y="3"/>
                  </a:cubicBezTo>
                  <a:cubicBezTo>
                    <a:pt x="10" y="2"/>
                    <a:pt x="8" y="1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0"/>
                    <a:pt x="2" y="0"/>
                    <a:pt x="1" y="1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4"/>
                    <a:pt x="1" y="5"/>
                    <a:pt x="2" y="7"/>
                  </a:cubicBezTo>
                  <a:lnTo>
                    <a:pt x="3" y="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44" name="Freeform 287"/>
            <p:cNvSpPr>
              <a:spLocks/>
            </p:cNvSpPr>
            <p:nvPr/>
          </p:nvSpPr>
          <p:spPr bwMode="auto">
            <a:xfrm>
              <a:off x="-1486852" y="4024859"/>
              <a:ext cx="305703" cy="201703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5" y="5"/>
                </a:cxn>
                <a:cxn ang="0">
                  <a:pos x="9" y="4"/>
                </a:cxn>
                <a:cxn ang="0">
                  <a:pos x="16" y="8"/>
                </a:cxn>
                <a:cxn ang="0">
                  <a:pos x="27" y="9"/>
                </a:cxn>
                <a:cxn ang="0">
                  <a:pos x="32" y="7"/>
                </a:cxn>
                <a:cxn ang="0">
                  <a:pos x="66" y="27"/>
                </a:cxn>
                <a:cxn ang="0">
                  <a:pos x="69" y="33"/>
                </a:cxn>
                <a:cxn ang="0">
                  <a:pos x="69" y="33"/>
                </a:cxn>
                <a:cxn ang="0">
                  <a:pos x="69" y="34"/>
                </a:cxn>
                <a:cxn ang="0">
                  <a:pos x="76" y="50"/>
                </a:cxn>
                <a:cxn ang="0">
                  <a:pos x="77" y="51"/>
                </a:cxn>
                <a:cxn ang="0">
                  <a:pos x="77" y="51"/>
                </a:cxn>
                <a:cxn ang="0">
                  <a:pos x="78" y="51"/>
                </a:cxn>
                <a:cxn ang="0">
                  <a:pos x="79" y="51"/>
                </a:cxn>
                <a:cxn ang="0">
                  <a:pos x="77" y="51"/>
                </a:cxn>
                <a:cxn ang="0">
                  <a:pos x="77" y="49"/>
                </a:cxn>
                <a:cxn ang="0">
                  <a:pos x="78" y="49"/>
                </a:cxn>
                <a:cxn ang="0">
                  <a:pos x="78" y="51"/>
                </a:cxn>
                <a:cxn ang="0">
                  <a:pos x="78" y="49"/>
                </a:cxn>
                <a:cxn ang="0">
                  <a:pos x="78" y="49"/>
                </a:cxn>
                <a:cxn ang="0">
                  <a:pos x="79" y="49"/>
                </a:cxn>
                <a:cxn ang="0">
                  <a:pos x="61" y="39"/>
                </a:cxn>
                <a:cxn ang="0">
                  <a:pos x="49" y="39"/>
                </a:cxn>
                <a:cxn ang="0">
                  <a:pos x="42" y="43"/>
                </a:cxn>
                <a:cxn ang="0">
                  <a:pos x="26" y="23"/>
                </a:cxn>
                <a:cxn ang="0">
                  <a:pos x="16" y="16"/>
                </a:cxn>
                <a:cxn ang="0">
                  <a:pos x="6" y="15"/>
                </a:cxn>
                <a:cxn ang="0">
                  <a:pos x="4" y="8"/>
                </a:cxn>
                <a:cxn ang="0">
                  <a:pos x="0" y="9"/>
                </a:cxn>
                <a:cxn ang="0">
                  <a:pos x="3" y="18"/>
                </a:cxn>
                <a:cxn ang="0">
                  <a:pos x="16" y="21"/>
                </a:cxn>
                <a:cxn ang="0">
                  <a:pos x="22" y="25"/>
                </a:cxn>
                <a:cxn ang="0">
                  <a:pos x="42" y="47"/>
                </a:cxn>
                <a:cxn ang="0">
                  <a:pos x="51" y="43"/>
                </a:cxn>
                <a:cxn ang="0">
                  <a:pos x="59" y="43"/>
                </a:cxn>
                <a:cxn ang="0">
                  <a:pos x="78" y="53"/>
                </a:cxn>
                <a:cxn ang="0">
                  <a:pos x="81" y="51"/>
                </a:cxn>
                <a:cxn ang="0">
                  <a:pos x="79" y="47"/>
                </a:cxn>
                <a:cxn ang="0">
                  <a:pos x="73" y="34"/>
                </a:cxn>
                <a:cxn ang="0">
                  <a:pos x="73" y="34"/>
                </a:cxn>
                <a:cxn ang="0">
                  <a:pos x="73" y="33"/>
                </a:cxn>
                <a:cxn ang="0">
                  <a:pos x="68" y="23"/>
                </a:cxn>
                <a:cxn ang="0">
                  <a:pos x="32" y="3"/>
                </a:cxn>
                <a:cxn ang="0">
                  <a:pos x="24" y="6"/>
                </a:cxn>
                <a:cxn ang="0">
                  <a:pos x="19" y="5"/>
                </a:cxn>
                <a:cxn ang="0">
                  <a:pos x="9" y="0"/>
                </a:cxn>
                <a:cxn ang="0">
                  <a:pos x="1" y="2"/>
                </a:cxn>
                <a:cxn ang="0">
                  <a:pos x="0" y="9"/>
                </a:cxn>
              </a:cxnLst>
              <a:rect l="0" t="0" r="r" b="b"/>
              <a:pathLst>
                <a:path w="81" h="53">
                  <a:moveTo>
                    <a:pt x="2" y="9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7"/>
                    <a:pt x="4" y="6"/>
                    <a:pt x="5" y="5"/>
                  </a:cubicBezTo>
                  <a:cubicBezTo>
                    <a:pt x="5" y="4"/>
                    <a:pt x="6" y="4"/>
                    <a:pt x="6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0" y="4"/>
                    <a:pt x="12" y="5"/>
                    <a:pt x="13" y="5"/>
                  </a:cubicBezTo>
                  <a:cubicBezTo>
                    <a:pt x="14" y="6"/>
                    <a:pt x="15" y="7"/>
                    <a:pt x="16" y="8"/>
                  </a:cubicBezTo>
                  <a:cubicBezTo>
                    <a:pt x="18" y="9"/>
                    <a:pt x="20" y="10"/>
                    <a:pt x="22" y="10"/>
                  </a:cubicBezTo>
                  <a:cubicBezTo>
                    <a:pt x="24" y="10"/>
                    <a:pt x="25" y="10"/>
                    <a:pt x="27" y="9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9" y="7"/>
                    <a:pt x="31" y="7"/>
                    <a:pt x="32" y="7"/>
                  </a:cubicBezTo>
                  <a:cubicBezTo>
                    <a:pt x="33" y="7"/>
                    <a:pt x="34" y="7"/>
                    <a:pt x="35" y="8"/>
                  </a:cubicBezTo>
                  <a:cubicBezTo>
                    <a:pt x="66" y="27"/>
                    <a:pt x="66" y="27"/>
                    <a:pt x="66" y="27"/>
                  </a:cubicBezTo>
                  <a:cubicBezTo>
                    <a:pt x="66" y="28"/>
                    <a:pt x="67" y="28"/>
                    <a:pt x="68" y="30"/>
                  </a:cubicBezTo>
                  <a:cubicBezTo>
                    <a:pt x="69" y="31"/>
                    <a:pt x="69" y="32"/>
                    <a:pt x="69" y="33"/>
                  </a:cubicBezTo>
                  <a:cubicBezTo>
                    <a:pt x="69" y="33"/>
                    <a:pt x="69" y="33"/>
                    <a:pt x="69" y="33"/>
                  </a:cubicBezTo>
                  <a:cubicBezTo>
                    <a:pt x="69" y="33"/>
                    <a:pt x="69" y="33"/>
                    <a:pt x="69" y="33"/>
                  </a:cubicBezTo>
                  <a:cubicBezTo>
                    <a:pt x="69" y="33"/>
                    <a:pt x="69" y="33"/>
                    <a:pt x="69" y="33"/>
                  </a:cubicBezTo>
                  <a:cubicBezTo>
                    <a:pt x="69" y="34"/>
                    <a:pt x="69" y="34"/>
                    <a:pt x="69" y="34"/>
                  </a:cubicBezTo>
                  <a:cubicBezTo>
                    <a:pt x="69" y="38"/>
                    <a:pt x="70" y="42"/>
                    <a:pt x="72" y="45"/>
                  </a:cubicBezTo>
                  <a:cubicBezTo>
                    <a:pt x="76" y="50"/>
                    <a:pt x="76" y="50"/>
                    <a:pt x="76" y="50"/>
                  </a:cubicBezTo>
                  <a:cubicBezTo>
                    <a:pt x="76" y="50"/>
                    <a:pt x="77" y="50"/>
                    <a:pt x="77" y="51"/>
                  </a:cubicBezTo>
                  <a:cubicBezTo>
                    <a:pt x="77" y="51"/>
                    <a:pt x="77" y="51"/>
                    <a:pt x="77" y="51"/>
                  </a:cubicBezTo>
                  <a:cubicBezTo>
                    <a:pt x="78" y="51"/>
                    <a:pt x="78" y="51"/>
                    <a:pt x="78" y="51"/>
                  </a:cubicBezTo>
                  <a:cubicBezTo>
                    <a:pt x="77" y="51"/>
                    <a:pt x="77" y="51"/>
                    <a:pt x="77" y="51"/>
                  </a:cubicBezTo>
                  <a:cubicBezTo>
                    <a:pt x="77" y="51"/>
                    <a:pt x="77" y="51"/>
                    <a:pt x="77" y="51"/>
                  </a:cubicBezTo>
                  <a:cubicBezTo>
                    <a:pt x="78" y="51"/>
                    <a:pt x="78" y="51"/>
                    <a:pt x="78" y="51"/>
                  </a:cubicBezTo>
                  <a:cubicBezTo>
                    <a:pt x="77" y="51"/>
                    <a:pt x="77" y="51"/>
                    <a:pt x="77" y="51"/>
                  </a:cubicBezTo>
                  <a:cubicBezTo>
                    <a:pt x="79" y="51"/>
                    <a:pt x="79" y="51"/>
                    <a:pt x="79" y="51"/>
                  </a:cubicBezTo>
                  <a:cubicBezTo>
                    <a:pt x="77" y="49"/>
                    <a:pt x="77" y="49"/>
                    <a:pt x="77" y="49"/>
                  </a:cubicBezTo>
                  <a:cubicBezTo>
                    <a:pt x="77" y="50"/>
                    <a:pt x="77" y="50"/>
                    <a:pt x="77" y="51"/>
                  </a:cubicBezTo>
                  <a:cubicBezTo>
                    <a:pt x="79" y="51"/>
                    <a:pt x="79" y="51"/>
                    <a:pt x="79" y="51"/>
                  </a:cubicBezTo>
                  <a:cubicBezTo>
                    <a:pt x="77" y="49"/>
                    <a:pt x="77" y="49"/>
                    <a:pt x="77" y="49"/>
                  </a:cubicBezTo>
                  <a:cubicBezTo>
                    <a:pt x="78" y="51"/>
                    <a:pt x="78" y="51"/>
                    <a:pt x="78" y="51"/>
                  </a:cubicBezTo>
                  <a:cubicBezTo>
                    <a:pt x="78" y="49"/>
                    <a:pt x="78" y="49"/>
                    <a:pt x="78" y="49"/>
                  </a:cubicBezTo>
                  <a:cubicBezTo>
                    <a:pt x="78" y="49"/>
                    <a:pt x="78" y="49"/>
                    <a:pt x="77" y="49"/>
                  </a:cubicBezTo>
                  <a:cubicBezTo>
                    <a:pt x="78" y="51"/>
                    <a:pt x="78" y="51"/>
                    <a:pt x="78" y="51"/>
                  </a:cubicBezTo>
                  <a:cubicBezTo>
                    <a:pt x="78" y="49"/>
                    <a:pt x="78" y="49"/>
                    <a:pt x="78" y="49"/>
                  </a:cubicBezTo>
                  <a:cubicBezTo>
                    <a:pt x="78" y="49"/>
                    <a:pt x="78" y="49"/>
                    <a:pt x="78" y="49"/>
                  </a:cubicBezTo>
                  <a:cubicBezTo>
                    <a:pt x="79" y="49"/>
                    <a:pt x="79" y="49"/>
                    <a:pt x="79" y="49"/>
                  </a:cubicBezTo>
                  <a:cubicBezTo>
                    <a:pt x="78" y="49"/>
                    <a:pt x="78" y="49"/>
                    <a:pt x="78" y="49"/>
                  </a:cubicBezTo>
                  <a:cubicBezTo>
                    <a:pt x="78" y="49"/>
                    <a:pt x="78" y="49"/>
                    <a:pt x="78" y="49"/>
                  </a:cubicBezTo>
                  <a:cubicBezTo>
                    <a:pt x="79" y="49"/>
                    <a:pt x="79" y="49"/>
                    <a:pt x="79" y="49"/>
                  </a:cubicBezTo>
                  <a:cubicBezTo>
                    <a:pt x="78" y="49"/>
                    <a:pt x="78" y="49"/>
                    <a:pt x="78" y="49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59" y="39"/>
                    <a:pt x="57" y="38"/>
                    <a:pt x="55" y="38"/>
                  </a:cubicBezTo>
                  <a:cubicBezTo>
                    <a:pt x="53" y="38"/>
                    <a:pt x="51" y="39"/>
                    <a:pt x="49" y="39"/>
                  </a:cubicBezTo>
                  <a:cubicBezTo>
                    <a:pt x="44" y="43"/>
                    <a:pt x="44" y="43"/>
                    <a:pt x="44" y="43"/>
                  </a:cubicBezTo>
                  <a:cubicBezTo>
                    <a:pt x="43" y="43"/>
                    <a:pt x="43" y="43"/>
                    <a:pt x="42" y="43"/>
                  </a:cubicBezTo>
                  <a:cubicBezTo>
                    <a:pt x="41" y="43"/>
                    <a:pt x="39" y="42"/>
                    <a:pt x="38" y="41"/>
                  </a:cubicBezTo>
                  <a:cubicBezTo>
                    <a:pt x="26" y="23"/>
                    <a:pt x="26" y="23"/>
                    <a:pt x="26" y="23"/>
                  </a:cubicBezTo>
                  <a:cubicBezTo>
                    <a:pt x="25" y="21"/>
                    <a:pt x="23" y="19"/>
                    <a:pt x="21" y="18"/>
                  </a:cubicBezTo>
                  <a:cubicBezTo>
                    <a:pt x="20" y="17"/>
                    <a:pt x="18" y="17"/>
                    <a:pt x="16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7"/>
                    <a:pt x="6" y="16"/>
                    <a:pt x="6" y="15"/>
                  </a:cubicBezTo>
                  <a:cubicBezTo>
                    <a:pt x="5" y="14"/>
                    <a:pt x="4" y="13"/>
                    <a:pt x="4" y="12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4"/>
                    <a:pt x="1" y="17"/>
                    <a:pt x="3" y="18"/>
                  </a:cubicBezTo>
                  <a:cubicBezTo>
                    <a:pt x="4" y="20"/>
                    <a:pt x="6" y="21"/>
                    <a:pt x="8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7" y="21"/>
                    <a:pt x="18" y="21"/>
                    <a:pt x="19" y="22"/>
                  </a:cubicBezTo>
                  <a:cubicBezTo>
                    <a:pt x="21" y="23"/>
                    <a:pt x="22" y="24"/>
                    <a:pt x="22" y="25"/>
                  </a:cubicBezTo>
                  <a:cubicBezTo>
                    <a:pt x="35" y="43"/>
                    <a:pt x="35" y="43"/>
                    <a:pt x="35" y="43"/>
                  </a:cubicBezTo>
                  <a:cubicBezTo>
                    <a:pt x="36" y="46"/>
                    <a:pt x="39" y="47"/>
                    <a:pt x="42" y="47"/>
                  </a:cubicBezTo>
                  <a:cubicBezTo>
                    <a:pt x="43" y="47"/>
                    <a:pt x="44" y="47"/>
                    <a:pt x="46" y="46"/>
                  </a:cubicBezTo>
                  <a:cubicBezTo>
                    <a:pt x="51" y="43"/>
                    <a:pt x="51" y="43"/>
                    <a:pt x="51" y="43"/>
                  </a:cubicBezTo>
                  <a:cubicBezTo>
                    <a:pt x="52" y="43"/>
                    <a:pt x="54" y="42"/>
                    <a:pt x="55" y="42"/>
                  </a:cubicBezTo>
                  <a:cubicBezTo>
                    <a:pt x="57" y="42"/>
                    <a:pt x="58" y="43"/>
                    <a:pt x="59" y="43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7" y="53"/>
                    <a:pt x="77" y="53"/>
                    <a:pt x="78" y="53"/>
                  </a:cubicBezTo>
                  <a:cubicBezTo>
                    <a:pt x="79" y="53"/>
                    <a:pt x="80" y="53"/>
                    <a:pt x="80" y="53"/>
                  </a:cubicBezTo>
                  <a:cubicBezTo>
                    <a:pt x="81" y="52"/>
                    <a:pt x="81" y="51"/>
                    <a:pt x="81" y="51"/>
                  </a:cubicBezTo>
                  <a:cubicBezTo>
                    <a:pt x="81" y="50"/>
                    <a:pt x="81" y="49"/>
                    <a:pt x="81" y="49"/>
                  </a:cubicBezTo>
                  <a:cubicBezTo>
                    <a:pt x="80" y="48"/>
                    <a:pt x="80" y="48"/>
                    <a:pt x="79" y="47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74" y="40"/>
                    <a:pt x="73" y="36"/>
                    <a:pt x="73" y="34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73" y="33"/>
                    <a:pt x="73" y="33"/>
                    <a:pt x="73" y="33"/>
                  </a:cubicBezTo>
                  <a:cubicBezTo>
                    <a:pt x="73" y="31"/>
                    <a:pt x="73" y="29"/>
                    <a:pt x="72" y="28"/>
                  </a:cubicBezTo>
                  <a:cubicBezTo>
                    <a:pt x="71" y="26"/>
                    <a:pt x="70" y="24"/>
                    <a:pt x="68" y="2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3"/>
                    <a:pt x="34" y="3"/>
                    <a:pt x="32" y="3"/>
                  </a:cubicBezTo>
                  <a:cubicBezTo>
                    <a:pt x="30" y="3"/>
                    <a:pt x="28" y="3"/>
                    <a:pt x="26" y="4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4" y="6"/>
                    <a:pt x="23" y="6"/>
                    <a:pt x="22" y="6"/>
                  </a:cubicBezTo>
                  <a:cubicBezTo>
                    <a:pt x="21" y="6"/>
                    <a:pt x="20" y="6"/>
                    <a:pt x="19" y="5"/>
                  </a:cubicBezTo>
                  <a:cubicBezTo>
                    <a:pt x="18" y="3"/>
                    <a:pt x="17" y="2"/>
                    <a:pt x="15" y="1"/>
                  </a:cubicBezTo>
                  <a:cubicBezTo>
                    <a:pt x="13" y="0"/>
                    <a:pt x="11" y="0"/>
                    <a:pt x="9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1" y="2"/>
                  </a:cubicBezTo>
                  <a:cubicBezTo>
                    <a:pt x="0" y="4"/>
                    <a:pt x="0" y="6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lnTo>
                    <a:pt x="2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45" name="Freeform 288"/>
            <p:cNvSpPr>
              <a:spLocks/>
            </p:cNvSpPr>
            <p:nvPr/>
          </p:nvSpPr>
          <p:spPr bwMode="auto">
            <a:xfrm>
              <a:off x="-1710715" y="4251159"/>
              <a:ext cx="572894" cy="568211"/>
            </a:xfrm>
            <a:custGeom>
              <a:avLst/>
              <a:gdLst/>
              <a:ahLst/>
              <a:cxnLst>
                <a:cxn ang="0">
                  <a:pos x="5" y="60"/>
                </a:cxn>
                <a:cxn ang="0">
                  <a:pos x="6" y="53"/>
                </a:cxn>
                <a:cxn ang="0">
                  <a:pos x="45" y="21"/>
                </a:cxn>
                <a:cxn ang="0">
                  <a:pos x="50" y="20"/>
                </a:cxn>
                <a:cxn ang="0">
                  <a:pos x="59" y="12"/>
                </a:cxn>
                <a:cxn ang="0">
                  <a:pos x="62" y="5"/>
                </a:cxn>
                <a:cxn ang="0">
                  <a:pos x="65" y="4"/>
                </a:cxn>
                <a:cxn ang="0">
                  <a:pos x="82" y="8"/>
                </a:cxn>
                <a:cxn ang="0">
                  <a:pos x="83" y="14"/>
                </a:cxn>
                <a:cxn ang="0">
                  <a:pos x="89" y="25"/>
                </a:cxn>
                <a:cxn ang="0">
                  <a:pos x="99" y="32"/>
                </a:cxn>
                <a:cxn ang="0">
                  <a:pos x="104" y="25"/>
                </a:cxn>
                <a:cxn ang="0">
                  <a:pos x="104" y="4"/>
                </a:cxn>
                <a:cxn ang="0">
                  <a:pos x="104" y="4"/>
                </a:cxn>
                <a:cxn ang="0">
                  <a:pos x="104" y="4"/>
                </a:cxn>
                <a:cxn ang="0">
                  <a:pos x="104" y="4"/>
                </a:cxn>
                <a:cxn ang="0">
                  <a:pos x="103" y="4"/>
                </a:cxn>
                <a:cxn ang="0">
                  <a:pos x="103" y="3"/>
                </a:cxn>
                <a:cxn ang="0">
                  <a:pos x="103" y="3"/>
                </a:cxn>
                <a:cxn ang="0">
                  <a:pos x="103" y="4"/>
                </a:cxn>
                <a:cxn ang="0">
                  <a:pos x="103" y="4"/>
                </a:cxn>
                <a:cxn ang="0">
                  <a:pos x="104" y="5"/>
                </a:cxn>
                <a:cxn ang="0">
                  <a:pos x="119" y="26"/>
                </a:cxn>
                <a:cxn ang="0">
                  <a:pos x="120" y="37"/>
                </a:cxn>
                <a:cxn ang="0">
                  <a:pos x="124" y="50"/>
                </a:cxn>
                <a:cxn ang="0">
                  <a:pos x="147" y="83"/>
                </a:cxn>
                <a:cxn ang="0">
                  <a:pos x="148" y="108"/>
                </a:cxn>
                <a:cxn ang="0">
                  <a:pos x="127" y="145"/>
                </a:cxn>
                <a:cxn ang="0">
                  <a:pos x="122" y="147"/>
                </a:cxn>
                <a:cxn ang="0">
                  <a:pos x="72" y="111"/>
                </a:cxn>
                <a:cxn ang="0">
                  <a:pos x="31" y="125"/>
                </a:cxn>
                <a:cxn ang="0">
                  <a:pos x="27" y="122"/>
                </a:cxn>
                <a:cxn ang="0">
                  <a:pos x="3" y="61"/>
                </a:cxn>
                <a:cxn ang="0">
                  <a:pos x="23" y="124"/>
                </a:cxn>
                <a:cxn ang="0">
                  <a:pos x="32" y="129"/>
                </a:cxn>
                <a:cxn ang="0">
                  <a:pos x="72" y="115"/>
                </a:cxn>
                <a:cxn ang="0">
                  <a:pos x="119" y="150"/>
                </a:cxn>
                <a:cxn ang="0">
                  <a:pos x="130" y="148"/>
                </a:cxn>
                <a:cxn ang="0">
                  <a:pos x="153" y="108"/>
                </a:cxn>
                <a:cxn ang="0">
                  <a:pos x="151" y="82"/>
                </a:cxn>
                <a:cxn ang="0">
                  <a:pos x="128" y="47"/>
                </a:cxn>
                <a:cxn ang="0">
                  <a:pos x="125" y="37"/>
                </a:cxn>
                <a:cxn ang="0">
                  <a:pos x="123" y="25"/>
                </a:cxn>
                <a:cxn ang="0">
                  <a:pos x="107" y="2"/>
                </a:cxn>
                <a:cxn ang="0">
                  <a:pos x="103" y="0"/>
                </a:cxn>
                <a:cxn ang="0">
                  <a:pos x="100" y="3"/>
                </a:cxn>
                <a:cxn ang="0">
                  <a:pos x="100" y="25"/>
                </a:cxn>
                <a:cxn ang="0">
                  <a:pos x="99" y="27"/>
                </a:cxn>
                <a:cxn ang="0">
                  <a:pos x="99" y="28"/>
                </a:cxn>
                <a:cxn ang="0">
                  <a:pos x="99" y="27"/>
                </a:cxn>
                <a:cxn ang="0">
                  <a:pos x="99" y="27"/>
                </a:cxn>
                <a:cxn ang="0">
                  <a:pos x="91" y="22"/>
                </a:cxn>
                <a:cxn ang="0">
                  <a:pos x="88" y="14"/>
                </a:cxn>
                <a:cxn ang="0">
                  <a:pos x="86" y="5"/>
                </a:cxn>
                <a:cxn ang="0">
                  <a:pos x="66" y="0"/>
                </a:cxn>
                <a:cxn ang="0">
                  <a:pos x="59" y="2"/>
                </a:cxn>
                <a:cxn ang="0">
                  <a:pos x="55" y="11"/>
                </a:cxn>
                <a:cxn ang="0">
                  <a:pos x="50" y="16"/>
                </a:cxn>
                <a:cxn ang="0">
                  <a:pos x="43" y="17"/>
                </a:cxn>
                <a:cxn ang="0">
                  <a:pos x="3" y="49"/>
                </a:cxn>
                <a:cxn ang="0">
                  <a:pos x="1" y="61"/>
                </a:cxn>
              </a:cxnLst>
              <a:rect l="0" t="0" r="r" b="b"/>
              <a:pathLst>
                <a:path w="153" h="151">
                  <a:moveTo>
                    <a:pt x="3" y="61"/>
                  </a:moveTo>
                  <a:cubicBezTo>
                    <a:pt x="5" y="60"/>
                    <a:pt x="5" y="60"/>
                    <a:pt x="5" y="60"/>
                  </a:cubicBezTo>
                  <a:cubicBezTo>
                    <a:pt x="4" y="59"/>
                    <a:pt x="4" y="58"/>
                    <a:pt x="4" y="58"/>
                  </a:cubicBezTo>
                  <a:cubicBezTo>
                    <a:pt x="4" y="55"/>
                    <a:pt x="5" y="53"/>
                    <a:pt x="6" y="53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42" y="22"/>
                    <a:pt x="43" y="22"/>
                    <a:pt x="45" y="21"/>
                  </a:cubicBezTo>
                  <a:cubicBezTo>
                    <a:pt x="46" y="20"/>
                    <a:pt x="48" y="20"/>
                    <a:pt x="49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2" y="20"/>
                    <a:pt x="54" y="19"/>
                    <a:pt x="55" y="18"/>
                  </a:cubicBezTo>
                  <a:cubicBezTo>
                    <a:pt x="57" y="16"/>
                    <a:pt x="58" y="14"/>
                    <a:pt x="59" y="12"/>
                  </a:cubicBezTo>
                  <a:cubicBezTo>
                    <a:pt x="60" y="8"/>
                    <a:pt x="60" y="8"/>
                    <a:pt x="60" y="8"/>
                  </a:cubicBezTo>
                  <a:cubicBezTo>
                    <a:pt x="61" y="7"/>
                    <a:pt x="61" y="6"/>
                    <a:pt x="62" y="5"/>
                  </a:cubicBezTo>
                  <a:cubicBezTo>
                    <a:pt x="63" y="4"/>
                    <a:pt x="64" y="4"/>
                    <a:pt x="65" y="4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80" y="6"/>
                    <a:pt x="80" y="6"/>
                    <a:pt x="80" y="6"/>
                  </a:cubicBezTo>
                  <a:cubicBezTo>
                    <a:pt x="81" y="6"/>
                    <a:pt x="81" y="7"/>
                    <a:pt x="82" y="8"/>
                  </a:cubicBezTo>
                  <a:cubicBezTo>
                    <a:pt x="83" y="9"/>
                    <a:pt x="83" y="10"/>
                    <a:pt x="83" y="12"/>
                  </a:cubicBezTo>
                  <a:cubicBezTo>
                    <a:pt x="83" y="14"/>
                    <a:pt x="83" y="14"/>
                    <a:pt x="83" y="14"/>
                  </a:cubicBezTo>
                  <a:cubicBezTo>
                    <a:pt x="83" y="16"/>
                    <a:pt x="84" y="18"/>
                    <a:pt x="85" y="20"/>
                  </a:cubicBezTo>
                  <a:cubicBezTo>
                    <a:pt x="86" y="22"/>
                    <a:pt x="87" y="24"/>
                    <a:pt x="89" y="25"/>
                  </a:cubicBezTo>
                  <a:cubicBezTo>
                    <a:pt x="96" y="31"/>
                    <a:pt x="96" y="31"/>
                    <a:pt x="96" y="31"/>
                  </a:cubicBezTo>
                  <a:cubicBezTo>
                    <a:pt x="97" y="31"/>
                    <a:pt x="98" y="32"/>
                    <a:pt x="99" y="32"/>
                  </a:cubicBezTo>
                  <a:cubicBezTo>
                    <a:pt x="101" y="32"/>
                    <a:pt x="102" y="31"/>
                    <a:pt x="103" y="30"/>
                  </a:cubicBezTo>
                  <a:cubicBezTo>
                    <a:pt x="104" y="28"/>
                    <a:pt x="104" y="27"/>
                    <a:pt x="104" y="25"/>
                  </a:cubicBezTo>
                  <a:cubicBezTo>
                    <a:pt x="104" y="6"/>
                    <a:pt x="104" y="6"/>
                    <a:pt x="104" y="6"/>
                  </a:cubicBezTo>
                  <a:cubicBezTo>
                    <a:pt x="104" y="5"/>
                    <a:pt x="104" y="4"/>
                    <a:pt x="104" y="4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3" y="3"/>
                    <a:pt x="103" y="3"/>
                    <a:pt x="103" y="3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3" y="3"/>
                    <a:pt x="103" y="3"/>
                    <a:pt x="103" y="3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3" y="3"/>
                    <a:pt x="103" y="3"/>
                    <a:pt x="103" y="3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3" y="3"/>
                    <a:pt x="103" y="3"/>
                    <a:pt x="103" y="3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3" y="4"/>
                    <a:pt x="103" y="4"/>
                    <a:pt x="104" y="5"/>
                  </a:cubicBezTo>
                  <a:cubicBezTo>
                    <a:pt x="117" y="22"/>
                    <a:pt x="117" y="22"/>
                    <a:pt x="117" y="22"/>
                  </a:cubicBezTo>
                  <a:cubicBezTo>
                    <a:pt x="118" y="23"/>
                    <a:pt x="119" y="24"/>
                    <a:pt x="119" y="26"/>
                  </a:cubicBezTo>
                  <a:cubicBezTo>
                    <a:pt x="120" y="28"/>
                    <a:pt x="120" y="30"/>
                    <a:pt x="120" y="32"/>
                  </a:cubicBezTo>
                  <a:cubicBezTo>
                    <a:pt x="120" y="37"/>
                    <a:pt x="120" y="37"/>
                    <a:pt x="120" y="37"/>
                  </a:cubicBezTo>
                  <a:cubicBezTo>
                    <a:pt x="120" y="39"/>
                    <a:pt x="121" y="42"/>
                    <a:pt x="121" y="44"/>
                  </a:cubicBezTo>
                  <a:cubicBezTo>
                    <a:pt x="122" y="46"/>
                    <a:pt x="123" y="48"/>
                    <a:pt x="124" y="50"/>
                  </a:cubicBezTo>
                  <a:cubicBezTo>
                    <a:pt x="145" y="78"/>
                    <a:pt x="145" y="78"/>
                    <a:pt x="145" y="78"/>
                  </a:cubicBezTo>
                  <a:cubicBezTo>
                    <a:pt x="146" y="79"/>
                    <a:pt x="147" y="81"/>
                    <a:pt x="147" y="83"/>
                  </a:cubicBezTo>
                  <a:cubicBezTo>
                    <a:pt x="148" y="85"/>
                    <a:pt x="148" y="87"/>
                    <a:pt x="148" y="89"/>
                  </a:cubicBezTo>
                  <a:cubicBezTo>
                    <a:pt x="148" y="108"/>
                    <a:pt x="148" y="108"/>
                    <a:pt x="148" y="108"/>
                  </a:cubicBezTo>
                  <a:cubicBezTo>
                    <a:pt x="148" y="111"/>
                    <a:pt x="147" y="117"/>
                    <a:pt x="145" y="119"/>
                  </a:cubicBezTo>
                  <a:cubicBezTo>
                    <a:pt x="127" y="145"/>
                    <a:pt x="127" y="145"/>
                    <a:pt x="127" y="145"/>
                  </a:cubicBezTo>
                  <a:cubicBezTo>
                    <a:pt x="126" y="147"/>
                    <a:pt x="125" y="147"/>
                    <a:pt x="124" y="147"/>
                  </a:cubicBezTo>
                  <a:cubicBezTo>
                    <a:pt x="123" y="147"/>
                    <a:pt x="123" y="147"/>
                    <a:pt x="122" y="147"/>
                  </a:cubicBezTo>
                  <a:cubicBezTo>
                    <a:pt x="79" y="113"/>
                    <a:pt x="79" y="113"/>
                    <a:pt x="79" y="113"/>
                  </a:cubicBezTo>
                  <a:cubicBezTo>
                    <a:pt x="77" y="111"/>
                    <a:pt x="74" y="111"/>
                    <a:pt x="72" y="111"/>
                  </a:cubicBezTo>
                  <a:cubicBezTo>
                    <a:pt x="70" y="111"/>
                    <a:pt x="69" y="111"/>
                    <a:pt x="68" y="111"/>
                  </a:cubicBezTo>
                  <a:cubicBezTo>
                    <a:pt x="31" y="125"/>
                    <a:pt x="31" y="125"/>
                    <a:pt x="31" y="125"/>
                  </a:cubicBezTo>
                  <a:cubicBezTo>
                    <a:pt x="30" y="125"/>
                    <a:pt x="30" y="125"/>
                    <a:pt x="30" y="125"/>
                  </a:cubicBezTo>
                  <a:cubicBezTo>
                    <a:pt x="29" y="125"/>
                    <a:pt x="27" y="124"/>
                    <a:pt x="27" y="122"/>
                  </a:cubicBezTo>
                  <a:cubicBezTo>
                    <a:pt x="5" y="60"/>
                    <a:pt x="5" y="60"/>
                    <a:pt x="5" y="60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23" y="124"/>
                    <a:pt x="23" y="124"/>
                    <a:pt x="23" y="124"/>
                  </a:cubicBezTo>
                  <a:cubicBezTo>
                    <a:pt x="24" y="127"/>
                    <a:pt x="27" y="130"/>
                    <a:pt x="30" y="130"/>
                  </a:cubicBezTo>
                  <a:cubicBezTo>
                    <a:pt x="31" y="130"/>
                    <a:pt x="32" y="130"/>
                    <a:pt x="32" y="129"/>
                  </a:cubicBezTo>
                  <a:cubicBezTo>
                    <a:pt x="70" y="115"/>
                    <a:pt x="70" y="115"/>
                    <a:pt x="70" y="115"/>
                  </a:cubicBezTo>
                  <a:cubicBezTo>
                    <a:pt x="70" y="115"/>
                    <a:pt x="71" y="115"/>
                    <a:pt x="72" y="115"/>
                  </a:cubicBezTo>
                  <a:cubicBezTo>
                    <a:pt x="73" y="115"/>
                    <a:pt x="76" y="116"/>
                    <a:pt x="77" y="117"/>
                  </a:cubicBezTo>
                  <a:cubicBezTo>
                    <a:pt x="119" y="150"/>
                    <a:pt x="119" y="150"/>
                    <a:pt x="119" y="150"/>
                  </a:cubicBezTo>
                  <a:cubicBezTo>
                    <a:pt x="121" y="151"/>
                    <a:pt x="122" y="151"/>
                    <a:pt x="124" y="151"/>
                  </a:cubicBezTo>
                  <a:cubicBezTo>
                    <a:pt x="126" y="151"/>
                    <a:pt x="129" y="150"/>
                    <a:pt x="130" y="148"/>
                  </a:cubicBezTo>
                  <a:cubicBezTo>
                    <a:pt x="149" y="121"/>
                    <a:pt x="149" y="121"/>
                    <a:pt x="149" y="121"/>
                  </a:cubicBezTo>
                  <a:cubicBezTo>
                    <a:pt x="151" y="118"/>
                    <a:pt x="152" y="113"/>
                    <a:pt x="153" y="108"/>
                  </a:cubicBezTo>
                  <a:cubicBezTo>
                    <a:pt x="153" y="89"/>
                    <a:pt x="153" y="89"/>
                    <a:pt x="153" y="89"/>
                  </a:cubicBezTo>
                  <a:cubicBezTo>
                    <a:pt x="153" y="86"/>
                    <a:pt x="152" y="84"/>
                    <a:pt x="151" y="82"/>
                  </a:cubicBezTo>
                  <a:cubicBezTo>
                    <a:pt x="151" y="79"/>
                    <a:pt x="150" y="77"/>
                    <a:pt x="149" y="76"/>
                  </a:cubicBezTo>
                  <a:cubicBezTo>
                    <a:pt x="128" y="47"/>
                    <a:pt x="128" y="47"/>
                    <a:pt x="128" y="47"/>
                  </a:cubicBezTo>
                  <a:cubicBezTo>
                    <a:pt x="127" y="46"/>
                    <a:pt x="126" y="45"/>
                    <a:pt x="126" y="43"/>
                  </a:cubicBezTo>
                  <a:cubicBezTo>
                    <a:pt x="125" y="41"/>
                    <a:pt x="125" y="39"/>
                    <a:pt x="125" y="37"/>
                  </a:cubicBezTo>
                  <a:cubicBezTo>
                    <a:pt x="125" y="32"/>
                    <a:pt x="125" y="32"/>
                    <a:pt x="125" y="32"/>
                  </a:cubicBezTo>
                  <a:cubicBezTo>
                    <a:pt x="125" y="30"/>
                    <a:pt x="124" y="27"/>
                    <a:pt x="123" y="25"/>
                  </a:cubicBezTo>
                  <a:cubicBezTo>
                    <a:pt x="123" y="23"/>
                    <a:pt x="122" y="21"/>
                    <a:pt x="120" y="19"/>
                  </a:cubicBezTo>
                  <a:cubicBezTo>
                    <a:pt x="107" y="2"/>
                    <a:pt x="107" y="2"/>
                    <a:pt x="107" y="2"/>
                  </a:cubicBezTo>
                  <a:cubicBezTo>
                    <a:pt x="107" y="2"/>
                    <a:pt x="106" y="1"/>
                    <a:pt x="105" y="1"/>
                  </a:cubicBezTo>
                  <a:cubicBezTo>
                    <a:pt x="105" y="0"/>
                    <a:pt x="104" y="0"/>
                    <a:pt x="103" y="0"/>
                  </a:cubicBezTo>
                  <a:cubicBezTo>
                    <a:pt x="103" y="0"/>
                    <a:pt x="102" y="0"/>
                    <a:pt x="101" y="1"/>
                  </a:cubicBezTo>
                  <a:cubicBezTo>
                    <a:pt x="100" y="1"/>
                    <a:pt x="100" y="2"/>
                    <a:pt x="100" y="3"/>
                  </a:cubicBezTo>
                  <a:cubicBezTo>
                    <a:pt x="100" y="4"/>
                    <a:pt x="100" y="5"/>
                    <a:pt x="100" y="6"/>
                  </a:cubicBezTo>
                  <a:cubicBezTo>
                    <a:pt x="100" y="25"/>
                    <a:pt x="100" y="25"/>
                    <a:pt x="100" y="25"/>
                  </a:cubicBezTo>
                  <a:cubicBezTo>
                    <a:pt x="100" y="26"/>
                    <a:pt x="99" y="27"/>
                    <a:pt x="99" y="27"/>
                  </a:cubicBezTo>
                  <a:cubicBezTo>
                    <a:pt x="99" y="27"/>
                    <a:pt x="99" y="27"/>
                    <a:pt x="99" y="27"/>
                  </a:cubicBezTo>
                  <a:cubicBezTo>
                    <a:pt x="99" y="27"/>
                    <a:pt x="99" y="27"/>
                    <a:pt x="99" y="27"/>
                  </a:cubicBezTo>
                  <a:cubicBezTo>
                    <a:pt x="99" y="28"/>
                    <a:pt x="99" y="28"/>
                    <a:pt x="99" y="28"/>
                  </a:cubicBezTo>
                  <a:cubicBezTo>
                    <a:pt x="99" y="27"/>
                    <a:pt x="99" y="27"/>
                    <a:pt x="99" y="27"/>
                  </a:cubicBezTo>
                  <a:cubicBezTo>
                    <a:pt x="99" y="27"/>
                    <a:pt x="99" y="27"/>
                    <a:pt x="99" y="27"/>
                  </a:cubicBezTo>
                  <a:cubicBezTo>
                    <a:pt x="99" y="28"/>
                    <a:pt x="99" y="28"/>
                    <a:pt x="99" y="28"/>
                  </a:cubicBezTo>
                  <a:cubicBezTo>
                    <a:pt x="99" y="27"/>
                    <a:pt x="99" y="27"/>
                    <a:pt x="99" y="27"/>
                  </a:cubicBezTo>
                  <a:cubicBezTo>
                    <a:pt x="99" y="27"/>
                    <a:pt x="99" y="27"/>
                    <a:pt x="98" y="27"/>
                  </a:cubicBezTo>
                  <a:cubicBezTo>
                    <a:pt x="91" y="22"/>
                    <a:pt x="91" y="22"/>
                    <a:pt x="91" y="22"/>
                  </a:cubicBezTo>
                  <a:cubicBezTo>
                    <a:pt x="90" y="21"/>
                    <a:pt x="89" y="20"/>
                    <a:pt x="89" y="18"/>
                  </a:cubicBezTo>
                  <a:cubicBezTo>
                    <a:pt x="88" y="17"/>
                    <a:pt x="88" y="15"/>
                    <a:pt x="88" y="14"/>
                  </a:cubicBezTo>
                  <a:cubicBezTo>
                    <a:pt x="88" y="12"/>
                    <a:pt x="88" y="12"/>
                    <a:pt x="88" y="12"/>
                  </a:cubicBezTo>
                  <a:cubicBezTo>
                    <a:pt x="88" y="9"/>
                    <a:pt x="87" y="7"/>
                    <a:pt x="86" y="5"/>
                  </a:cubicBezTo>
                  <a:cubicBezTo>
                    <a:pt x="85" y="4"/>
                    <a:pt x="83" y="2"/>
                    <a:pt x="81" y="2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3" y="0"/>
                    <a:pt x="61" y="1"/>
                    <a:pt x="59" y="2"/>
                  </a:cubicBezTo>
                  <a:cubicBezTo>
                    <a:pt x="58" y="3"/>
                    <a:pt x="57" y="5"/>
                    <a:pt x="56" y="7"/>
                  </a:cubicBezTo>
                  <a:cubicBezTo>
                    <a:pt x="55" y="11"/>
                    <a:pt x="55" y="11"/>
                    <a:pt x="55" y="11"/>
                  </a:cubicBezTo>
                  <a:cubicBezTo>
                    <a:pt x="54" y="12"/>
                    <a:pt x="53" y="14"/>
                    <a:pt x="52" y="14"/>
                  </a:cubicBezTo>
                  <a:cubicBezTo>
                    <a:pt x="51" y="15"/>
                    <a:pt x="50" y="16"/>
                    <a:pt x="50" y="16"/>
                  </a:cubicBezTo>
                  <a:cubicBezTo>
                    <a:pt x="49" y="16"/>
                    <a:pt x="49" y="16"/>
                    <a:pt x="49" y="16"/>
                  </a:cubicBezTo>
                  <a:cubicBezTo>
                    <a:pt x="47" y="16"/>
                    <a:pt x="45" y="16"/>
                    <a:pt x="43" y="17"/>
                  </a:cubicBezTo>
                  <a:cubicBezTo>
                    <a:pt x="41" y="18"/>
                    <a:pt x="40" y="19"/>
                    <a:pt x="38" y="20"/>
                  </a:cubicBezTo>
                  <a:cubicBezTo>
                    <a:pt x="3" y="49"/>
                    <a:pt x="3" y="49"/>
                    <a:pt x="3" y="49"/>
                  </a:cubicBezTo>
                  <a:cubicBezTo>
                    <a:pt x="1" y="51"/>
                    <a:pt x="0" y="54"/>
                    <a:pt x="0" y="58"/>
                  </a:cubicBezTo>
                  <a:cubicBezTo>
                    <a:pt x="0" y="59"/>
                    <a:pt x="0" y="60"/>
                    <a:pt x="1" y="61"/>
                  </a:cubicBezTo>
                  <a:lnTo>
                    <a:pt x="3" y="6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46" name="Freeform 289"/>
            <p:cNvSpPr>
              <a:spLocks/>
            </p:cNvSpPr>
            <p:nvPr/>
          </p:nvSpPr>
          <p:spPr bwMode="auto">
            <a:xfrm>
              <a:off x="-5229920" y="2526846"/>
              <a:ext cx="50550" cy="46737"/>
            </a:xfrm>
            <a:custGeom>
              <a:avLst/>
              <a:gdLst/>
              <a:ahLst/>
              <a:cxnLst>
                <a:cxn ang="0">
                  <a:pos x="4" y="11"/>
                </a:cxn>
                <a:cxn ang="0">
                  <a:pos x="5" y="9"/>
                </a:cxn>
                <a:cxn ang="0">
                  <a:pos x="4" y="9"/>
                </a:cxn>
                <a:cxn ang="0">
                  <a:pos x="4" y="8"/>
                </a:cxn>
                <a:cxn ang="0">
                  <a:pos x="5" y="6"/>
                </a:cxn>
                <a:cxn ang="0">
                  <a:pos x="8" y="4"/>
                </a:cxn>
                <a:cxn ang="0">
                  <a:pos x="9" y="4"/>
                </a:cxn>
                <a:cxn ang="0">
                  <a:pos x="10" y="6"/>
                </a:cxn>
                <a:cxn ang="0">
                  <a:pos x="9" y="8"/>
                </a:cxn>
                <a:cxn ang="0">
                  <a:pos x="6" y="9"/>
                </a:cxn>
                <a:cxn ang="0">
                  <a:pos x="5" y="9"/>
                </a:cxn>
                <a:cxn ang="0">
                  <a:pos x="4" y="11"/>
                </a:cxn>
                <a:cxn ang="0">
                  <a:pos x="3" y="13"/>
                </a:cxn>
                <a:cxn ang="0">
                  <a:pos x="6" y="13"/>
                </a:cxn>
                <a:cxn ang="0">
                  <a:pos x="13" y="11"/>
                </a:cxn>
                <a:cxn ang="0">
                  <a:pos x="14" y="6"/>
                </a:cxn>
                <a:cxn ang="0">
                  <a:pos x="12" y="1"/>
                </a:cxn>
                <a:cxn ang="0">
                  <a:pos x="8" y="0"/>
                </a:cxn>
                <a:cxn ang="0">
                  <a:pos x="2" y="3"/>
                </a:cxn>
                <a:cxn ang="0">
                  <a:pos x="0" y="8"/>
                </a:cxn>
                <a:cxn ang="0">
                  <a:pos x="1" y="11"/>
                </a:cxn>
                <a:cxn ang="0">
                  <a:pos x="3" y="13"/>
                </a:cxn>
                <a:cxn ang="0">
                  <a:pos x="4" y="11"/>
                </a:cxn>
              </a:cxnLst>
              <a:rect l="0" t="0" r="r" b="b"/>
              <a:pathLst>
                <a:path w="14" h="13">
                  <a:moveTo>
                    <a:pt x="4" y="1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7"/>
                    <a:pt x="4" y="7"/>
                    <a:pt x="5" y="6"/>
                  </a:cubicBezTo>
                  <a:cubicBezTo>
                    <a:pt x="6" y="4"/>
                    <a:pt x="7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0" y="5"/>
                    <a:pt x="10" y="5"/>
                    <a:pt x="10" y="6"/>
                  </a:cubicBezTo>
                  <a:cubicBezTo>
                    <a:pt x="10" y="7"/>
                    <a:pt x="10" y="7"/>
                    <a:pt x="9" y="8"/>
                  </a:cubicBezTo>
                  <a:cubicBezTo>
                    <a:pt x="9" y="9"/>
                    <a:pt x="7" y="9"/>
                    <a:pt x="6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4" y="13"/>
                    <a:pt x="5" y="13"/>
                    <a:pt x="6" y="13"/>
                  </a:cubicBezTo>
                  <a:cubicBezTo>
                    <a:pt x="8" y="13"/>
                    <a:pt x="11" y="12"/>
                    <a:pt x="13" y="11"/>
                  </a:cubicBezTo>
                  <a:cubicBezTo>
                    <a:pt x="14" y="9"/>
                    <a:pt x="14" y="8"/>
                    <a:pt x="14" y="6"/>
                  </a:cubicBezTo>
                  <a:cubicBezTo>
                    <a:pt x="14" y="4"/>
                    <a:pt x="13" y="2"/>
                    <a:pt x="12" y="1"/>
                  </a:cubicBezTo>
                  <a:cubicBezTo>
                    <a:pt x="11" y="0"/>
                    <a:pt x="9" y="0"/>
                    <a:pt x="8" y="0"/>
                  </a:cubicBezTo>
                  <a:cubicBezTo>
                    <a:pt x="6" y="0"/>
                    <a:pt x="3" y="1"/>
                    <a:pt x="2" y="3"/>
                  </a:cubicBezTo>
                  <a:cubicBezTo>
                    <a:pt x="0" y="5"/>
                    <a:pt x="0" y="6"/>
                    <a:pt x="0" y="8"/>
                  </a:cubicBezTo>
                  <a:cubicBezTo>
                    <a:pt x="0" y="9"/>
                    <a:pt x="0" y="10"/>
                    <a:pt x="1" y="11"/>
                  </a:cubicBezTo>
                  <a:cubicBezTo>
                    <a:pt x="1" y="12"/>
                    <a:pt x="2" y="12"/>
                    <a:pt x="3" y="13"/>
                  </a:cubicBezTo>
                  <a:lnTo>
                    <a:pt x="4" y="1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47" name="Freeform 290"/>
            <p:cNvSpPr>
              <a:spLocks/>
            </p:cNvSpPr>
            <p:nvPr/>
          </p:nvSpPr>
          <p:spPr bwMode="auto">
            <a:xfrm>
              <a:off x="-5172149" y="2558824"/>
              <a:ext cx="86656" cy="56574"/>
            </a:xfrm>
            <a:custGeom>
              <a:avLst/>
              <a:gdLst/>
              <a:ahLst/>
              <a:cxnLst>
                <a:cxn ang="0">
                  <a:pos x="3" y="6"/>
                </a:cxn>
                <a:cxn ang="0">
                  <a:pos x="5" y="6"/>
                </a:cxn>
                <a:cxn ang="0">
                  <a:pos x="5" y="5"/>
                </a:cxn>
                <a:cxn ang="0">
                  <a:pos x="7" y="4"/>
                </a:cxn>
                <a:cxn ang="0">
                  <a:pos x="7" y="4"/>
                </a:cxn>
                <a:cxn ang="0">
                  <a:pos x="8" y="5"/>
                </a:cxn>
                <a:cxn ang="0">
                  <a:pos x="17" y="8"/>
                </a:cxn>
                <a:cxn ang="0">
                  <a:pos x="19" y="10"/>
                </a:cxn>
                <a:cxn ang="0">
                  <a:pos x="19" y="10"/>
                </a:cxn>
                <a:cxn ang="0">
                  <a:pos x="17" y="11"/>
                </a:cxn>
                <a:cxn ang="0">
                  <a:pos x="15" y="11"/>
                </a:cxn>
                <a:cxn ang="0">
                  <a:pos x="13" y="11"/>
                </a:cxn>
                <a:cxn ang="0">
                  <a:pos x="8" y="10"/>
                </a:cxn>
                <a:cxn ang="0">
                  <a:pos x="6" y="8"/>
                </a:cxn>
                <a:cxn ang="0">
                  <a:pos x="5" y="6"/>
                </a:cxn>
                <a:cxn ang="0">
                  <a:pos x="3" y="6"/>
                </a:cxn>
                <a:cxn ang="0">
                  <a:pos x="0" y="6"/>
                </a:cxn>
                <a:cxn ang="0">
                  <a:pos x="2" y="11"/>
                </a:cxn>
                <a:cxn ang="0">
                  <a:pos x="7" y="14"/>
                </a:cxn>
                <a:cxn ang="0">
                  <a:pos x="12" y="15"/>
                </a:cxn>
                <a:cxn ang="0">
                  <a:pos x="15" y="15"/>
                </a:cxn>
                <a:cxn ang="0">
                  <a:pos x="19" y="15"/>
                </a:cxn>
                <a:cxn ang="0">
                  <a:pos x="22" y="13"/>
                </a:cxn>
                <a:cxn ang="0">
                  <a:pos x="23" y="10"/>
                </a:cxn>
                <a:cxn ang="0">
                  <a:pos x="19" y="4"/>
                </a:cxn>
                <a:cxn ang="0">
                  <a:pos x="9" y="0"/>
                </a:cxn>
                <a:cxn ang="0">
                  <a:pos x="8" y="0"/>
                </a:cxn>
                <a:cxn ang="0">
                  <a:pos x="7" y="0"/>
                </a:cxn>
                <a:cxn ang="0">
                  <a:pos x="2" y="2"/>
                </a:cxn>
                <a:cxn ang="0">
                  <a:pos x="0" y="6"/>
                </a:cxn>
                <a:cxn ang="0">
                  <a:pos x="3" y="6"/>
                </a:cxn>
              </a:cxnLst>
              <a:rect l="0" t="0" r="r" b="b"/>
              <a:pathLst>
                <a:path w="23" h="15">
                  <a:moveTo>
                    <a:pt x="3" y="6"/>
                  </a:moveTo>
                  <a:cubicBezTo>
                    <a:pt x="5" y="6"/>
                    <a:pt x="5" y="6"/>
                    <a:pt x="5" y="6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6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10" y="5"/>
                    <a:pt x="15" y="7"/>
                    <a:pt x="17" y="8"/>
                  </a:cubicBezTo>
                  <a:cubicBezTo>
                    <a:pt x="18" y="9"/>
                    <a:pt x="19" y="10"/>
                    <a:pt x="19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8" y="10"/>
                    <a:pt x="18" y="11"/>
                    <a:pt x="17" y="11"/>
                  </a:cubicBezTo>
                  <a:cubicBezTo>
                    <a:pt x="17" y="11"/>
                    <a:pt x="16" y="11"/>
                    <a:pt x="15" y="11"/>
                  </a:cubicBezTo>
                  <a:cubicBezTo>
                    <a:pt x="14" y="11"/>
                    <a:pt x="14" y="11"/>
                    <a:pt x="13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10"/>
                    <a:pt x="6" y="9"/>
                    <a:pt x="6" y="8"/>
                  </a:cubicBezTo>
                  <a:cubicBezTo>
                    <a:pt x="5" y="8"/>
                    <a:pt x="5" y="7"/>
                    <a:pt x="5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8"/>
                    <a:pt x="1" y="10"/>
                    <a:pt x="2" y="11"/>
                  </a:cubicBezTo>
                  <a:cubicBezTo>
                    <a:pt x="4" y="12"/>
                    <a:pt x="5" y="14"/>
                    <a:pt x="7" y="14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8" y="15"/>
                    <a:pt x="19" y="15"/>
                  </a:cubicBezTo>
                  <a:cubicBezTo>
                    <a:pt x="20" y="14"/>
                    <a:pt x="21" y="14"/>
                    <a:pt x="22" y="13"/>
                  </a:cubicBezTo>
                  <a:cubicBezTo>
                    <a:pt x="23" y="12"/>
                    <a:pt x="23" y="11"/>
                    <a:pt x="23" y="10"/>
                  </a:cubicBezTo>
                  <a:cubicBezTo>
                    <a:pt x="23" y="7"/>
                    <a:pt x="21" y="5"/>
                    <a:pt x="19" y="4"/>
                  </a:cubicBezTo>
                  <a:cubicBezTo>
                    <a:pt x="16" y="3"/>
                    <a:pt x="12" y="1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1"/>
                    <a:pt x="2" y="2"/>
                  </a:cubicBezTo>
                  <a:cubicBezTo>
                    <a:pt x="1" y="3"/>
                    <a:pt x="0" y="4"/>
                    <a:pt x="0" y="6"/>
                  </a:cubicBezTo>
                  <a:lnTo>
                    <a:pt x="3" y="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48" name="Freeform 291"/>
            <p:cNvSpPr>
              <a:spLocks/>
            </p:cNvSpPr>
            <p:nvPr/>
          </p:nvSpPr>
          <p:spPr bwMode="auto">
            <a:xfrm>
              <a:off x="-5030128" y="2418615"/>
              <a:ext cx="79434" cy="91013"/>
            </a:xfrm>
            <a:custGeom>
              <a:avLst/>
              <a:gdLst/>
              <a:ahLst/>
              <a:cxnLst>
                <a:cxn ang="0">
                  <a:pos x="4" y="13"/>
                </a:cxn>
                <a:cxn ang="0">
                  <a:pos x="5" y="12"/>
                </a:cxn>
                <a:cxn ang="0">
                  <a:pos x="5" y="10"/>
                </a:cxn>
                <a:cxn ang="0">
                  <a:pos x="6" y="9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5"/>
                </a:cxn>
                <a:cxn ang="0">
                  <a:pos x="16" y="6"/>
                </a:cxn>
                <a:cxn ang="0">
                  <a:pos x="14" y="18"/>
                </a:cxn>
                <a:cxn ang="0">
                  <a:pos x="13" y="20"/>
                </a:cxn>
                <a:cxn ang="0">
                  <a:pos x="13" y="20"/>
                </a:cxn>
                <a:cxn ang="0">
                  <a:pos x="13" y="20"/>
                </a:cxn>
                <a:cxn ang="0">
                  <a:pos x="13" y="20"/>
                </a:cxn>
                <a:cxn ang="0">
                  <a:pos x="13" y="20"/>
                </a:cxn>
                <a:cxn ang="0">
                  <a:pos x="13" y="20"/>
                </a:cxn>
                <a:cxn ang="0">
                  <a:pos x="13" y="20"/>
                </a:cxn>
                <a:cxn ang="0">
                  <a:pos x="13" y="20"/>
                </a:cxn>
                <a:cxn ang="0">
                  <a:pos x="12" y="19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2" y="14"/>
                </a:cxn>
                <a:cxn ang="0">
                  <a:pos x="9" y="22"/>
                </a:cxn>
                <a:cxn ang="0">
                  <a:pos x="13" y="24"/>
                </a:cxn>
                <a:cxn ang="0">
                  <a:pos x="16" y="23"/>
                </a:cxn>
                <a:cxn ang="0">
                  <a:pos x="18" y="19"/>
                </a:cxn>
                <a:cxn ang="0">
                  <a:pos x="20" y="7"/>
                </a:cxn>
                <a:cxn ang="0">
                  <a:pos x="21" y="5"/>
                </a:cxn>
                <a:cxn ang="0">
                  <a:pos x="20" y="2"/>
                </a:cxn>
                <a:cxn ang="0">
                  <a:pos x="16" y="0"/>
                </a:cxn>
                <a:cxn ang="0">
                  <a:pos x="14" y="0"/>
                </a:cxn>
                <a:cxn ang="0">
                  <a:pos x="4" y="5"/>
                </a:cxn>
                <a:cxn ang="0">
                  <a:pos x="0" y="10"/>
                </a:cxn>
                <a:cxn ang="0">
                  <a:pos x="2" y="14"/>
                </a:cxn>
                <a:cxn ang="0">
                  <a:pos x="4" y="13"/>
                </a:cxn>
              </a:cxnLst>
              <a:rect l="0" t="0" r="r" b="b"/>
              <a:pathLst>
                <a:path w="21" h="24">
                  <a:moveTo>
                    <a:pt x="4" y="13"/>
                  </a:moveTo>
                  <a:cubicBezTo>
                    <a:pt x="5" y="12"/>
                    <a:pt x="5" y="12"/>
                    <a:pt x="5" y="12"/>
                  </a:cubicBezTo>
                  <a:cubicBezTo>
                    <a:pt x="5" y="11"/>
                    <a:pt x="5" y="10"/>
                    <a:pt x="5" y="10"/>
                  </a:cubicBezTo>
                  <a:cubicBezTo>
                    <a:pt x="5" y="9"/>
                    <a:pt x="5" y="9"/>
                    <a:pt x="6" y="9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3" y="19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3"/>
                    <a:pt x="11" y="24"/>
                    <a:pt x="13" y="24"/>
                  </a:cubicBezTo>
                  <a:cubicBezTo>
                    <a:pt x="14" y="24"/>
                    <a:pt x="15" y="24"/>
                    <a:pt x="16" y="23"/>
                  </a:cubicBezTo>
                  <a:cubicBezTo>
                    <a:pt x="17" y="22"/>
                    <a:pt x="17" y="21"/>
                    <a:pt x="18" y="19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1" y="7"/>
                    <a:pt x="21" y="6"/>
                    <a:pt x="21" y="5"/>
                  </a:cubicBezTo>
                  <a:cubicBezTo>
                    <a:pt x="21" y="4"/>
                    <a:pt x="20" y="3"/>
                    <a:pt x="20" y="2"/>
                  </a:cubicBezTo>
                  <a:cubicBezTo>
                    <a:pt x="19" y="1"/>
                    <a:pt x="17" y="0"/>
                    <a:pt x="16" y="0"/>
                  </a:cubicBezTo>
                  <a:cubicBezTo>
                    <a:pt x="15" y="0"/>
                    <a:pt x="15" y="0"/>
                    <a:pt x="14" y="0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2" y="6"/>
                    <a:pt x="0" y="8"/>
                    <a:pt x="0" y="10"/>
                  </a:cubicBezTo>
                  <a:cubicBezTo>
                    <a:pt x="0" y="12"/>
                    <a:pt x="1" y="13"/>
                    <a:pt x="2" y="14"/>
                  </a:cubicBezTo>
                  <a:lnTo>
                    <a:pt x="4" y="1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49" name="Freeform 292"/>
            <p:cNvSpPr>
              <a:spLocks/>
            </p:cNvSpPr>
            <p:nvPr/>
          </p:nvSpPr>
          <p:spPr bwMode="auto">
            <a:xfrm>
              <a:off x="-5054199" y="2553904"/>
              <a:ext cx="113134" cy="127909"/>
            </a:xfrm>
            <a:custGeom>
              <a:avLst/>
              <a:gdLst/>
              <a:ahLst/>
              <a:cxnLst>
                <a:cxn ang="0">
                  <a:pos x="7" y="6"/>
                </a:cxn>
                <a:cxn ang="0">
                  <a:pos x="7" y="4"/>
                </a:cxn>
                <a:cxn ang="0">
                  <a:pos x="7" y="4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7" y="4"/>
                </a:cxn>
                <a:cxn ang="0">
                  <a:pos x="6" y="5"/>
                </a:cxn>
                <a:cxn ang="0">
                  <a:pos x="5" y="4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5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5" y="6"/>
                </a:cxn>
                <a:cxn ang="0">
                  <a:pos x="7" y="14"/>
                </a:cxn>
                <a:cxn ang="0">
                  <a:pos x="15" y="21"/>
                </a:cxn>
                <a:cxn ang="0">
                  <a:pos x="23" y="24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5" y="27"/>
                </a:cxn>
                <a:cxn ang="0">
                  <a:pos x="25" y="29"/>
                </a:cxn>
                <a:cxn ang="0">
                  <a:pos x="19" y="29"/>
                </a:cxn>
                <a:cxn ang="0">
                  <a:pos x="7" y="22"/>
                </a:cxn>
                <a:cxn ang="0">
                  <a:pos x="5" y="17"/>
                </a:cxn>
                <a:cxn ang="0">
                  <a:pos x="7" y="6"/>
                </a:cxn>
                <a:cxn ang="0">
                  <a:pos x="3" y="5"/>
                </a:cxn>
                <a:cxn ang="0">
                  <a:pos x="0" y="17"/>
                </a:cxn>
                <a:cxn ang="0">
                  <a:pos x="5" y="26"/>
                </a:cxn>
                <a:cxn ang="0">
                  <a:pos x="18" y="33"/>
                </a:cxn>
                <a:cxn ang="0">
                  <a:pos x="28" y="32"/>
                </a:cxn>
                <a:cxn ang="0">
                  <a:pos x="30" y="26"/>
                </a:cxn>
                <a:cxn ang="0">
                  <a:pos x="24" y="20"/>
                </a:cxn>
                <a:cxn ang="0">
                  <a:pos x="23" y="20"/>
                </a:cxn>
                <a:cxn ang="0">
                  <a:pos x="20" y="19"/>
                </a:cxn>
                <a:cxn ang="0">
                  <a:pos x="13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7" y="1"/>
                </a:cxn>
                <a:cxn ang="0">
                  <a:pos x="5" y="1"/>
                </a:cxn>
                <a:cxn ang="0">
                  <a:pos x="3" y="5"/>
                </a:cxn>
              </a:cxnLst>
              <a:rect l="0" t="0" r="r" b="b"/>
              <a:pathLst>
                <a:path w="30" h="34">
                  <a:moveTo>
                    <a:pt x="5" y="5"/>
                  </a:move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5"/>
                    <a:pt x="5" y="5"/>
                    <a:pt x="6" y="5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5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5"/>
                    <a:pt x="5" y="6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10"/>
                    <a:pt x="6" y="12"/>
                    <a:pt x="7" y="14"/>
                  </a:cubicBezTo>
                  <a:cubicBezTo>
                    <a:pt x="8" y="16"/>
                    <a:pt x="9" y="18"/>
                    <a:pt x="11" y="19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6" y="22"/>
                    <a:pt x="17" y="23"/>
                    <a:pt x="19" y="23"/>
                  </a:cubicBezTo>
                  <a:cubicBezTo>
                    <a:pt x="20" y="24"/>
                    <a:pt x="22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5" y="25"/>
                  </a:cubicBezTo>
                  <a:cubicBezTo>
                    <a:pt x="25" y="25"/>
                    <a:pt x="25" y="26"/>
                    <a:pt x="25" y="27"/>
                  </a:cubicBezTo>
                  <a:cubicBezTo>
                    <a:pt x="26" y="27"/>
                    <a:pt x="26" y="27"/>
                    <a:pt x="26" y="27"/>
                  </a:cubicBezTo>
                  <a:cubicBezTo>
                    <a:pt x="26" y="28"/>
                    <a:pt x="25" y="29"/>
                    <a:pt x="25" y="29"/>
                  </a:cubicBezTo>
                  <a:cubicBezTo>
                    <a:pt x="25" y="30"/>
                    <a:pt x="24" y="30"/>
                    <a:pt x="24" y="30"/>
                  </a:cubicBezTo>
                  <a:cubicBezTo>
                    <a:pt x="22" y="30"/>
                    <a:pt x="21" y="29"/>
                    <a:pt x="19" y="29"/>
                  </a:cubicBezTo>
                  <a:cubicBezTo>
                    <a:pt x="18" y="29"/>
                    <a:pt x="16" y="28"/>
                    <a:pt x="15" y="27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2"/>
                    <a:pt x="6" y="21"/>
                    <a:pt x="5" y="20"/>
                  </a:cubicBezTo>
                  <a:cubicBezTo>
                    <a:pt x="5" y="19"/>
                    <a:pt x="5" y="18"/>
                    <a:pt x="5" y="17"/>
                  </a:cubicBezTo>
                  <a:cubicBezTo>
                    <a:pt x="5" y="16"/>
                    <a:pt x="5" y="16"/>
                    <a:pt x="5" y="1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0" y="15"/>
                    <a:pt x="0" y="16"/>
                    <a:pt x="0" y="17"/>
                  </a:cubicBezTo>
                  <a:cubicBezTo>
                    <a:pt x="0" y="18"/>
                    <a:pt x="1" y="20"/>
                    <a:pt x="2" y="22"/>
                  </a:cubicBezTo>
                  <a:cubicBezTo>
                    <a:pt x="2" y="24"/>
                    <a:pt x="3" y="25"/>
                    <a:pt x="5" y="26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4" y="32"/>
                    <a:pt x="16" y="33"/>
                    <a:pt x="18" y="33"/>
                  </a:cubicBezTo>
                  <a:cubicBezTo>
                    <a:pt x="20" y="34"/>
                    <a:pt x="22" y="34"/>
                    <a:pt x="24" y="34"/>
                  </a:cubicBezTo>
                  <a:cubicBezTo>
                    <a:pt x="25" y="34"/>
                    <a:pt x="27" y="33"/>
                    <a:pt x="28" y="32"/>
                  </a:cubicBezTo>
                  <a:cubicBezTo>
                    <a:pt x="29" y="31"/>
                    <a:pt x="30" y="29"/>
                    <a:pt x="30" y="27"/>
                  </a:cubicBezTo>
                  <a:cubicBezTo>
                    <a:pt x="30" y="27"/>
                    <a:pt x="30" y="27"/>
                    <a:pt x="30" y="26"/>
                  </a:cubicBezTo>
                  <a:cubicBezTo>
                    <a:pt x="29" y="25"/>
                    <a:pt x="29" y="23"/>
                    <a:pt x="28" y="22"/>
                  </a:cubicBezTo>
                  <a:cubicBezTo>
                    <a:pt x="27" y="21"/>
                    <a:pt x="26" y="20"/>
                    <a:pt x="24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2" y="20"/>
                    <a:pt x="21" y="20"/>
                    <a:pt x="20" y="19"/>
                  </a:cubicBezTo>
                  <a:cubicBezTo>
                    <a:pt x="19" y="19"/>
                    <a:pt x="18" y="18"/>
                    <a:pt x="17" y="18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2" y="14"/>
                    <a:pt x="11" y="12"/>
                  </a:cubicBezTo>
                  <a:cubicBezTo>
                    <a:pt x="10" y="10"/>
                    <a:pt x="9" y="9"/>
                    <a:pt x="9" y="7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8" y="2"/>
                    <a:pt x="8" y="2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1"/>
                    <a:pt x="5" y="1"/>
                  </a:cubicBezTo>
                  <a:cubicBezTo>
                    <a:pt x="4" y="1"/>
                    <a:pt x="4" y="1"/>
                    <a:pt x="4" y="2"/>
                  </a:cubicBezTo>
                  <a:cubicBezTo>
                    <a:pt x="3" y="3"/>
                    <a:pt x="3" y="4"/>
                    <a:pt x="3" y="5"/>
                  </a:cubicBezTo>
                  <a:lnTo>
                    <a:pt x="5" y="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50" name="Freeform 293"/>
            <p:cNvSpPr>
              <a:spLocks/>
            </p:cNvSpPr>
            <p:nvPr/>
          </p:nvSpPr>
          <p:spPr bwMode="auto">
            <a:xfrm>
              <a:off x="-5126413" y="2482569"/>
              <a:ext cx="52957" cy="61496"/>
            </a:xfrm>
            <a:custGeom>
              <a:avLst/>
              <a:gdLst/>
              <a:ahLst/>
              <a:cxnLst>
                <a:cxn ang="0">
                  <a:pos x="2" y="8"/>
                </a:cxn>
                <a:cxn ang="0">
                  <a:pos x="4" y="8"/>
                </a:cxn>
                <a:cxn ang="0">
                  <a:pos x="5" y="6"/>
                </a:cxn>
                <a:cxn ang="0">
                  <a:pos x="7" y="4"/>
                </a:cxn>
                <a:cxn ang="0">
                  <a:pos x="9" y="5"/>
                </a:cxn>
                <a:cxn ang="0">
                  <a:pos x="10" y="8"/>
                </a:cxn>
                <a:cxn ang="0">
                  <a:pos x="10" y="8"/>
                </a:cxn>
                <a:cxn ang="0">
                  <a:pos x="8" y="11"/>
                </a:cxn>
                <a:cxn ang="0">
                  <a:pos x="6" y="12"/>
                </a:cxn>
                <a:cxn ang="0">
                  <a:pos x="5" y="11"/>
                </a:cxn>
                <a:cxn ang="0">
                  <a:pos x="4" y="9"/>
                </a:cxn>
                <a:cxn ang="0">
                  <a:pos x="4" y="8"/>
                </a:cxn>
                <a:cxn ang="0">
                  <a:pos x="2" y="8"/>
                </a:cxn>
                <a:cxn ang="0">
                  <a:pos x="0" y="8"/>
                </a:cxn>
                <a:cxn ang="0">
                  <a:pos x="0" y="9"/>
                </a:cxn>
                <a:cxn ang="0">
                  <a:pos x="2" y="14"/>
                </a:cxn>
                <a:cxn ang="0">
                  <a:pos x="6" y="16"/>
                </a:cxn>
                <a:cxn ang="0">
                  <a:pos x="12" y="14"/>
                </a:cxn>
                <a:cxn ang="0">
                  <a:pos x="14" y="8"/>
                </a:cxn>
                <a:cxn ang="0">
                  <a:pos x="14" y="8"/>
                </a:cxn>
                <a:cxn ang="0">
                  <a:pos x="12" y="3"/>
                </a:cxn>
                <a:cxn ang="0">
                  <a:pos x="7" y="0"/>
                </a:cxn>
                <a:cxn ang="0">
                  <a:pos x="2" y="3"/>
                </a:cxn>
                <a:cxn ang="0">
                  <a:pos x="0" y="8"/>
                </a:cxn>
                <a:cxn ang="0">
                  <a:pos x="2" y="8"/>
                </a:cxn>
              </a:cxnLst>
              <a:rect l="0" t="0" r="r" b="b"/>
              <a:pathLst>
                <a:path w="14" h="16">
                  <a:moveTo>
                    <a:pt x="2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4" y="7"/>
                    <a:pt x="5" y="6"/>
                    <a:pt x="5" y="6"/>
                  </a:cubicBezTo>
                  <a:cubicBezTo>
                    <a:pt x="6" y="5"/>
                    <a:pt x="7" y="4"/>
                    <a:pt x="7" y="4"/>
                  </a:cubicBezTo>
                  <a:cubicBezTo>
                    <a:pt x="8" y="4"/>
                    <a:pt x="8" y="5"/>
                    <a:pt x="9" y="5"/>
                  </a:cubicBezTo>
                  <a:cubicBezTo>
                    <a:pt x="9" y="6"/>
                    <a:pt x="10" y="7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9"/>
                    <a:pt x="9" y="10"/>
                    <a:pt x="8" y="11"/>
                  </a:cubicBezTo>
                  <a:cubicBezTo>
                    <a:pt x="8" y="12"/>
                    <a:pt x="7" y="12"/>
                    <a:pt x="6" y="12"/>
                  </a:cubicBezTo>
                  <a:cubicBezTo>
                    <a:pt x="6" y="12"/>
                    <a:pt x="5" y="12"/>
                    <a:pt x="5" y="11"/>
                  </a:cubicBezTo>
                  <a:cubicBezTo>
                    <a:pt x="4" y="11"/>
                    <a:pt x="4" y="10"/>
                    <a:pt x="4" y="9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3"/>
                    <a:pt x="2" y="14"/>
                  </a:cubicBezTo>
                  <a:cubicBezTo>
                    <a:pt x="3" y="15"/>
                    <a:pt x="4" y="16"/>
                    <a:pt x="6" y="16"/>
                  </a:cubicBezTo>
                  <a:cubicBezTo>
                    <a:pt x="9" y="16"/>
                    <a:pt x="10" y="15"/>
                    <a:pt x="12" y="14"/>
                  </a:cubicBezTo>
                  <a:cubicBezTo>
                    <a:pt x="13" y="12"/>
                    <a:pt x="14" y="11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6"/>
                    <a:pt x="13" y="4"/>
                    <a:pt x="12" y="3"/>
                  </a:cubicBezTo>
                  <a:cubicBezTo>
                    <a:pt x="11" y="1"/>
                    <a:pt x="9" y="0"/>
                    <a:pt x="7" y="0"/>
                  </a:cubicBezTo>
                  <a:cubicBezTo>
                    <a:pt x="5" y="0"/>
                    <a:pt x="3" y="1"/>
                    <a:pt x="2" y="3"/>
                  </a:cubicBezTo>
                  <a:cubicBezTo>
                    <a:pt x="1" y="4"/>
                    <a:pt x="0" y="6"/>
                    <a:pt x="0" y="8"/>
                  </a:cubicBezTo>
                  <a:lnTo>
                    <a:pt x="2" y="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51" name="Freeform 294"/>
            <p:cNvSpPr>
              <a:spLocks/>
            </p:cNvSpPr>
            <p:nvPr/>
          </p:nvSpPr>
          <p:spPr bwMode="auto">
            <a:xfrm>
              <a:off x="-4844781" y="3505842"/>
              <a:ext cx="117949" cy="98392"/>
            </a:xfrm>
            <a:custGeom>
              <a:avLst/>
              <a:gdLst/>
              <a:ahLst/>
              <a:cxnLst>
                <a:cxn ang="0">
                  <a:pos x="4" y="6"/>
                </a:cxn>
                <a:cxn ang="0">
                  <a:pos x="5" y="4"/>
                </a:cxn>
                <a:cxn ang="0">
                  <a:pos x="4" y="4"/>
                </a:cxn>
                <a:cxn ang="0">
                  <a:pos x="4" y="3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3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3" y="4"/>
                </a:cxn>
                <a:cxn ang="0">
                  <a:pos x="4" y="5"/>
                </a:cxn>
                <a:cxn ang="0">
                  <a:pos x="4" y="4"/>
                </a:cxn>
                <a:cxn ang="0">
                  <a:pos x="3" y="4"/>
                </a:cxn>
                <a:cxn ang="0">
                  <a:pos x="4" y="5"/>
                </a:cxn>
                <a:cxn ang="0">
                  <a:pos x="3" y="4"/>
                </a:cxn>
                <a:cxn ang="0">
                  <a:pos x="4" y="5"/>
                </a:cxn>
                <a:cxn ang="0">
                  <a:pos x="4" y="5"/>
                </a:cxn>
                <a:cxn ang="0">
                  <a:pos x="3" y="4"/>
                </a:cxn>
                <a:cxn ang="0">
                  <a:pos x="4" y="5"/>
                </a:cxn>
                <a:cxn ang="0">
                  <a:pos x="4" y="5"/>
                </a:cxn>
                <a:cxn ang="0">
                  <a:pos x="4" y="5"/>
                </a:cxn>
                <a:cxn ang="0">
                  <a:pos x="15" y="6"/>
                </a:cxn>
                <a:cxn ang="0">
                  <a:pos x="18" y="8"/>
                </a:cxn>
                <a:cxn ang="0">
                  <a:pos x="22" y="11"/>
                </a:cxn>
                <a:cxn ang="0">
                  <a:pos x="26" y="17"/>
                </a:cxn>
                <a:cxn ang="0">
                  <a:pos x="27" y="19"/>
                </a:cxn>
                <a:cxn ang="0">
                  <a:pos x="26" y="21"/>
                </a:cxn>
                <a:cxn ang="0">
                  <a:pos x="25" y="22"/>
                </a:cxn>
                <a:cxn ang="0">
                  <a:pos x="21" y="20"/>
                </a:cxn>
                <a:cxn ang="0">
                  <a:pos x="5" y="4"/>
                </a:cxn>
                <a:cxn ang="0">
                  <a:pos x="4" y="6"/>
                </a:cxn>
                <a:cxn ang="0">
                  <a:pos x="2" y="7"/>
                </a:cxn>
                <a:cxn ang="0">
                  <a:pos x="18" y="23"/>
                </a:cxn>
                <a:cxn ang="0">
                  <a:pos x="25" y="26"/>
                </a:cxn>
                <a:cxn ang="0">
                  <a:pos x="29" y="25"/>
                </a:cxn>
                <a:cxn ang="0">
                  <a:pos x="31" y="19"/>
                </a:cxn>
                <a:cxn ang="0">
                  <a:pos x="30" y="14"/>
                </a:cxn>
                <a:cxn ang="0">
                  <a:pos x="25" y="9"/>
                </a:cxn>
                <a:cxn ang="0">
                  <a:pos x="21" y="4"/>
                </a:cxn>
                <a:cxn ang="0">
                  <a:pos x="15" y="2"/>
                </a:cxn>
                <a:cxn ang="0">
                  <a:pos x="5" y="1"/>
                </a:cxn>
                <a:cxn ang="0">
                  <a:pos x="4" y="0"/>
                </a:cxn>
                <a:cxn ang="0">
                  <a:pos x="1" y="1"/>
                </a:cxn>
                <a:cxn ang="0">
                  <a:pos x="0" y="4"/>
                </a:cxn>
                <a:cxn ang="0">
                  <a:pos x="1" y="6"/>
                </a:cxn>
                <a:cxn ang="0">
                  <a:pos x="2" y="7"/>
                </a:cxn>
                <a:cxn ang="0">
                  <a:pos x="4" y="6"/>
                </a:cxn>
              </a:cxnLst>
              <a:rect l="0" t="0" r="r" b="b"/>
              <a:pathLst>
                <a:path w="31" h="26">
                  <a:moveTo>
                    <a:pt x="4" y="6"/>
                  </a:move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6" y="7"/>
                    <a:pt x="17" y="7"/>
                    <a:pt x="18" y="8"/>
                  </a:cubicBezTo>
                  <a:cubicBezTo>
                    <a:pt x="20" y="9"/>
                    <a:pt x="21" y="10"/>
                    <a:pt x="22" y="11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7" y="18"/>
                    <a:pt x="27" y="18"/>
                    <a:pt x="27" y="19"/>
                  </a:cubicBezTo>
                  <a:cubicBezTo>
                    <a:pt x="27" y="20"/>
                    <a:pt x="27" y="21"/>
                    <a:pt x="26" y="21"/>
                  </a:cubicBezTo>
                  <a:cubicBezTo>
                    <a:pt x="25" y="22"/>
                    <a:pt x="25" y="22"/>
                    <a:pt x="25" y="22"/>
                  </a:cubicBezTo>
                  <a:cubicBezTo>
                    <a:pt x="23" y="22"/>
                    <a:pt x="22" y="21"/>
                    <a:pt x="21" y="20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20" y="25"/>
                    <a:pt x="22" y="26"/>
                    <a:pt x="25" y="26"/>
                  </a:cubicBezTo>
                  <a:cubicBezTo>
                    <a:pt x="26" y="26"/>
                    <a:pt x="28" y="25"/>
                    <a:pt x="29" y="25"/>
                  </a:cubicBezTo>
                  <a:cubicBezTo>
                    <a:pt x="31" y="23"/>
                    <a:pt x="31" y="21"/>
                    <a:pt x="31" y="19"/>
                  </a:cubicBezTo>
                  <a:cubicBezTo>
                    <a:pt x="31" y="17"/>
                    <a:pt x="31" y="16"/>
                    <a:pt x="30" y="14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4" y="7"/>
                    <a:pt x="23" y="6"/>
                    <a:pt x="21" y="4"/>
                  </a:cubicBezTo>
                  <a:cubicBezTo>
                    <a:pt x="19" y="3"/>
                    <a:pt x="17" y="2"/>
                    <a:pt x="15" y="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2" y="1"/>
                    <a:pt x="1" y="1"/>
                  </a:cubicBezTo>
                  <a:cubicBezTo>
                    <a:pt x="1" y="2"/>
                    <a:pt x="0" y="3"/>
                    <a:pt x="0" y="4"/>
                  </a:cubicBezTo>
                  <a:cubicBezTo>
                    <a:pt x="0" y="4"/>
                    <a:pt x="0" y="5"/>
                    <a:pt x="1" y="6"/>
                  </a:cubicBezTo>
                  <a:cubicBezTo>
                    <a:pt x="2" y="7"/>
                    <a:pt x="2" y="7"/>
                    <a:pt x="2" y="7"/>
                  </a:cubicBezTo>
                  <a:lnTo>
                    <a:pt x="4" y="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52" name="Freeform 295"/>
            <p:cNvSpPr>
              <a:spLocks/>
            </p:cNvSpPr>
            <p:nvPr/>
          </p:nvSpPr>
          <p:spPr bwMode="auto">
            <a:xfrm>
              <a:off x="-4454828" y="2664594"/>
              <a:ext cx="96285" cy="56576"/>
            </a:xfrm>
            <a:custGeom>
              <a:avLst/>
              <a:gdLst/>
              <a:ahLst/>
              <a:cxnLst>
                <a:cxn ang="0">
                  <a:pos x="3" y="7"/>
                </a:cxn>
                <a:cxn ang="0">
                  <a:pos x="5" y="7"/>
                </a:cxn>
                <a:cxn ang="0">
                  <a:pos x="5" y="6"/>
                </a:cxn>
                <a:cxn ang="0">
                  <a:pos x="5" y="4"/>
                </a:cxn>
                <a:cxn ang="0">
                  <a:pos x="7" y="4"/>
                </a:cxn>
                <a:cxn ang="0">
                  <a:pos x="17" y="4"/>
                </a:cxn>
                <a:cxn ang="0">
                  <a:pos x="19" y="5"/>
                </a:cxn>
                <a:cxn ang="0">
                  <a:pos x="20" y="7"/>
                </a:cxn>
                <a:cxn ang="0">
                  <a:pos x="20" y="8"/>
                </a:cxn>
                <a:cxn ang="0">
                  <a:pos x="20" y="10"/>
                </a:cxn>
                <a:cxn ang="0">
                  <a:pos x="18" y="11"/>
                </a:cxn>
                <a:cxn ang="0">
                  <a:pos x="9" y="11"/>
                </a:cxn>
                <a:cxn ang="0">
                  <a:pos x="6" y="10"/>
                </a:cxn>
                <a:cxn ang="0">
                  <a:pos x="5" y="7"/>
                </a:cxn>
                <a:cxn ang="0">
                  <a:pos x="3" y="7"/>
                </a:cxn>
                <a:cxn ang="0">
                  <a:pos x="1" y="8"/>
                </a:cxn>
                <a:cxn ang="0">
                  <a:pos x="4" y="13"/>
                </a:cxn>
                <a:cxn ang="0">
                  <a:pos x="9" y="15"/>
                </a:cxn>
                <a:cxn ang="0">
                  <a:pos x="18" y="15"/>
                </a:cxn>
                <a:cxn ang="0">
                  <a:pos x="23" y="13"/>
                </a:cxn>
                <a:cxn ang="0">
                  <a:pos x="25" y="8"/>
                </a:cxn>
                <a:cxn ang="0">
                  <a:pos x="25" y="7"/>
                </a:cxn>
                <a:cxn ang="0">
                  <a:pos x="22" y="2"/>
                </a:cxn>
                <a:cxn ang="0">
                  <a:pos x="17" y="0"/>
                </a:cxn>
                <a:cxn ang="0">
                  <a:pos x="7" y="0"/>
                </a:cxn>
                <a:cxn ang="0">
                  <a:pos x="2" y="1"/>
                </a:cxn>
                <a:cxn ang="0">
                  <a:pos x="0" y="6"/>
                </a:cxn>
                <a:cxn ang="0">
                  <a:pos x="1" y="8"/>
                </a:cxn>
                <a:cxn ang="0">
                  <a:pos x="3" y="7"/>
                </a:cxn>
              </a:cxnLst>
              <a:rect l="0" t="0" r="r" b="b"/>
              <a:pathLst>
                <a:path w="25" h="15">
                  <a:moveTo>
                    <a:pt x="3" y="7"/>
                  </a:move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5"/>
                    <a:pt x="5" y="5"/>
                    <a:pt x="5" y="4"/>
                  </a:cubicBezTo>
                  <a:cubicBezTo>
                    <a:pt x="6" y="4"/>
                    <a:pt x="6" y="4"/>
                    <a:pt x="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9" y="5"/>
                  </a:cubicBezTo>
                  <a:cubicBezTo>
                    <a:pt x="20" y="6"/>
                    <a:pt x="20" y="6"/>
                    <a:pt x="20" y="7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9"/>
                    <a:pt x="20" y="9"/>
                    <a:pt x="20" y="10"/>
                  </a:cubicBezTo>
                  <a:cubicBezTo>
                    <a:pt x="19" y="10"/>
                    <a:pt x="19" y="11"/>
                    <a:pt x="18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8" y="11"/>
                    <a:pt x="7" y="10"/>
                    <a:pt x="6" y="10"/>
                  </a:cubicBezTo>
                  <a:cubicBezTo>
                    <a:pt x="6" y="9"/>
                    <a:pt x="5" y="8"/>
                    <a:pt x="5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10"/>
                    <a:pt x="2" y="11"/>
                    <a:pt x="4" y="13"/>
                  </a:cubicBezTo>
                  <a:cubicBezTo>
                    <a:pt x="5" y="14"/>
                    <a:pt x="7" y="15"/>
                    <a:pt x="9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0" y="15"/>
                    <a:pt x="22" y="14"/>
                    <a:pt x="23" y="13"/>
                  </a:cubicBezTo>
                  <a:cubicBezTo>
                    <a:pt x="24" y="12"/>
                    <a:pt x="25" y="10"/>
                    <a:pt x="25" y="8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4" y="5"/>
                    <a:pt x="24" y="3"/>
                    <a:pt x="22" y="2"/>
                  </a:cubicBezTo>
                  <a:cubicBezTo>
                    <a:pt x="21" y="0"/>
                    <a:pt x="19" y="0"/>
                    <a:pt x="1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1"/>
                  </a:cubicBezTo>
                  <a:cubicBezTo>
                    <a:pt x="1" y="3"/>
                    <a:pt x="0" y="4"/>
                    <a:pt x="0" y="6"/>
                  </a:cubicBezTo>
                  <a:cubicBezTo>
                    <a:pt x="0" y="7"/>
                    <a:pt x="0" y="7"/>
                    <a:pt x="1" y="8"/>
                  </a:cubicBezTo>
                  <a:lnTo>
                    <a:pt x="3" y="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53" name="Freeform 296"/>
            <p:cNvSpPr>
              <a:spLocks/>
            </p:cNvSpPr>
            <p:nvPr/>
          </p:nvSpPr>
          <p:spPr bwMode="auto">
            <a:xfrm>
              <a:off x="-3431802" y="2822020"/>
              <a:ext cx="86656" cy="164807"/>
            </a:xfrm>
            <a:custGeom>
              <a:avLst/>
              <a:gdLst/>
              <a:ahLst/>
              <a:cxnLst>
                <a:cxn ang="0">
                  <a:pos x="3" y="9"/>
                </a:cxn>
                <a:cxn ang="0">
                  <a:pos x="1" y="15"/>
                </a:cxn>
                <a:cxn ang="0">
                  <a:pos x="6" y="21"/>
                </a:cxn>
                <a:cxn ang="0">
                  <a:pos x="6" y="23"/>
                </a:cxn>
                <a:cxn ang="0">
                  <a:pos x="2" y="34"/>
                </a:cxn>
                <a:cxn ang="0">
                  <a:pos x="0" y="40"/>
                </a:cxn>
                <a:cxn ang="0">
                  <a:pos x="0" y="42"/>
                </a:cxn>
                <a:cxn ang="0">
                  <a:pos x="2" y="44"/>
                </a:cxn>
                <a:cxn ang="0">
                  <a:pos x="4" y="43"/>
                </a:cxn>
                <a:cxn ang="0">
                  <a:pos x="15" y="37"/>
                </a:cxn>
                <a:cxn ang="0">
                  <a:pos x="23" y="24"/>
                </a:cxn>
                <a:cxn ang="0">
                  <a:pos x="14" y="7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3"/>
                </a:cxn>
                <a:cxn ang="0">
                  <a:pos x="10" y="0"/>
                </a:cxn>
                <a:cxn ang="0">
                  <a:pos x="4" y="4"/>
                </a:cxn>
                <a:cxn ang="0">
                  <a:pos x="5" y="9"/>
                </a:cxn>
                <a:cxn ang="0">
                  <a:pos x="8" y="6"/>
                </a:cxn>
                <a:cxn ang="0">
                  <a:pos x="10" y="5"/>
                </a:cxn>
                <a:cxn ang="0">
                  <a:pos x="10" y="4"/>
                </a:cxn>
                <a:cxn ang="0">
                  <a:pos x="10" y="5"/>
                </a:cxn>
                <a:cxn ang="0">
                  <a:pos x="10" y="5"/>
                </a:cxn>
                <a:cxn ang="0">
                  <a:pos x="9" y="4"/>
                </a:cxn>
                <a:cxn ang="0">
                  <a:pos x="10" y="3"/>
                </a:cxn>
                <a:cxn ang="0">
                  <a:pos x="10" y="3"/>
                </a:cxn>
                <a:cxn ang="0">
                  <a:pos x="9" y="4"/>
                </a:cxn>
                <a:cxn ang="0">
                  <a:pos x="8" y="3"/>
                </a:cxn>
                <a:cxn ang="0">
                  <a:pos x="8" y="3"/>
                </a:cxn>
                <a:cxn ang="0">
                  <a:pos x="9" y="3"/>
                </a:cxn>
                <a:cxn ang="0">
                  <a:pos x="8" y="3"/>
                </a:cxn>
                <a:cxn ang="0">
                  <a:pos x="9" y="7"/>
                </a:cxn>
                <a:cxn ang="0">
                  <a:pos x="19" y="24"/>
                </a:cxn>
                <a:cxn ang="0">
                  <a:pos x="10" y="35"/>
                </a:cxn>
                <a:cxn ang="0">
                  <a:pos x="2" y="40"/>
                </a:cxn>
                <a:cxn ang="0">
                  <a:pos x="2" y="41"/>
                </a:cxn>
                <a:cxn ang="0">
                  <a:pos x="2" y="40"/>
                </a:cxn>
                <a:cxn ang="0">
                  <a:pos x="2" y="40"/>
                </a:cxn>
                <a:cxn ang="0">
                  <a:pos x="4" y="41"/>
                </a:cxn>
                <a:cxn ang="0">
                  <a:pos x="2" y="42"/>
                </a:cxn>
                <a:cxn ang="0">
                  <a:pos x="2" y="42"/>
                </a:cxn>
                <a:cxn ang="0">
                  <a:pos x="4" y="41"/>
                </a:cxn>
                <a:cxn ang="0">
                  <a:pos x="4" y="42"/>
                </a:cxn>
                <a:cxn ang="0">
                  <a:pos x="4" y="42"/>
                </a:cxn>
                <a:cxn ang="0">
                  <a:pos x="3" y="42"/>
                </a:cxn>
                <a:cxn ang="0">
                  <a:pos x="5" y="41"/>
                </a:cxn>
                <a:cxn ang="0">
                  <a:pos x="7" y="34"/>
                </a:cxn>
                <a:cxn ang="0">
                  <a:pos x="10" y="23"/>
                </a:cxn>
                <a:cxn ang="0">
                  <a:pos x="9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5" y="9"/>
                </a:cxn>
              </a:cxnLst>
              <a:rect l="0" t="0" r="r" b="b"/>
              <a:pathLst>
                <a:path w="23" h="44">
                  <a:moveTo>
                    <a:pt x="5" y="9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3" y="10"/>
                    <a:pt x="2" y="11"/>
                    <a:pt x="2" y="11"/>
                  </a:cubicBezTo>
                  <a:cubicBezTo>
                    <a:pt x="2" y="12"/>
                    <a:pt x="1" y="13"/>
                    <a:pt x="1" y="15"/>
                  </a:cubicBezTo>
                  <a:cubicBezTo>
                    <a:pt x="1" y="16"/>
                    <a:pt x="2" y="18"/>
                    <a:pt x="3" y="19"/>
                  </a:cubicBezTo>
                  <a:cubicBezTo>
                    <a:pt x="4" y="20"/>
                    <a:pt x="5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2"/>
                    <a:pt x="6" y="22"/>
                    <a:pt x="6" y="23"/>
                  </a:cubicBezTo>
                  <a:cubicBezTo>
                    <a:pt x="6" y="24"/>
                    <a:pt x="5" y="26"/>
                    <a:pt x="4" y="28"/>
                  </a:cubicBezTo>
                  <a:cubicBezTo>
                    <a:pt x="3" y="30"/>
                    <a:pt x="2" y="32"/>
                    <a:pt x="2" y="34"/>
                  </a:cubicBezTo>
                  <a:cubicBezTo>
                    <a:pt x="2" y="35"/>
                    <a:pt x="2" y="36"/>
                    <a:pt x="1" y="38"/>
                  </a:cubicBezTo>
                  <a:cubicBezTo>
                    <a:pt x="1" y="38"/>
                    <a:pt x="1" y="39"/>
                    <a:pt x="0" y="40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41"/>
                    <a:pt x="0" y="41"/>
                    <a:pt x="0" y="42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" y="44"/>
                    <a:pt x="2" y="44"/>
                    <a:pt x="2" y="4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4" y="43"/>
                    <a:pt x="4" y="43"/>
                    <a:pt x="4" y="43"/>
                  </a:cubicBezTo>
                  <a:cubicBezTo>
                    <a:pt x="5" y="43"/>
                    <a:pt x="6" y="42"/>
                    <a:pt x="7" y="41"/>
                  </a:cubicBezTo>
                  <a:cubicBezTo>
                    <a:pt x="10" y="40"/>
                    <a:pt x="12" y="39"/>
                    <a:pt x="15" y="37"/>
                  </a:cubicBezTo>
                  <a:cubicBezTo>
                    <a:pt x="18" y="35"/>
                    <a:pt x="20" y="33"/>
                    <a:pt x="21" y="31"/>
                  </a:cubicBezTo>
                  <a:cubicBezTo>
                    <a:pt x="23" y="29"/>
                    <a:pt x="23" y="26"/>
                    <a:pt x="23" y="24"/>
                  </a:cubicBezTo>
                  <a:cubicBezTo>
                    <a:pt x="23" y="19"/>
                    <a:pt x="22" y="15"/>
                    <a:pt x="19" y="12"/>
                  </a:cubicBezTo>
                  <a:cubicBezTo>
                    <a:pt x="17" y="10"/>
                    <a:pt x="16" y="9"/>
                    <a:pt x="14" y="7"/>
                  </a:cubicBezTo>
                  <a:cubicBezTo>
                    <a:pt x="14" y="6"/>
                    <a:pt x="13" y="5"/>
                    <a:pt x="13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2"/>
                    <a:pt x="12" y="2"/>
                    <a:pt x="12" y="1"/>
                  </a:cubicBezTo>
                  <a:cubicBezTo>
                    <a:pt x="11" y="1"/>
                    <a:pt x="10" y="0"/>
                    <a:pt x="10" y="0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6" y="2"/>
                    <a:pt x="5" y="3"/>
                    <a:pt x="4" y="4"/>
                  </a:cubicBezTo>
                  <a:cubicBezTo>
                    <a:pt x="3" y="6"/>
                    <a:pt x="3" y="7"/>
                    <a:pt x="3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8"/>
                    <a:pt x="8" y="7"/>
                    <a:pt x="8" y="6"/>
                  </a:cubicBezTo>
                  <a:cubicBezTo>
                    <a:pt x="9" y="6"/>
                    <a:pt x="9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5"/>
                    <a:pt x="10" y="5"/>
                    <a:pt x="10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4"/>
                    <a:pt x="9" y="4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5"/>
                    <a:pt x="8" y="6"/>
                    <a:pt x="9" y="7"/>
                  </a:cubicBezTo>
                  <a:cubicBezTo>
                    <a:pt x="10" y="9"/>
                    <a:pt x="13" y="12"/>
                    <a:pt x="16" y="15"/>
                  </a:cubicBezTo>
                  <a:cubicBezTo>
                    <a:pt x="18" y="17"/>
                    <a:pt x="19" y="20"/>
                    <a:pt x="19" y="24"/>
                  </a:cubicBezTo>
                  <a:cubicBezTo>
                    <a:pt x="19" y="26"/>
                    <a:pt x="19" y="27"/>
                    <a:pt x="18" y="29"/>
                  </a:cubicBezTo>
                  <a:cubicBezTo>
                    <a:pt x="17" y="30"/>
                    <a:pt x="13" y="33"/>
                    <a:pt x="10" y="35"/>
                  </a:cubicBezTo>
                  <a:cubicBezTo>
                    <a:pt x="9" y="36"/>
                    <a:pt x="7" y="37"/>
                    <a:pt x="5" y="38"/>
                  </a:cubicBezTo>
                  <a:cubicBezTo>
                    <a:pt x="4" y="39"/>
                    <a:pt x="3" y="39"/>
                    <a:pt x="2" y="40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3" y="40"/>
                    <a:pt x="3" y="40"/>
                    <a:pt x="2" y="40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4" y="42"/>
                    <a:pt x="4" y="42"/>
                    <a:pt x="5" y="41"/>
                  </a:cubicBezTo>
                  <a:cubicBezTo>
                    <a:pt x="5" y="40"/>
                    <a:pt x="5" y="39"/>
                    <a:pt x="6" y="38"/>
                  </a:cubicBezTo>
                  <a:cubicBezTo>
                    <a:pt x="6" y="37"/>
                    <a:pt x="7" y="36"/>
                    <a:pt x="7" y="34"/>
                  </a:cubicBezTo>
                  <a:cubicBezTo>
                    <a:pt x="7" y="33"/>
                    <a:pt x="7" y="32"/>
                    <a:pt x="8" y="30"/>
                  </a:cubicBezTo>
                  <a:cubicBezTo>
                    <a:pt x="9" y="28"/>
                    <a:pt x="10" y="26"/>
                    <a:pt x="10" y="23"/>
                  </a:cubicBezTo>
                  <a:cubicBezTo>
                    <a:pt x="10" y="22"/>
                    <a:pt x="10" y="21"/>
                    <a:pt x="10" y="20"/>
                  </a:cubicBezTo>
                  <a:cubicBezTo>
                    <a:pt x="10" y="20"/>
                    <a:pt x="9" y="19"/>
                    <a:pt x="9" y="18"/>
                  </a:cubicBezTo>
                  <a:cubicBezTo>
                    <a:pt x="8" y="18"/>
                    <a:pt x="8" y="17"/>
                    <a:pt x="7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5"/>
                    <a:pt x="5" y="14"/>
                    <a:pt x="6" y="13"/>
                  </a:cubicBezTo>
                  <a:cubicBezTo>
                    <a:pt x="6" y="12"/>
                    <a:pt x="7" y="11"/>
                    <a:pt x="7" y="9"/>
                  </a:cubicBezTo>
                  <a:lnTo>
                    <a:pt x="5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54" name="Freeform 297"/>
            <p:cNvSpPr>
              <a:spLocks/>
            </p:cNvSpPr>
            <p:nvPr/>
          </p:nvSpPr>
          <p:spPr bwMode="auto">
            <a:xfrm>
              <a:off x="-3487167" y="2888436"/>
              <a:ext cx="64993" cy="66414"/>
            </a:xfrm>
            <a:custGeom>
              <a:avLst/>
              <a:gdLst/>
              <a:ahLst/>
              <a:cxnLst>
                <a:cxn ang="0">
                  <a:pos x="10" y="2"/>
                </a:cxn>
                <a:cxn ang="0">
                  <a:pos x="10" y="4"/>
                </a:cxn>
                <a:cxn ang="0">
                  <a:pos x="13" y="5"/>
                </a:cxn>
                <a:cxn ang="0">
                  <a:pos x="14" y="6"/>
                </a:cxn>
                <a:cxn ang="0">
                  <a:pos x="14" y="6"/>
                </a:cxn>
                <a:cxn ang="0">
                  <a:pos x="14" y="6"/>
                </a:cxn>
                <a:cxn ang="0">
                  <a:pos x="14" y="6"/>
                </a:cxn>
                <a:cxn ang="0">
                  <a:pos x="14" y="6"/>
                </a:cxn>
                <a:cxn ang="0">
                  <a:pos x="14" y="6"/>
                </a:cxn>
                <a:cxn ang="0">
                  <a:pos x="14" y="6"/>
                </a:cxn>
                <a:cxn ang="0">
                  <a:pos x="14" y="6"/>
                </a:cxn>
                <a:cxn ang="0">
                  <a:pos x="12" y="10"/>
                </a:cxn>
                <a:cxn ang="0">
                  <a:pos x="11" y="11"/>
                </a:cxn>
                <a:cxn ang="0">
                  <a:pos x="10" y="12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1"/>
                </a:cxn>
                <a:cxn ang="0">
                  <a:pos x="7" y="6"/>
                </a:cxn>
                <a:cxn ang="0">
                  <a:pos x="10" y="4"/>
                </a:cxn>
                <a:cxn ang="0">
                  <a:pos x="10" y="2"/>
                </a:cxn>
                <a:cxn ang="0">
                  <a:pos x="10" y="0"/>
                </a:cxn>
                <a:cxn ang="0">
                  <a:pos x="4" y="3"/>
                </a:cxn>
                <a:cxn ang="0">
                  <a:pos x="0" y="10"/>
                </a:cxn>
                <a:cxn ang="0">
                  <a:pos x="0" y="12"/>
                </a:cxn>
                <a:cxn ang="0">
                  <a:pos x="2" y="16"/>
                </a:cxn>
                <a:cxn ang="0">
                  <a:pos x="6" y="17"/>
                </a:cxn>
                <a:cxn ang="0">
                  <a:pos x="11" y="16"/>
                </a:cxn>
                <a:cxn ang="0">
                  <a:pos x="14" y="14"/>
                </a:cxn>
                <a:cxn ang="0">
                  <a:pos x="16" y="11"/>
                </a:cxn>
                <a:cxn ang="0">
                  <a:pos x="18" y="8"/>
                </a:cxn>
                <a:cxn ang="0">
                  <a:pos x="18" y="6"/>
                </a:cxn>
                <a:cxn ang="0">
                  <a:pos x="17" y="3"/>
                </a:cxn>
                <a:cxn ang="0">
                  <a:pos x="13" y="1"/>
                </a:cxn>
                <a:cxn ang="0">
                  <a:pos x="10" y="0"/>
                </a:cxn>
                <a:cxn ang="0">
                  <a:pos x="10" y="2"/>
                </a:cxn>
              </a:cxnLst>
              <a:rect l="0" t="0" r="r" b="b"/>
              <a:pathLst>
                <a:path w="18" h="17">
                  <a:moveTo>
                    <a:pt x="10" y="2"/>
                  </a:move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2" y="4"/>
                    <a:pt x="13" y="5"/>
                  </a:cubicBezTo>
                  <a:cubicBezTo>
                    <a:pt x="13" y="5"/>
                    <a:pt x="14" y="5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8"/>
                    <a:pt x="12" y="9"/>
                    <a:pt x="12" y="10"/>
                  </a:cubicBezTo>
                  <a:cubicBezTo>
                    <a:pt x="12" y="10"/>
                    <a:pt x="12" y="11"/>
                    <a:pt x="11" y="11"/>
                  </a:cubicBezTo>
                  <a:cubicBezTo>
                    <a:pt x="11" y="11"/>
                    <a:pt x="11" y="11"/>
                    <a:pt x="10" y="12"/>
                  </a:cubicBezTo>
                  <a:cubicBezTo>
                    <a:pt x="8" y="12"/>
                    <a:pt x="7" y="12"/>
                    <a:pt x="6" y="12"/>
                  </a:cubicBezTo>
                  <a:cubicBezTo>
                    <a:pt x="5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5" y="9"/>
                    <a:pt x="6" y="7"/>
                    <a:pt x="7" y="6"/>
                  </a:cubicBezTo>
                  <a:cubicBezTo>
                    <a:pt x="8" y="5"/>
                    <a:pt x="9" y="4"/>
                    <a:pt x="10" y="4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0"/>
                    <a:pt x="6" y="1"/>
                    <a:pt x="4" y="3"/>
                  </a:cubicBezTo>
                  <a:cubicBezTo>
                    <a:pt x="2" y="4"/>
                    <a:pt x="1" y="7"/>
                    <a:pt x="0" y="10"/>
                  </a:cubicBezTo>
                  <a:cubicBezTo>
                    <a:pt x="0" y="10"/>
                    <a:pt x="0" y="11"/>
                    <a:pt x="0" y="12"/>
                  </a:cubicBezTo>
                  <a:cubicBezTo>
                    <a:pt x="0" y="13"/>
                    <a:pt x="1" y="15"/>
                    <a:pt x="2" y="16"/>
                  </a:cubicBezTo>
                  <a:cubicBezTo>
                    <a:pt x="3" y="17"/>
                    <a:pt x="5" y="17"/>
                    <a:pt x="6" y="17"/>
                  </a:cubicBezTo>
                  <a:cubicBezTo>
                    <a:pt x="8" y="17"/>
                    <a:pt x="9" y="16"/>
                    <a:pt x="11" y="16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3"/>
                    <a:pt x="16" y="12"/>
                    <a:pt x="16" y="11"/>
                  </a:cubicBezTo>
                  <a:cubicBezTo>
                    <a:pt x="17" y="10"/>
                    <a:pt x="17" y="9"/>
                    <a:pt x="18" y="8"/>
                  </a:cubicBezTo>
                  <a:cubicBezTo>
                    <a:pt x="18" y="7"/>
                    <a:pt x="18" y="7"/>
                    <a:pt x="18" y="6"/>
                  </a:cubicBezTo>
                  <a:cubicBezTo>
                    <a:pt x="18" y="5"/>
                    <a:pt x="18" y="3"/>
                    <a:pt x="17" y="3"/>
                  </a:cubicBezTo>
                  <a:cubicBezTo>
                    <a:pt x="16" y="2"/>
                    <a:pt x="15" y="1"/>
                    <a:pt x="13" y="1"/>
                  </a:cubicBezTo>
                  <a:cubicBezTo>
                    <a:pt x="12" y="0"/>
                    <a:pt x="11" y="0"/>
                    <a:pt x="10" y="0"/>
                  </a:cubicBezTo>
                  <a:lnTo>
                    <a:pt x="1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55" name="Freeform 298"/>
            <p:cNvSpPr>
              <a:spLocks/>
            </p:cNvSpPr>
            <p:nvPr/>
          </p:nvSpPr>
          <p:spPr bwMode="auto">
            <a:xfrm>
              <a:off x="-5085493" y="2418615"/>
              <a:ext cx="9628" cy="1584105"/>
            </a:xfrm>
            <a:custGeom>
              <a:avLst/>
              <a:gdLst/>
              <a:ahLst/>
              <a:cxnLst>
                <a:cxn ang="0">
                  <a:pos x="2" y="421"/>
                </a:cxn>
                <a:cxn ang="0">
                  <a:pos x="0" y="0"/>
                </a:cxn>
              </a:cxnLst>
              <a:rect l="0" t="0" r="r" b="b"/>
              <a:pathLst>
                <a:path w="2" h="421">
                  <a:moveTo>
                    <a:pt x="2" y="421"/>
                  </a:moveTo>
                  <a:cubicBezTo>
                    <a:pt x="0" y="340"/>
                    <a:pt x="0" y="0"/>
                    <a:pt x="0" y="0"/>
                  </a:cubicBezTo>
                </a:path>
              </a:pathLst>
            </a:custGeom>
            <a:solidFill>
              <a:srgbClr val="0094C3"/>
            </a:solidFill>
            <a:ln w="6350" cap="flat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56" name="Freeform 299"/>
            <p:cNvSpPr>
              <a:spLocks/>
            </p:cNvSpPr>
            <p:nvPr/>
          </p:nvSpPr>
          <p:spPr bwMode="auto">
            <a:xfrm>
              <a:off x="-2902237" y="2418615"/>
              <a:ext cx="647514" cy="164805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36" y="198"/>
                </a:cxn>
                <a:cxn ang="0">
                  <a:pos x="170" y="438"/>
                </a:cxn>
              </a:cxnLst>
              <a:rect l="0" t="0" r="r" b="b"/>
              <a:pathLst>
                <a:path w="172" h="438">
                  <a:moveTo>
                    <a:pt x="0" y="0"/>
                  </a:moveTo>
                  <a:cubicBezTo>
                    <a:pt x="73" y="63"/>
                    <a:pt x="120" y="122"/>
                    <a:pt x="136" y="198"/>
                  </a:cubicBezTo>
                  <a:cubicBezTo>
                    <a:pt x="152" y="274"/>
                    <a:pt x="172" y="418"/>
                    <a:pt x="170" y="438"/>
                  </a:cubicBezTo>
                </a:path>
              </a:pathLst>
            </a:custGeom>
            <a:noFill/>
            <a:ln w="6350" cap="flat">
              <a:solidFill>
                <a:srgbClr val="0094C3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</p:grpSp>
      <p:grpSp>
        <p:nvGrpSpPr>
          <p:cNvPr id="4" name="Group 21"/>
          <p:cNvGrpSpPr>
            <a:grpSpLocks/>
          </p:cNvGrpSpPr>
          <p:nvPr userDrawn="1">
            <p:custDataLst>
              <p:tags r:id="rId2"/>
            </p:custDataLst>
          </p:nvPr>
        </p:nvGrpSpPr>
        <p:grpSpPr bwMode="auto">
          <a:xfrm>
            <a:off x="5857867" y="1496681"/>
            <a:ext cx="2850972" cy="1243192"/>
            <a:chOff x="6450011" y="3926681"/>
            <a:chExt cx="3425034" cy="1653383"/>
          </a:xfrm>
        </p:grpSpPr>
        <p:sp>
          <p:nvSpPr>
            <p:cNvPr id="30" name="Oval 22"/>
            <p:cNvSpPr/>
            <p:nvPr/>
          </p:nvSpPr>
          <p:spPr>
            <a:xfrm>
              <a:off x="6821694" y="4042484"/>
              <a:ext cx="55785" cy="57006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31" name="Oval 23"/>
            <p:cNvSpPr/>
            <p:nvPr/>
          </p:nvSpPr>
          <p:spPr>
            <a:xfrm>
              <a:off x="6449799" y="4283171"/>
              <a:ext cx="55785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32" name="Oval 24"/>
            <p:cNvSpPr/>
            <p:nvPr/>
          </p:nvSpPr>
          <p:spPr>
            <a:xfrm>
              <a:off x="6528310" y="4500635"/>
              <a:ext cx="55785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33" name="Oval 25"/>
            <p:cNvSpPr/>
            <p:nvPr/>
          </p:nvSpPr>
          <p:spPr>
            <a:xfrm>
              <a:off x="6685332" y="4680095"/>
              <a:ext cx="55785" cy="57006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34" name="Oval 26"/>
            <p:cNvSpPr/>
            <p:nvPr/>
          </p:nvSpPr>
          <p:spPr>
            <a:xfrm>
              <a:off x="7234911" y="5150914"/>
              <a:ext cx="55785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35" name="Oval 27"/>
            <p:cNvSpPr/>
            <p:nvPr/>
          </p:nvSpPr>
          <p:spPr>
            <a:xfrm>
              <a:off x="6968386" y="5484499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36" name="Oval 28"/>
            <p:cNvSpPr/>
            <p:nvPr/>
          </p:nvSpPr>
          <p:spPr>
            <a:xfrm>
              <a:off x="7121277" y="5524613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37" name="Oval 29"/>
            <p:cNvSpPr/>
            <p:nvPr/>
          </p:nvSpPr>
          <p:spPr>
            <a:xfrm>
              <a:off x="9819582" y="5476054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38" name="Oval 30"/>
            <p:cNvSpPr/>
            <p:nvPr/>
          </p:nvSpPr>
          <p:spPr>
            <a:xfrm>
              <a:off x="9272069" y="4965120"/>
              <a:ext cx="55785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39" name="Oval 31"/>
            <p:cNvSpPr/>
            <p:nvPr/>
          </p:nvSpPr>
          <p:spPr>
            <a:xfrm>
              <a:off x="9323722" y="4696985"/>
              <a:ext cx="55784" cy="57006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40" name="Oval 32"/>
            <p:cNvSpPr/>
            <p:nvPr/>
          </p:nvSpPr>
          <p:spPr>
            <a:xfrm>
              <a:off x="9410497" y="4726543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41" name="Oval 33"/>
            <p:cNvSpPr/>
            <p:nvPr/>
          </p:nvSpPr>
          <p:spPr>
            <a:xfrm>
              <a:off x="9418761" y="4589310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42" name="Oval 34"/>
            <p:cNvSpPr/>
            <p:nvPr/>
          </p:nvSpPr>
          <p:spPr>
            <a:xfrm>
              <a:off x="9096452" y="4399293"/>
              <a:ext cx="55784" cy="5700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43" name="Oval 35"/>
            <p:cNvSpPr/>
            <p:nvPr/>
          </p:nvSpPr>
          <p:spPr>
            <a:xfrm>
              <a:off x="8933231" y="4684318"/>
              <a:ext cx="55785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44" name="Oval 36"/>
            <p:cNvSpPr/>
            <p:nvPr/>
          </p:nvSpPr>
          <p:spPr>
            <a:xfrm>
              <a:off x="8600592" y="4547084"/>
              <a:ext cx="55784" cy="5700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45" name="Oval 37"/>
            <p:cNvSpPr/>
            <p:nvPr/>
          </p:nvSpPr>
          <p:spPr>
            <a:xfrm>
              <a:off x="8612989" y="4673762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46" name="Oval 38"/>
            <p:cNvSpPr/>
            <p:nvPr/>
          </p:nvSpPr>
          <p:spPr>
            <a:xfrm>
              <a:off x="8369191" y="4378180"/>
              <a:ext cx="55784" cy="5700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47" name="Oval 39"/>
            <p:cNvSpPr/>
            <p:nvPr/>
          </p:nvSpPr>
          <p:spPr>
            <a:xfrm>
              <a:off x="7844406" y="4437297"/>
              <a:ext cx="55784" cy="5700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48" name="Oval 40"/>
            <p:cNvSpPr/>
            <p:nvPr/>
          </p:nvSpPr>
          <p:spPr>
            <a:xfrm>
              <a:off x="7914653" y="4259948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49" name="Oval 41"/>
            <p:cNvSpPr/>
            <p:nvPr/>
          </p:nvSpPr>
          <p:spPr>
            <a:xfrm>
              <a:off x="7982833" y="4259948"/>
              <a:ext cx="55785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50" name="Oval 42"/>
            <p:cNvSpPr/>
            <p:nvPr/>
          </p:nvSpPr>
          <p:spPr>
            <a:xfrm>
              <a:off x="8053080" y="4173384"/>
              <a:ext cx="55785" cy="57006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51" name="Oval 43"/>
            <p:cNvSpPr/>
            <p:nvPr/>
          </p:nvSpPr>
          <p:spPr>
            <a:xfrm>
              <a:off x="8030353" y="4048818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52" name="Oval 44"/>
            <p:cNvSpPr/>
            <p:nvPr/>
          </p:nvSpPr>
          <p:spPr>
            <a:xfrm>
              <a:off x="8137790" y="3926363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53" name="Oval 45"/>
            <p:cNvSpPr/>
            <p:nvPr/>
          </p:nvSpPr>
          <p:spPr>
            <a:xfrm>
              <a:off x="8212169" y="3966477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54" name="Oval 46"/>
            <p:cNvSpPr/>
            <p:nvPr/>
          </p:nvSpPr>
          <p:spPr>
            <a:xfrm>
              <a:off x="8146054" y="4034039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55" name="Oval 47"/>
            <p:cNvSpPr/>
            <p:nvPr/>
          </p:nvSpPr>
          <p:spPr>
            <a:xfrm>
              <a:off x="8086137" y="4124825"/>
              <a:ext cx="55785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56" name="Oval 48"/>
            <p:cNvSpPr/>
            <p:nvPr/>
          </p:nvSpPr>
          <p:spPr>
            <a:xfrm>
              <a:off x="8150186" y="4116380"/>
              <a:ext cx="55784" cy="5700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57" name="Oval 49"/>
            <p:cNvSpPr/>
            <p:nvPr/>
          </p:nvSpPr>
          <p:spPr>
            <a:xfrm>
              <a:off x="8205970" y="4148048"/>
              <a:ext cx="53718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58" name="Oval 50"/>
            <p:cNvSpPr/>
            <p:nvPr/>
          </p:nvSpPr>
          <p:spPr>
            <a:xfrm>
              <a:off x="8241094" y="4198720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59" name="Oval 51"/>
            <p:cNvSpPr/>
            <p:nvPr/>
          </p:nvSpPr>
          <p:spPr>
            <a:xfrm>
              <a:off x="8243159" y="4259948"/>
              <a:ext cx="55785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60" name="Oval 52"/>
            <p:cNvSpPr/>
            <p:nvPr/>
          </p:nvSpPr>
          <p:spPr>
            <a:xfrm>
              <a:off x="8170847" y="4276838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61" name="Oval 53"/>
            <p:cNvSpPr/>
            <p:nvPr/>
          </p:nvSpPr>
          <p:spPr>
            <a:xfrm>
              <a:off x="8129525" y="4202942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</p:grpSp>
      <p:pic>
        <p:nvPicPr>
          <p:cNvPr id="365" name="Picture 364" descr="1394032025_46-facebook.png"/>
          <p:cNvPicPr>
            <a:picLocks noChangeAspect="1"/>
          </p:cNvPicPr>
          <p:nvPr userDrawn="1"/>
        </p:nvPicPr>
        <p:blipFill>
          <a:blip r:embed="rId8" cstate="screen"/>
          <a:stretch>
            <a:fillRect/>
          </a:stretch>
        </p:blipFill>
        <p:spPr>
          <a:xfrm>
            <a:off x="5405031" y="4005064"/>
            <a:ext cx="624000" cy="576000"/>
          </a:xfrm>
          <a:prstGeom prst="rect">
            <a:avLst/>
          </a:prstGeom>
        </p:spPr>
      </p:pic>
      <p:pic>
        <p:nvPicPr>
          <p:cNvPr id="366" name="Picture 365" descr="1394032040_11-linkedin.png"/>
          <p:cNvPicPr>
            <a:picLocks noChangeAspect="1"/>
          </p:cNvPicPr>
          <p:nvPr userDrawn="1"/>
        </p:nvPicPr>
        <p:blipFill>
          <a:blip r:embed="rId9" cstate="screen"/>
          <a:stretch>
            <a:fillRect/>
          </a:stretch>
        </p:blipFill>
        <p:spPr>
          <a:xfrm>
            <a:off x="6328131" y="4023064"/>
            <a:ext cx="585000" cy="540000"/>
          </a:xfrm>
          <a:prstGeom prst="rect">
            <a:avLst/>
          </a:prstGeom>
        </p:spPr>
      </p:pic>
      <p:pic>
        <p:nvPicPr>
          <p:cNvPr id="367" name="Picture 366" descr="1394031971_45-twitter.png"/>
          <p:cNvPicPr>
            <a:picLocks noChangeAspect="1"/>
          </p:cNvPicPr>
          <p:nvPr userDrawn="1"/>
        </p:nvPicPr>
        <p:blipFill>
          <a:blip r:embed="rId10" cstate="screen"/>
          <a:stretch>
            <a:fillRect/>
          </a:stretch>
        </p:blipFill>
        <p:spPr>
          <a:xfrm>
            <a:off x="7212232" y="4005064"/>
            <a:ext cx="624000" cy="576000"/>
          </a:xfrm>
          <a:prstGeom prst="rect">
            <a:avLst/>
          </a:prstGeom>
        </p:spPr>
      </p:pic>
      <p:pic>
        <p:nvPicPr>
          <p:cNvPr id="368" name="Picture 367" descr="1394031976_18-youtube.png"/>
          <p:cNvPicPr>
            <a:picLocks noChangeAspect="1"/>
          </p:cNvPicPr>
          <p:nvPr userDrawn="1"/>
        </p:nvPicPr>
        <p:blipFill>
          <a:blip r:embed="rId11" cstate="screen"/>
          <a:stretch>
            <a:fillRect/>
          </a:stretch>
        </p:blipFill>
        <p:spPr>
          <a:xfrm>
            <a:off x="8135334" y="4005064"/>
            <a:ext cx="624000" cy="576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812034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813058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14082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15106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816130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820226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821250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22274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0986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1224000"/>
            <a:ext cx="9906000" cy="1188000"/>
          </a:xfrm>
        </p:spPr>
        <p:txBody>
          <a:bodyPr tIns="180000" anchor="ctr" anchorCtr="0"/>
          <a:lstStyle>
            <a:lvl1pPr>
              <a:defRPr b="1" cap="small" baseline="0"/>
            </a:lvl1pPr>
          </a:lstStyle>
          <a:p>
            <a:r>
              <a:rPr lang="en-US" noProof="0" dirty="0" smtClean="0"/>
              <a:t>Click to edit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0" y="2543176"/>
            <a:ext cx="9906000" cy="3552825"/>
          </a:xfrm>
        </p:spPr>
        <p:txBody>
          <a:bodyPr/>
          <a:lstStyle>
            <a:lvl1pPr marL="265113" indent="-265113">
              <a:defRPr/>
            </a:lvl1pPr>
            <a:lvl2pPr>
              <a:defRPr/>
            </a:lvl2pPr>
            <a:lvl3pPr>
              <a:buNone/>
              <a:defRPr/>
            </a:lvl3pPr>
            <a:lvl4pPr>
              <a:buNone/>
              <a:defRPr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</p:txBody>
      </p:sp>
    </p:spTree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823298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824322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25346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26370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827394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831490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832514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33538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8" cstate="print"/>
          <a:srcRect l="278" r="761"/>
          <a:stretch>
            <a:fillRect/>
          </a:stretch>
        </p:blipFill>
        <p:spPr>
          <a:xfrm>
            <a:off x="0" y="1039369"/>
            <a:ext cx="9906000" cy="5420808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54978" name="think-cell Slide" r:id="rId9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23"/>
            <a:ext cx="5415248" cy="241491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spcBef>
                <a:spcPct val="0"/>
              </a:spcBef>
              <a:buNone/>
              <a:defRPr lang="en-US" sz="2800" b="1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49" y="3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defTabSz="914400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sp>
        <p:nvSpPr>
          <p:cNvPr id="11" name="Rectangle 10"/>
          <p:cNvSpPr/>
          <p:nvPr userDrawn="1">
            <p:custDataLst>
              <p:tags r:id="rId5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 defTabSz="914400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12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6291771" y="6520699"/>
            <a:ext cx="3251544" cy="239021"/>
          </a:xfrm>
          <a:prstGeom prst="rect">
            <a:avLst/>
          </a:prstGeom>
          <a:noFill/>
        </p:spPr>
      </p:pic>
      <p:pic>
        <p:nvPicPr>
          <p:cNvPr id="13" name="Picture 12" descr="capgemini_rgb.jpg"/>
          <p:cNvPicPr>
            <a:picLocks noChangeAspect="1"/>
          </p:cNvPicPr>
          <p:nvPr userDrawn="1"/>
        </p:nvPicPr>
        <p:blipFill>
          <a:blip r:embed="rId11" cstate="print"/>
          <a:stretch>
            <a:fillRect/>
          </a:stretch>
        </p:blipFill>
        <p:spPr>
          <a:xfrm>
            <a:off x="696811" y="514697"/>
            <a:ext cx="3397420" cy="958698"/>
          </a:xfrm>
          <a:prstGeom prst="rect">
            <a:avLst/>
          </a:prstGeom>
        </p:spPr>
      </p:pic>
      <p:pic>
        <p:nvPicPr>
          <p:cNvPr id="14" name="Picture 2" descr="Git">
            <a:hlinkClick r:id="rId12"/>
          </p:cNvPr>
          <p:cNvPicPr>
            <a:picLocks noChangeAspect="1" noChangeArrowheads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7059237" y="620688"/>
            <a:ext cx="2051962" cy="792088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834562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835586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36610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37634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838658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2" name="Picture 2" descr="D:\Users\sbandyop\Downloads\ACE VI_FINAL_woman with mobile.png"/>
          <p:cNvPicPr>
            <a:picLocks noChangeAspect="1" noChangeArrowheads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3302000" y="1905005"/>
            <a:ext cx="6438900" cy="2960117"/>
          </a:xfrm>
          <a:prstGeom prst="rect">
            <a:avLst/>
          </a:prstGeom>
          <a:noFill/>
        </p:spPr>
      </p:pic>
      <p:pic>
        <p:nvPicPr>
          <p:cNvPr id="12" name="Picture 11" descr="Header_Title Slide_PPT Template_3.png"/>
          <p:cNvPicPr>
            <a:picLocks noChangeAspect="1"/>
          </p:cNvPicPr>
          <p:nvPr/>
        </p:nvPicPr>
        <p:blipFill>
          <a:blip r:embed="rId5" cstate="email"/>
          <a:stretch>
            <a:fillRect/>
          </a:stretch>
        </p:blipFill>
        <p:spPr>
          <a:xfrm>
            <a:off x="0" y="6"/>
            <a:ext cx="9906000" cy="2516697"/>
          </a:xfrm>
          <a:prstGeom prst="rect">
            <a:avLst/>
          </a:prstGeom>
        </p:spPr>
      </p:pic>
      <p:pic>
        <p:nvPicPr>
          <p:cNvPr id="22" name="Picture 21" descr="Header_PPT Template.png"/>
          <p:cNvPicPr>
            <a:picLocks noChangeAspect="1"/>
          </p:cNvPicPr>
          <p:nvPr/>
        </p:nvPicPr>
        <p:blipFill>
          <a:blip r:embed="rId6" cstate="email"/>
          <a:stretch>
            <a:fillRect/>
          </a:stretch>
        </p:blipFill>
        <p:spPr>
          <a:xfrm>
            <a:off x="0" y="0"/>
            <a:ext cx="9906000" cy="2516696"/>
          </a:xfrm>
          <a:prstGeom prst="rect">
            <a:avLst/>
          </a:prstGeom>
        </p:spPr>
      </p:pic>
      <p:pic>
        <p:nvPicPr>
          <p:cNvPr id="23" name="Picture 22" descr="capgemini logo.png"/>
          <p:cNvPicPr>
            <a:picLocks noChangeAspect="1"/>
          </p:cNvPicPr>
          <p:nvPr/>
        </p:nvPicPr>
        <p:blipFill>
          <a:blip r:embed="rId7" cstate="email">
            <a:lum bright="100000"/>
          </a:blip>
          <a:stretch>
            <a:fillRect/>
          </a:stretch>
        </p:blipFill>
        <p:spPr>
          <a:xfrm>
            <a:off x="428497" y="625237"/>
            <a:ext cx="2995200" cy="643531"/>
          </a:xfrm>
          <a:prstGeom prst="rect">
            <a:avLst/>
          </a:prstGeom>
        </p:spPr>
      </p:pic>
      <p:pic>
        <p:nvPicPr>
          <p:cNvPr id="26" name="Picture 25" descr="Footer_PPT Template_2.png"/>
          <p:cNvPicPr preferRelativeResize="0">
            <a:picLocks/>
          </p:cNvPicPr>
          <p:nvPr/>
        </p:nvPicPr>
        <p:blipFill>
          <a:blip r:embed="rId8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7" name="Image 7" descr="Capgemini_Slogan_RGB.png"/>
          <p:cNvPicPr>
            <a:picLocks noChangeAspect="1"/>
          </p:cNvPicPr>
          <p:nvPr/>
        </p:nvPicPr>
        <p:blipFill>
          <a:blip r:embed="rId9" cstate="email">
            <a:lum bright="100000"/>
          </a:blip>
          <a:stretch>
            <a:fillRect/>
          </a:stretch>
        </p:blipFill>
        <p:spPr>
          <a:xfrm>
            <a:off x="6747199" y="6390281"/>
            <a:ext cx="2925000" cy="27908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4" y="4202089"/>
            <a:ext cx="9905999" cy="1512168"/>
          </a:xfrm>
        </p:spPr>
        <p:txBody>
          <a:bodyPr anchor="b">
            <a:noAutofit/>
          </a:bodyPr>
          <a:lstStyle>
            <a:lvl1pPr algn="l">
              <a:defRPr sz="4800" b="0" spc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-2746" y="5672400"/>
            <a:ext cx="9910389" cy="576000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11" name="Picture 10" descr="logo.png"/>
          <p:cNvPicPr>
            <a:picLocks noChangeAspect="1"/>
          </p:cNvPicPr>
          <p:nvPr userDrawn="1"/>
        </p:nvPicPr>
        <p:blipFill>
          <a:blip r:embed="rId10" cstate="email">
            <a:lum bright="100000"/>
          </a:blip>
          <a:stretch>
            <a:fillRect/>
          </a:stretch>
        </p:blipFill>
        <p:spPr>
          <a:xfrm>
            <a:off x="7800511" y="260649"/>
            <a:ext cx="1755000" cy="122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861365275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test1.jpg"/>
          <p:cNvPicPr>
            <a:picLocks noChangeAspect="1"/>
          </p:cNvPicPr>
          <p:nvPr userDrawn="1"/>
        </p:nvPicPr>
        <p:blipFill>
          <a:blip r:embed="rId9" cstate="print"/>
          <a:srcRect l="240" t="25" r="260" b="533"/>
          <a:stretch>
            <a:fillRect/>
          </a:stretch>
        </p:blipFill>
        <p:spPr>
          <a:xfrm>
            <a:off x="0" y="1324099"/>
            <a:ext cx="9906000" cy="5533901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47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57026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706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4540683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4" y="4551798"/>
            <a:ext cx="4541230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tx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 descr="mw2.jpg"/>
          <p:cNvPicPr>
            <a:picLocks noChangeAspect="1"/>
          </p:cNvPicPr>
          <p:nvPr userDrawn="1"/>
        </p:nvPicPr>
        <p:blipFill>
          <a:blip r:embed="rId4" cstate="email"/>
          <a:stretch>
            <a:fillRect/>
          </a:stretch>
        </p:blipFill>
        <p:spPr>
          <a:xfrm>
            <a:off x="0" y="2"/>
            <a:ext cx="9906000" cy="5325133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222" cy="158750"/>
        </p:xfrm>
        <a:graphic>
          <a:graphicData uri="http://schemas.openxmlformats.org/presentationml/2006/ole">
            <p:oleObj spid="_x0000_s843778" name="think-cell Slide" r:id="rId5" imgW="360" imgH="360" progId="">
              <p:embed/>
            </p:oleObj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/>
        </p:nvGraphicFramePr>
        <p:xfrm>
          <a:off x="0" y="0"/>
          <a:ext cx="158222" cy="158750"/>
        </p:xfrm>
        <a:graphic>
          <a:graphicData uri="http://schemas.openxmlformats.org/presentationml/2006/ole">
            <p:oleObj spid="_x0000_s843779" name="think-cell Slide" r:id="rId6" imgW="360" imgH="360" progId="">
              <p:embed/>
            </p:oleObj>
          </a:graphicData>
        </a:graphic>
      </p:graphicFrame>
      <p:sp>
        <p:nvSpPr>
          <p:cNvPr id="43" name="Rectangle 7"/>
          <p:cNvSpPr/>
          <p:nvPr>
            <p:custDataLst>
              <p:tags r:id="rId2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xmlns="" val="4143894643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7701" name="Picture 5" descr="http://talent.capgemini.com/media_library/Medias/News_Illustrations/mobile_transformation.jpg"/>
          <p:cNvPicPr>
            <a:picLocks noChangeAspect="1" noChangeArrowheads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" y="0"/>
            <a:ext cx="9905999" cy="48006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222" cy="158750"/>
        </p:xfrm>
        <a:graphic>
          <a:graphicData uri="http://schemas.openxmlformats.org/presentationml/2006/ole">
            <p:oleObj spid="_x0000_s844802" name="think-cell Slide" r:id="rId5" imgW="360" imgH="360" progId="">
              <p:embed/>
            </p:oleObj>
          </a:graphicData>
        </a:graphic>
      </p:graphicFrame>
      <p:grpSp>
        <p:nvGrpSpPr>
          <p:cNvPr id="4" name="Group 18"/>
          <p:cNvGrpSpPr>
            <a:grpSpLocks/>
          </p:cNvGrpSpPr>
          <p:nvPr/>
        </p:nvGrpSpPr>
        <p:grpSpPr bwMode="auto">
          <a:xfrm>
            <a:off x="2579688" y="700734"/>
            <a:ext cx="6500750" cy="1502721"/>
            <a:chOff x="2579688" y="2502608"/>
            <a:chExt cx="6500750" cy="1502663"/>
          </a:xfrm>
        </p:grpSpPr>
        <p:grpSp>
          <p:nvGrpSpPr>
            <p:cNvPr id="5" name="Groupe 709"/>
            <p:cNvGrpSpPr>
              <a:grpSpLocks/>
            </p:cNvGrpSpPr>
            <p:nvPr userDrawn="1"/>
          </p:nvGrpSpPr>
          <p:grpSpPr bwMode="auto">
            <a:xfrm>
              <a:off x="8084783" y="2883520"/>
              <a:ext cx="386117" cy="518177"/>
              <a:chOff x="2344714" y="4924226"/>
              <a:chExt cx="184150" cy="252413"/>
            </a:xfrm>
          </p:grpSpPr>
          <p:sp>
            <p:nvSpPr>
              <p:cNvPr id="40" name="Freeform 449"/>
              <p:cNvSpPr>
                <a:spLocks/>
              </p:cNvSpPr>
              <p:nvPr/>
            </p:nvSpPr>
            <p:spPr bwMode="auto">
              <a:xfrm>
                <a:off x="2344694" y="4923950"/>
                <a:ext cx="184548" cy="252859"/>
              </a:xfrm>
              <a:custGeom>
                <a:avLst/>
                <a:gdLst/>
                <a:ahLst/>
                <a:cxnLst>
                  <a:cxn ang="0">
                    <a:pos x="97" y="159"/>
                  </a:cxn>
                  <a:cxn ang="0">
                    <a:pos x="20" y="159"/>
                  </a:cxn>
                  <a:cxn ang="0">
                    <a:pos x="20" y="159"/>
                  </a:cxn>
                  <a:cxn ang="0">
                    <a:pos x="15" y="159"/>
                  </a:cxn>
                  <a:cxn ang="0">
                    <a:pos x="13" y="157"/>
                  </a:cxn>
                  <a:cxn ang="0">
                    <a:pos x="6" y="154"/>
                  </a:cxn>
                  <a:cxn ang="0">
                    <a:pos x="1" y="147"/>
                  </a:cxn>
                  <a:cxn ang="0">
                    <a:pos x="0" y="143"/>
                  </a:cxn>
                  <a:cxn ang="0">
                    <a:pos x="0" y="140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15"/>
                  </a:cxn>
                  <a:cxn ang="0">
                    <a:pos x="1" y="12"/>
                  </a:cxn>
                  <a:cxn ang="0">
                    <a:pos x="6" y="5"/>
                  </a:cxn>
                  <a:cxn ang="0">
                    <a:pos x="13" y="2"/>
                  </a:cxn>
                  <a:cxn ang="0">
                    <a:pos x="15" y="0"/>
                  </a:cxn>
                  <a:cxn ang="0">
                    <a:pos x="20" y="0"/>
                  </a:cxn>
                  <a:cxn ang="0">
                    <a:pos x="97" y="0"/>
                  </a:cxn>
                  <a:cxn ang="0">
                    <a:pos x="97" y="0"/>
                  </a:cxn>
                  <a:cxn ang="0">
                    <a:pos x="101" y="0"/>
                  </a:cxn>
                  <a:cxn ang="0">
                    <a:pos x="105" y="2"/>
                  </a:cxn>
                  <a:cxn ang="0">
                    <a:pos x="111" y="5"/>
                  </a:cxn>
                  <a:cxn ang="0">
                    <a:pos x="115" y="12"/>
                  </a:cxn>
                  <a:cxn ang="0">
                    <a:pos x="116" y="15"/>
                  </a:cxn>
                  <a:cxn ang="0">
                    <a:pos x="116" y="19"/>
                  </a:cxn>
                  <a:cxn ang="0">
                    <a:pos x="116" y="159"/>
                  </a:cxn>
                </a:cxnLst>
                <a:rect l="0" t="0" r="r" b="b"/>
                <a:pathLst>
                  <a:path w="116" h="159">
                    <a:moveTo>
                      <a:pt x="97" y="159"/>
                    </a:moveTo>
                    <a:lnTo>
                      <a:pt x="20" y="159"/>
                    </a:lnTo>
                    <a:lnTo>
                      <a:pt x="20" y="159"/>
                    </a:lnTo>
                    <a:lnTo>
                      <a:pt x="15" y="159"/>
                    </a:lnTo>
                    <a:lnTo>
                      <a:pt x="13" y="157"/>
                    </a:lnTo>
                    <a:lnTo>
                      <a:pt x="6" y="154"/>
                    </a:lnTo>
                    <a:lnTo>
                      <a:pt x="1" y="147"/>
                    </a:lnTo>
                    <a:lnTo>
                      <a:pt x="0" y="143"/>
                    </a:lnTo>
                    <a:lnTo>
                      <a:pt x="0" y="140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5"/>
                    </a:lnTo>
                    <a:lnTo>
                      <a:pt x="1" y="12"/>
                    </a:lnTo>
                    <a:lnTo>
                      <a:pt x="6" y="5"/>
                    </a:lnTo>
                    <a:lnTo>
                      <a:pt x="13" y="2"/>
                    </a:lnTo>
                    <a:lnTo>
                      <a:pt x="15" y="0"/>
                    </a:lnTo>
                    <a:lnTo>
                      <a:pt x="20" y="0"/>
                    </a:lnTo>
                    <a:lnTo>
                      <a:pt x="97" y="0"/>
                    </a:lnTo>
                    <a:lnTo>
                      <a:pt x="97" y="0"/>
                    </a:lnTo>
                    <a:lnTo>
                      <a:pt x="101" y="0"/>
                    </a:lnTo>
                    <a:lnTo>
                      <a:pt x="105" y="2"/>
                    </a:lnTo>
                    <a:lnTo>
                      <a:pt x="111" y="5"/>
                    </a:lnTo>
                    <a:lnTo>
                      <a:pt x="115" y="12"/>
                    </a:lnTo>
                    <a:lnTo>
                      <a:pt x="116" y="15"/>
                    </a:lnTo>
                    <a:lnTo>
                      <a:pt x="116" y="19"/>
                    </a:lnTo>
                    <a:lnTo>
                      <a:pt x="116" y="15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41" name="Freeform 450"/>
              <p:cNvSpPr>
                <a:spLocks/>
              </p:cNvSpPr>
              <p:nvPr/>
            </p:nvSpPr>
            <p:spPr bwMode="auto">
              <a:xfrm>
                <a:off x="2365199" y="4944828"/>
                <a:ext cx="145178" cy="231981"/>
              </a:xfrm>
              <a:custGeom>
                <a:avLst/>
                <a:gdLst/>
                <a:ahLst/>
                <a:cxnLst>
                  <a:cxn ang="0">
                    <a:pos x="32" y="129"/>
                  </a:cxn>
                  <a:cxn ang="0">
                    <a:pos x="32" y="129"/>
                  </a:cxn>
                  <a:cxn ang="0">
                    <a:pos x="34" y="133"/>
                  </a:cxn>
                  <a:cxn ang="0">
                    <a:pos x="35" y="136"/>
                  </a:cxn>
                  <a:cxn ang="0">
                    <a:pos x="39" y="137"/>
                  </a:cxn>
                  <a:cxn ang="0">
                    <a:pos x="41" y="138"/>
                  </a:cxn>
                  <a:cxn ang="0">
                    <a:pos x="41" y="138"/>
                  </a:cxn>
                  <a:cxn ang="0">
                    <a:pos x="45" y="137"/>
                  </a:cxn>
                  <a:cxn ang="0">
                    <a:pos x="48" y="136"/>
                  </a:cxn>
                  <a:cxn ang="0">
                    <a:pos x="49" y="133"/>
                  </a:cxn>
                  <a:cxn ang="0">
                    <a:pos x="50" y="129"/>
                  </a:cxn>
                  <a:cxn ang="0">
                    <a:pos x="50" y="129"/>
                  </a:cxn>
                  <a:cxn ang="0">
                    <a:pos x="49" y="125"/>
                  </a:cxn>
                  <a:cxn ang="0">
                    <a:pos x="48" y="123"/>
                  </a:cxn>
                  <a:cxn ang="0">
                    <a:pos x="45" y="122"/>
                  </a:cxn>
                  <a:cxn ang="0">
                    <a:pos x="41" y="120"/>
                  </a:cxn>
                  <a:cxn ang="0">
                    <a:pos x="7" y="120"/>
                  </a:cxn>
                  <a:cxn ang="0">
                    <a:pos x="7" y="120"/>
                  </a:cxn>
                  <a:cxn ang="0">
                    <a:pos x="5" y="120"/>
                  </a:cxn>
                  <a:cxn ang="0">
                    <a:pos x="2" y="119"/>
                  </a:cxn>
                  <a:cxn ang="0">
                    <a:pos x="1" y="117"/>
                  </a:cxn>
                  <a:cxn ang="0">
                    <a:pos x="0" y="11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1" y="4"/>
                  </a:cxn>
                  <a:cxn ang="0">
                    <a:pos x="2" y="2"/>
                  </a:cxn>
                  <a:cxn ang="0">
                    <a:pos x="5" y="1"/>
                  </a:cxn>
                  <a:cxn ang="0">
                    <a:pos x="7" y="0"/>
                  </a:cxn>
                  <a:cxn ang="0">
                    <a:pos x="84" y="0"/>
                  </a:cxn>
                  <a:cxn ang="0">
                    <a:pos x="84" y="0"/>
                  </a:cxn>
                  <a:cxn ang="0">
                    <a:pos x="87" y="1"/>
                  </a:cxn>
                  <a:cxn ang="0">
                    <a:pos x="88" y="2"/>
                  </a:cxn>
                  <a:cxn ang="0">
                    <a:pos x="89" y="4"/>
                  </a:cxn>
                  <a:cxn ang="0">
                    <a:pos x="91" y="6"/>
                  </a:cxn>
                  <a:cxn ang="0">
                    <a:pos x="91" y="139"/>
                  </a:cxn>
                  <a:cxn ang="0">
                    <a:pos x="91" y="139"/>
                  </a:cxn>
                  <a:cxn ang="0">
                    <a:pos x="89" y="142"/>
                  </a:cxn>
                  <a:cxn ang="0">
                    <a:pos x="88" y="144"/>
                  </a:cxn>
                  <a:cxn ang="0">
                    <a:pos x="87" y="146"/>
                  </a:cxn>
                  <a:cxn ang="0">
                    <a:pos x="84" y="146"/>
                  </a:cxn>
                </a:cxnLst>
                <a:rect l="0" t="0" r="r" b="b"/>
                <a:pathLst>
                  <a:path w="91" h="146">
                    <a:moveTo>
                      <a:pt x="32" y="129"/>
                    </a:moveTo>
                    <a:lnTo>
                      <a:pt x="32" y="129"/>
                    </a:lnTo>
                    <a:lnTo>
                      <a:pt x="34" y="133"/>
                    </a:lnTo>
                    <a:lnTo>
                      <a:pt x="35" y="136"/>
                    </a:lnTo>
                    <a:lnTo>
                      <a:pt x="39" y="137"/>
                    </a:lnTo>
                    <a:lnTo>
                      <a:pt x="41" y="138"/>
                    </a:lnTo>
                    <a:lnTo>
                      <a:pt x="41" y="138"/>
                    </a:lnTo>
                    <a:lnTo>
                      <a:pt x="45" y="137"/>
                    </a:lnTo>
                    <a:lnTo>
                      <a:pt x="48" y="136"/>
                    </a:lnTo>
                    <a:lnTo>
                      <a:pt x="49" y="133"/>
                    </a:lnTo>
                    <a:lnTo>
                      <a:pt x="50" y="129"/>
                    </a:lnTo>
                    <a:lnTo>
                      <a:pt x="50" y="129"/>
                    </a:lnTo>
                    <a:lnTo>
                      <a:pt x="49" y="125"/>
                    </a:lnTo>
                    <a:lnTo>
                      <a:pt x="48" y="123"/>
                    </a:lnTo>
                    <a:lnTo>
                      <a:pt x="45" y="122"/>
                    </a:lnTo>
                    <a:lnTo>
                      <a:pt x="41" y="120"/>
                    </a:lnTo>
                    <a:lnTo>
                      <a:pt x="7" y="120"/>
                    </a:lnTo>
                    <a:lnTo>
                      <a:pt x="7" y="120"/>
                    </a:lnTo>
                    <a:lnTo>
                      <a:pt x="5" y="120"/>
                    </a:lnTo>
                    <a:lnTo>
                      <a:pt x="2" y="119"/>
                    </a:lnTo>
                    <a:lnTo>
                      <a:pt x="1" y="117"/>
                    </a:lnTo>
                    <a:lnTo>
                      <a:pt x="0" y="11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5" y="1"/>
                    </a:lnTo>
                    <a:lnTo>
                      <a:pt x="7" y="0"/>
                    </a:lnTo>
                    <a:lnTo>
                      <a:pt x="84" y="0"/>
                    </a:lnTo>
                    <a:lnTo>
                      <a:pt x="84" y="0"/>
                    </a:lnTo>
                    <a:lnTo>
                      <a:pt x="87" y="1"/>
                    </a:lnTo>
                    <a:lnTo>
                      <a:pt x="88" y="2"/>
                    </a:lnTo>
                    <a:lnTo>
                      <a:pt x="89" y="4"/>
                    </a:lnTo>
                    <a:lnTo>
                      <a:pt x="91" y="6"/>
                    </a:lnTo>
                    <a:lnTo>
                      <a:pt x="91" y="139"/>
                    </a:lnTo>
                    <a:lnTo>
                      <a:pt x="91" y="139"/>
                    </a:lnTo>
                    <a:lnTo>
                      <a:pt x="89" y="142"/>
                    </a:lnTo>
                    <a:lnTo>
                      <a:pt x="88" y="144"/>
                    </a:lnTo>
                    <a:lnTo>
                      <a:pt x="87" y="146"/>
                    </a:lnTo>
                    <a:lnTo>
                      <a:pt x="84" y="146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6" name="Groupe 836"/>
            <p:cNvGrpSpPr>
              <a:grpSpLocks/>
            </p:cNvGrpSpPr>
            <p:nvPr userDrawn="1"/>
          </p:nvGrpSpPr>
          <p:grpSpPr bwMode="auto">
            <a:xfrm>
              <a:off x="6165033" y="2867225"/>
              <a:ext cx="722304" cy="534472"/>
              <a:chOff x="1163614" y="7062589"/>
              <a:chExt cx="344488" cy="260350"/>
            </a:xfrm>
          </p:grpSpPr>
          <p:sp>
            <p:nvSpPr>
              <p:cNvPr id="26" name="Freeform 578"/>
              <p:cNvSpPr>
                <a:spLocks/>
              </p:cNvSpPr>
              <p:nvPr/>
            </p:nvSpPr>
            <p:spPr bwMode="auto">
              <a:xfrm>
                <a:off x="1477958" y="7108914"/>
                <a:ext cx="30348" cy="166252"/>
              </a:xfrm>
              <a:custGeom>
                <a:avLst/>
                <a:gdLst/>
                <a:ahLst/>
                <a:cxnLst>
                  <a:cxn ang="0">
                    <a:pos x="0" y="105"/>
                  </a:cxn>
                  <a:cxn ang="0">
                    <a:pos x="0" y="105"/>
                  </a:cxn>
                  <a:cxn ang="0">
                    <a:pos x="7" y="94"/>
                  </a:cxn>
                  <a:cxn ang="0">
                    <a:pos x="14" y="81"/>
                  </a:cxn>
                  <a:cxn ang="0">
                    <a:pos x="17" y="67"/>
                  </a:cxn>
                  <a:cxn ang="0">
                    <a:pos x="19" y="52"/>
                  </a:cxn>
                  <a:cxn ang="0">
                    <a:pos x="19" y="52"/>
                  </a:cxn>
                  <a:cxn ang="0">
                    <a:pos x="17" y="38"/>
                  </a:cxn>
                  <a:cxn ang="0">
                    <a:pos x="14" y="24"/>
                  </a:cxn>
                  <a:cxn ang="0">
                    <a:pos x="7" y="12"/>
                  </a:cxn>
                  <a:cxn ang="0">
                    <a:pos x="0" y="0"/>
                  </a:cxn>
                </a:cxnLst>
                <a:rect l="0" t="0" r="r" b="b"/>
                <a:pathLst>
                  <a:path w="19" h="105">
                    <a:moveTo>
                      <a:pt x="0" y="105"/>
                    </a:moveTo>
                    <a:lnTo>
                      <a:pt x="0" y="105"/>
                    </a:lnTo>
                    <a:lnTo>
                      <a:pt x="7" y="94"/>
                    </a:lnTo>
                    <a:lnTo>
                      <a:pt x="14" y="81"/>
                    </a:lnTo>
                    <a:lnTo>
                      <a:pt x="17" y="67"/>
                    </a:lnTo>
                    <a:lnTo>
                      <a:pt x="19" y="52"/>
                    </a:lnTo>
                    <a:lnTo>
                      <a:pt x="19" y="52"/>
                    </a:lnTo>
                    <a:lnTo>
                      <a:pt x="17" y="38"/>
                    </a:lnTo>
                    <a:lnTo>
                      <a:pt x="14" y="24"/>
                    </a:lnTo>
                    <a:lnTo>
                      <a:pt x="7" y="12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7" name="Freeform 579"/>
              <p:cNvSpPr>
                <a:spLocks/>
              </p:cNvSpPr>
              <p:nvPr/>
            </p:nvSpPr>
            <p:spPr bwMode="auto">
              <a:xfrm>
                <a:off x="1277825" y="7273619"/>
                <a:ext cx="10170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7" y="7"/>
                  </a:cxn>
                  <a:cxn ang="0">
                    <a:pos x="13" y="13"/>
                  </a:cxn>
                  <a:cxn ang="0">
                    <a:pos x="21" y="18"/>
                  </a:cxn>
                  <a:cxn ang="0">
                    <a:pos x="28" y="22"/>
                  </a:cxn>
                  <a:cxn ang="0">
                    <a:pos x="36" y="26"/>
                  </a:cxn>
                  <a:cxn ang="0">
                    <a:pos x="45" y="28"/>
                  </a:cxn>
                  <a:cxn ang="0">
                    <a:pos x="54" y="29"/>
                  </a:cxn>
                  <a:cxn ang="0">
                    <a:pos x="64" y="31"/>
                  </a:cxn>
                </a:cxnLst>
                <a:rect l="0" t="0" r="r" b="b"/>
                <a:pathLst>
                  <a:path w="64" h="31">
                    <a:moveTo>
                      <a:pt x="0" y="0"/>
                    </a:moveTo>
                    <a:lnTo>
                      <a:pt x="0" y="0"/>
                    </a:lnTo>
                    <a:lnTo>
                      <a:pt x="7" y="7"/>
                    </a:lnTo>
                    <a:lnTo>
                      <a:pt x="13" y="13"/>
                    </a:lnTo>
                    <a:lnTo>
                      <a:pt x="21" y="18"/>
                    </a:lnTo>
                    <a:lnTo>
                      <a:pt x="28" y="22"/>
                    </a:lnTo>
                    <a:lnTo>
                      <a:pt x="36" y="26"/>
                    </a:lnTo>
                    <a:lnTo>
                      <a:pt x="45" y="28"/>
                    </a:lnTo>
                    <a:lnTo>
                      <a:pt x="54" y="29"/>
                    </a:lnTo>
                    <a:lnTo>
                      <a:pt x="64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8" name="Line 580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9" name="Line 581"/>
              <p:cNvSpPr>
                <a:spLocks noChangeShapeType="1"/>
              </p:cNvSpPr>
              <p:nvPr/>
            </p:nvSpPr>
            <p:spPr bwMode="auto">
              <a:xfrm>
                <a:off x="1277825" y="7108914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0" name="Freeform 582"/>
              <p:cNvSpPr>
                <a:spLocks/>
              </p:cNvSpPr>
              <p:nvPr/>
            </p:nvSpPr>
            <p:spPr bwMode="auto">
              <a:xfrm>
                <a:off x="1277825" y="7062518"/>
                <a:ext cx="200134" cy="46396"/>
              </a:xfrm>
              <a:custGeom>
                <a:avLst/>
                <a:gdLst/>
                <a:ahLst/>
                <a:cxnLst>
                  <a:cxn ang="0">
                    <a:pos x="0" y="29"/>
                  </a:cxn>
                  <a:cxn ang="0">
                    <a:pos x="0" y="29"/>
                  </a:cxn>
                  <a:cxn ang="0">
                    <a:pos x="7" y="23"/>
                  </a:cxn>
                  <a:cxn ang="0">
                    <a:pos x="13" y="17"/>
                  </a:cxn>
                  <a:cxn ang="0">
                    <a:pos x="21" y="12"/>
                  </a:cxn>
                  <a:cxn ang="0">
                    <a:pos x="28" y="8"/>
                  </a:cxn>
                  <a:cxn ang="0">
                    <a:pos x="37" y="4"/>
                  </a:cxn>
                  <a:cxn ang="0">
                    <a:pos x="45" y="3"/>
                  </a:cxn>
                  <a:cxn ang="0">
                    <a:pos x="54" y="0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73" y="0"/>
                  </a:cxn>
                  <a:cxn ang="0">
                    <a:pos x="81" y="3"/>
                  </a:cxn>
                  <a:cxn ang="0">
                    <a:pos x="90" y="4"/>
                  </a:cxn>
                  <a:cxn ang="0">
                    <a:pos x="98" y="8"/>
                  </a:cxn>
                  <a:cxn ang="0">
                    <a:pos x="105" y="12"/>
                  </a:cxn>
                  <a:cxn ang="0">
                    <a:pos x="113" y="17"/>
                  </a:cxn>
                  <a:cxn ang="0">
                    <a:pos x="119" y="23"/>
                  </a:cxn>
                  <a:cxn ang="0">
                    <a:pos x="126" y="29"/>
                  </a:cxn>
                </a:cxnLst>
                <a:rect l="0" t="0" r="r" b="b"/>
                <a:pathLst>
                  <a:path w="126" h="29">
                    <a:moveTo>
                      <a:pt x="0" y="29"/>
                    </a:moveTo>
                    <a:lnTo>
                      <a:pt x="0" y="29"/>
                    </a:lnTo>
                    <a:lnTo>
                      <a:pt x="7" y="23"/>
                    </a:lnTo>
                    <a:lnTo>
                      <a:pt x="13" y="17"/>
                    </a:lnTo>
                    <a:lnTo>
                      <a:pt x="21" y="12"/>
                    </a:lnTo>
                    <a:lnTo>
                      <a:pt x="28" y="8"/>
                    </a:lnTo>
                    <a:lnTo>
                      <a:pt x="37" y="4"/>
                    </a:lnTo>
                    <a:lnTo>
                      <a:pt x="45" y="3"/>
                    </a:lnTo>
                    <a:lnTo>
                      <a:pt x="5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73" y="0"/>
                    </a:lnTo>
                    <a:lnTo>
                      <a:pt x="81" y="3"/>
                    </a:lnTo>
                    <a:lnTo>
                      <a:pt x="90" y="4"/>
                    </a:lnTo>
                    <a:lnTo>
                      <a:pt x="98" y="8"/>
                    </a:lnTo>
                    <a:lnTo>
                      <a:pt x="105" y="12"/>
                    </a:lnTo>
                    <a:lnTo>
                      <a:pt x="113" y="17"/>
                    </a:lnTo>
                    <a:lnTo>
                      <a:pt x="119" y="23"/>
                    </a:lnTo>
                    <a:lnTo>
                      <a:pt x="126" y="2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1" name="Freeform 583"/>
              <p:cNvSpPr>
                <a:spLocks/>
              </p:cNvSpPr>
              <p:nvPr/>
            </p:nvSpPr>
            <p:spPr bwMode="auto">
              <a:xfrm>
                <a:off x="1277825" y="7108914"/>
                <a:ext cx="200134" cy="2165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3" y="7"/>
                  </a:cxn>
                  <a:cxn ang="0">
                    <a:pos x="28" y="10"/>
                  </a:cxn>
                  <a:cxn ang="0">
                    <a:pos x="45" y="13"/>
                  </a:cxn>
                  <a:cxn ang="0">
                    <a:pos x="62" y="14"/>
                  </a:cxn>
                  <a:cxn ang="0">
                    <a:pos x="62" y="14"/>
                  </a:cxn>
                  <a:cxn ang="0">
                    <a:pos x="81" y="13"/>
                  </a:cxn>
                  <a:cxn ang="0">
                    <a:pos x="98" y="10"/>
                  </a:cxn>
                  <a:cxn ang="0">
                    <a:pos x="113" y="5"/>
                  </a:cxn>
                  <a:cxn ang="0">
                    <a:pos x="126" y="0"/>
                  </a:cxn>
                </a:cxnLst>
                <a:rect l="0" t="0" r="r" b="b"/>
                <a:pathLst>
                  <a:path w="126" h="14">
                    <a:moveTo>
                      <a:pt x="0" y="0"/>
                    </a:moveTo>
                    <a:lnTo>
                      <a:pt x="0" y="0"/>
                    </a:lnTo>
                    <a:lnTo>
                      <a:pt x="13" y="7"/>
                    </a:lnTo>
                    <a:lnTo>
                      <a:pt x="28" y="10"/>
                    </a:lnTo>
                    <a:lnTo>
                      <a:pt x="45" y="13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1" y="13"/>
                    </a:lnTo>
                    <a:lnTo>
                      <a:pt x="98" y="10"/>
                    </a:lnTo>
                    <a:lnTo>
                      <a:pt x="113" y="5"/>
                    </a:lnTo>
                    <a:lnTo>
                      <a:pt x="126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2" name="Freeform 584"/>
              <p:cNvSpPr>
                <a:spLocks/>
              </p:cNvSpPr>
              <p:nvPr/>
            </p:nvSpPr>
            <p:spPr bwMode="auto">
              <a:xfrm>
                <a:off x="1277825" y="7251968"/>
                <a:ext cx="200134" cy="23198"/>
              </a:xfrm>
              <a:custGeom>
                <a:avLst/>
                <a:gdLst/>
                <a:ahLst/>
                <a:cxnLst>
                  <a:cxn ang="0">
                    <a:pos x="126" y="14"/>
                  </a:cxn>
                  <a:cxn ang="0">
                    <a:pos x="126" y="14"/>
                  </a:cxn>
                  <a:cxn ang="0">
                    <a:pos x="113" y="9"/>
                  </a:cxn>
                  <a:cxn ang="0">
                    <a:pos x="98" y="4"/>
                  </a:cxn>
                  <a:cxn ang="0">
                    <a:pos x="81" y="2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45" y="2"/>
                  </a:cxn>
                  <a:cxn ang="0">
                    <a:pos x="28" y="4"/>
                  </a:cxn>
                  <a:cxn ang="0">
                    <a:pos x="13" y="9"/>
                  </a:cxn>
                  <a:cxn ang="0">
                    <a:pos x="0" y="15"/>
                  </a:cxn>
                </a:cxnLst>
                <a:rect l="0" t="0" r="r" b="b"/>
                <a:pathLst>
                  <a:path w="126" h="15">
                    <a:moveTo>
                      <a:pt x="126" y="14"/>
                    </a:moveTo>
                    <a:lnTo>
                      <a:pt x="126" y="14"/>
                    </a:lnTo>
                    <a:lnTo>
                      <a:pt x="113" y="9"/>
                    </a:lnTo>
                    <a:lnTo>
                      <a:pt x="98" y="4"/>
                    </a:lnTo>
                    <a:lnTo>
                      <a:pt x="81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45" y="2"/>
                    </a:lnTo>
                    <a:lnTo>
                      <a:pt x="28" y="4"/>
                    </a:lnTo>
                    <a:lnTo>
                      <a:pt x="13" y="9"/>
                    </a:lnTo>
                    <a:lnTo>
                      <a:pt x="0" y="1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3" name="Freeform 585"/>
              <p:cNvSpPr>
                <a:spLocks/>
              </p:cNvSpPr>
              <p:nvPr/>
            </p:nvSpPr>
            <p:spPr bwMode="auto">
              <a:xfrm>
                <a:off x="1308173" y="7062518"/>
                <a:ext cx="141078" cy="260591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81"/>
                  </a:cxn>
                  <a:cxn ang="0">
                    <a:pos x="2" y="65"/>
                  </a:cxn>
                  <a:cxn ang="0">
                    <a:pos x="4" y="50"/>
                  </a:cxn>
                  <a:cxn ang="0">
                    <a:pos x="8" y="36"/>
                  </a:cxn>
                  <a:cxn ang="0">
                    <a:pos x="13" y="24"/>
                  </a:cxn>
                  <a:cxn ang="0">
                    <a:pos x="19" y="14"/>
                  </a:cxn>
                  <a:cxn ang="0">
                    <a:pos x="27" y="7"/>
                  </a:cxn>
                  <a:cxn ang="0">
                    <a:pos x="36" y="1"/>
                  </a:cxn>
                  <a:cxn ang="0">
                    <a:pos x="40" y="0"/>
                  </a:cxn>
                  <a:cxn ang="0">
                    <a:pos x="45" y="0"/>
                  </a:cxn>
                  <a:cxn ang="0">
                    <a:pos x="45" y="0"/>
                  </a:cxn>
                  <a:cxn ang="0">
                    <a:pos x="48" y="0"/>
                  </a:cxn>
                  <a:cxn ang="0">
                    <a:pos x="54" y="1"/>
                  </a:cxn>
                  <a:cxn ang="0">
                    <a:pos x="61" y="7"/>
                  </a:cxn>
                  <a:cxn ang="0">
                    <a:pos x="69" y="14"/>
                  </a:cxn>
                  <a:cxn ang="0">
                    <a:pos x="75" y="24"/>
                  </a:cxn>
                  <a:cxn ang="0">
                    <a:pos x="81" y="36"/>
                  </a:cxn>
                  <a:cxn ang="0">
                    <a:pos x="85" y="50"/>
                  </a:cxn>
                  <a:cxn ang="0">
                    <a:pos x="88" y="65"/>
                  </a:cxn>
                  <a:cxn ang="0">
                    <a:pos x="89" y="81"/>
                  </a:cxn>
                  <a:cxn ang="0">
                    <a:pos x="89" y="81"/>
                  </a:cxn>
                  <a:cxn ang="0">
                    <a:pos x="88" y="98"/>
                  </a:cxn>
                  <a:cxn ang="0">
                    <a:pos x="85" y="113"/>
                  </a:cxn>
                  <a:cxn ang="0">
                    <a:pos x="81" y="127"/>
                  </a:cxn>
                  <a:cxn ang="0">
                    <a:pos x="75" y="140"/>
                  </a:cxn>
                  <a:cxn ang="0">
                    <a:pos x="69" y="150"/>
                  </a:cxn>
                  <a:cxn ang="0">
                    <a:pos x="61" y="157"/>
                  </a:cxn>
                  <a:cxn ang="0">
                    <a:pos x="54" y="161"/>
                  </a:cxn>
                  <a:cxn ang="0">
                    <a:pos x="48" y="162"/>
                  </a:cxn>
                  <a:cxn ang="0">
                    <a:pos x="45" y="164"/>
                  </a:cxn>
                  <a:cxn ang="0">
                    <a:pos x="45" y="164"/>
                  </a:cxn>
                  <a:cxn ang="0">
                    <a:pos x="38" y="162"/>
                  </a:cxn>
                  <a:cxn ang="0">
                    <a:pos x="33" y="160"/>
                  </a:cxn>
                  <a:cxn ang="0">
                    <a:pos x="27" y="157"/>
                  </a:cxn>
                  <a:cxn ang="0">
                    <a:pos x="22" y="152"/>
                  </a:cxn>
                  <a:cxn ang="0">
                    <a:pos x="18" y="147"/>
                  </a:cxn>
                  <a:cxn ang="0">
                    <a:pos x="13" y="140"/>
                  </a:cxn>
                  <a:cxn ang="0">
                    <a:pos x="9" y="132"/>
                  </a:cxn>
                  <a:cxn ang="0">
                    <a:pos x="7" y="124"/>
                  </a:cxn>
                </a:cxnLst>
                <a:rect l="0" t="0" r="r" b="b"/>
                <a:pathLst>
                  <a:path w="89" h="164">
                    <a:moveTo>
                      <a:pt x="0" y="81"/>
                    </a:moveTo>
                    <a:lnTo>
                      <a:pt x="0" y="81"/>
                    </a:lnTo>
                    <a:lnTo>
                      <a:pt x="2" y="65"/>
                    </a:lnTo>
                    <a:lnTo>
                      <a:pt x="4" y="50"/>
                    </a:lnTo>
                    <a:lnTo>
                      <a:pt x="8" y="36"/>
                    </a:lnTo>
                    <a:lnTo>
                      <a:pt x="13" y="24"/>
                    </a:lnTo>
                    <a:lnTo>
                      <a:pt x="19" y="14"/>
                    </a:lnTo>
                    <a:lnTo>
                      <a:pt x="27" y="7"/>
                    </a:lnTo>
                    <a:lnTo>
                      <a:pt x="36" y="1"/>
                    </a:lnTo>
                    <a:lnTo>
                      <a:pt x="40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8" y="0"/>
                    </a:lnTo>
                    <a:lnTo>
                      <a:pt x="54" y="1"/>
                    </a:lnTo>
                    <a:lnTo>
                      <a:pt x="61" y="7"/>
                    </a:lnTo>
                    <a:lnTo>
                      <a:pt x="69" y="14"/>
                    </a:lnTo>
                    <a:lnTo>
                      <a:pt x="75" y="24"/>
                    </a:lnTo>
                    <a:lnTo>
                      <a:pt x="81" y="36"/>
                    </a:lnTo>
                    <a:lnTo>
                      <a:pt x="85" y="50"/>
                    </a:lnTo>
                    <a:lnTo>
                      <a:pt x="88" y="65"/>
                    </a:lnTo>
                    <a:lnTo>
                      <a:pt x="89" y="81"/>
                    </a:lnTo>
                    <a:lnTo>
                      <a:pt x="89" y="81"/>
                    </a:lnTo>
                    <a:lnTo>
                      <a:pt x="88" y="98"/>
                    </a:lnTo>
                    <a:lnTo>
                      <a:pt x="85" y="113"/>
                    </a:lnTo>
                    <a:lnTo>
                      <a:pt x="81" y="127"/>
                    </a:lnTo>
                    <a:lnTo>
                      <a:pt x="75" y="140"/>
                    </a:lnTo>
                    <a:lnTo>
                      <a:pt x="69" y="150"/>
                    </a:lnTo>
                    <a:lnTo>
                      <a:pt x="61" y="157"/>
                    </a:lnTo>
                    <a:lnTo>
                      <a:pt x="54" y="161"/>
                    </a:lnTo>
                    <a:lnTo>
                      <a:pt x="48" y="162"/>
                    </a:lnTo>
                    <a:lnTo>
                      <a:pt x="45" y="164"/>
                    </a:lnTo>
                    <a:lnTo>
                      <a:pt x="45" y="164"/>
                    </a:lnTo>
                    <a:lnTo>
                      <a:pt x="38" y="162"/>
                    </a:lnTo>
                    <a:lnTo>
                      <a:pt x="33" y="160"/>
                    </a:lnTo>
                    <a:lnTo>
                      <a:pt x="27" y="157"/>
                    </a:lnTo>
                    <a:lnTo>
                      <a:pt x="22" y="152"/>
                    </a:lnTo>
                    <a:lnTo>
                      <a:pt x="18" y="147"/>
                    </a:lnTo>
                    <a:lnTo>
                      <a:pt x="13" y="140"/>
                    </a:lnTo>
                    <a:lnTo>
                      <a:pt x="9" y="132"/>
                    </a:lnTo>
                    <a:lnTo>
                      <a:pt x="7" y="124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4" name="Line 586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26083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5" name="Line 587"/>
              <p:cNvSpPr>
                <a:spLocks noChangeShapeType="1"/>
              </p:cNvSpPr>
              <p:nvPr/>
            </p:nvSpPr>
            <p:spPr bwMode="auto">
              <a:xfrm flipV="1">
                <a:off x="1379532" y="7062518"/>
                <a:ext cx="820" cy="260591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6" name="Line 588"/>
              <p:cNvSpPr>
                <a:spLocks noChangeShapeType="1"/>
              </p:cNvSpPr>
              <p:nvPr/>
            </p:nvSpPr>
            <p:spPr bwMode="auto">
              <a:xfrm>
                <a:off x="1163814" y="7167682"/>
                <a:ext cx="83662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7" name="Freeform 589"/>
              <p:cNvSpPr>
                <a:spLocks/>
              </p:cNvSpPr>
              <p:nvPr/>
            </p:nvSpPr>
            <p:spPr bwMode="auto">
              <a:xfrm>
                <a:off x="1247477" y="7143711"/>
                <a:ext cx="25427" cy="4717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" y="15"/>
                  </a:cxn>
                  <a:cxn ang="0">
                    <a:pos x="0" y="30"/>
                  </a:cxn>
                </a:cxnLst>
                <a:rect l="0" t="0" r="r" b="b"/>
                <a:pathLst>
                  <a:path w="16" h="30">
                    <a:moveTo>
                      <a:pt x="0" y="0"/>
                    </a:moveTo>
                    <a:lnTo>
                      <a:pt x="16" y="15"/>
                    </a:lnTo>
                    <a:lnTo>
                      <a:pt x="0" y="3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8" name="Line 590"/>
              <p:cNvSpPr>
                <a:spLocks noChangeShapeType="1"/>
              </p:cNvSpPr>
              <p:nvPr/>
            </p:nvSpPr>
            <p:spPr bwMode="auto">
              <a:xfrm>
                <a:off x="1231892" y="7235730"/>
                <a:ext cx="86943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9" name="Freeform 591"/>
              <p:cNvSpPr>
                <a:spLocks/>
              </p:cNvSpPr>
              <p:nvPr/>
            </p:nvSpPr>
            <p:spPr bwMode="auto">
              <a:xfrm>
                <a:off x="1318836" y="7210212"/>
                <a:ext cx="2378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" y="16"/>
                  </a:cxn>
                  <a:cxn ang="0">
                    <a:pos x="0" y="31"/>
                  </a:cxn>
                </a:cxnLst>
                <a:rect l="0" t="0" r="r" b="b"/>
                <a:pathLst>
                  <a:path w="15" h="31">
                    <a:moveTo>
                      <a:pt x="0" y="0"/>
                    </a:moveTo>
                    <a:lnTo>
                      <a:pt x="15" y="16"/>
                    </a:lnTo>
                    <a:lnTo>
                      <a:pt x="0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7" name="Groupe 320"/>
            <p:cNvGrpSpPr>
              <a:grpSpLocks/>
            </p:cNvGrpSpPr>
            <p:nvPr userDrawn="1"/>
          </p:nvGrpSpPr>
          <p:grpSpPr bwMode="auto">
            <a:xfrm>
              <a:off x="4610305" y="2502608"/>
              <a:ext cx="442816" cy="482367"/>
              <a:chOff x="4430703" y="4715239"/>
              <a:chExt cx="374626" cy="416805"/>
            </a:xfrm>
          </p:grpSpPr>
          <p:sp>
            <p:nvSpPr>
              <p:cNvPr id="21" name="Freeform 897"/>
              <p:cNvSpPr>
                <a:spLocks/>
              </p:cNvSpPr>
              <p:nvPr/>
            </p:nvSpPr>
            <p:spPr bwMode="auto">
              <a:xfrm>
                <a:off x="4649334" y="4788757"/>
                <a:ext cx="155680" cy="256503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4912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0" fmla="*/ 4737 w 9825"/>
                  <a:gd name="connsiteY0" fmla="*/ 10000 h 10000"/>
                  <a:gd name="connsiteX1" fmla="*/ 4737 w 9825"/>
                  <a:gd name="connsiteY1" fmla="*/ 10000 h 10000"/>
                  <a:gd name="connsiteX2" fmla="*/ 6579 w 9825"/>
                  <a:gd name="connsiteY2" fmla="*/ 10000 h 10000"/>
                  <a:gd name="connsiteX3" fmla="*/ 8246 w 9825"/>
                  <a:gd name="connsiteY3" fmla="*/ 9938 h 10000"/>
                  <a:gd name="connsiteX4" fmla="*/ 9386 w 9825"/>
                  <a:gd name="connsiteY4" fmla="*/ 9814 h 10000"/>
                  <a:gd name="connsiteX5" fmla="*/ 9737 w 9825"/>
                  <a:gd name="connsiteY5" fmla="*/ 9752 h 10000"/>
                  <a:gd name="connsiteX6" fmla="*/ 9825 w 9825"/>
                  <a:gd name="connsiteY6" fmla="*/ 9689 h 10000"/>
                  <a:gd name="connsiteX7" fmla="*/ 9825 w 9825"/>
                  <a:gd name="connsiteY7" fmla="*/ 9689 h 10000"/>
                  <a:gd name="connsiteX8" fmla="*/ 9825 w 9825"/>
                  <a:gd name="connsiteY8" fmla="*/ 8634 h 10000"/>
                  <a:gd name="connsiteX9" fmla="*/ 9737 w 9825"/>
                  <a:gd name="connsiteY9" fmla="*/ 7702 h 10000"/>
                  <a:gd name="connsiteX10" fmla="*/ 9386 w 9825"/>
                  <a:gd name="connsiteY10" fmla="*/ 6832 h 10000"/>
                  <a:gd name="connsiteX11" fmla="*/ 9036 w 9825"/>
                  <a:gd name="connsiteY11" fmla="*/ 6087 h 10000"/>
                  <a:gd name="connsiteX12" fmla="*/ 8509 w 9825"/>
                  <a:gd name="connsiteY12" fmla="*/ 5342 h 10000"/>
                  <a:gd name="connsiteX13" fmla="*/ 7807 w 9825"/>
                  <a:gd name="connsiteY13" fmla="*/ 4783 h 10000"/>
                  <a:gd name="connsiteX14" fmla="*/ 6930 w 9825"/>
                  <a:gd name="connsiteY14" fmla="*/ 4410 h 10000"/>
                  <a:gd name="connsiteX15" fmla="*/ 5965 w 9825"/>
                  <a:gd name="connsiteY15" fmla="*/ 4099 h 10000"/>
                  <a:gd name="connsiteX16" fmla="*/ 5965 w 9825"/>
                  <a:gd name="connsiteY16" fmla="*/ 4099 h 10000"/>
                  <a:gd name="connsiteX17" fmla="*/ 6492 w 9825"/>
                  <a:gd name="connsiteY17" fmla="*/ 3727 h 10000"/>
                  <a:gd name="connsiteX18" fmla="*/ 6843 w 9825"/>
                  <a:gd name="connsiteY18" fmla="*/ 3230 h 10000"/>
                  <a:gd name="connsiteX19" fmla="*/ 7106 w 9825"/>
                  <a:gd name="connsiteY19" fmla="*/ 2671 h 10000"/>
                  <a:gd name="connsiteX20" fmla="*/ 7369 w 9825"/>
                  <a:gd name="connsiteY20" fmla="*/ 2112 h 10000"/>
                  <a:gd name="connsiteX21" fmla="*/ 7369 w 9825"/>
                  <a:gd name="connsiteY21" fmla="*/ 2112 h 10000"/>
                  <a:gd name="connsiteX22" fmla="*/ 7281 w 9825"/>
                  <a:gd name="connsiteY22" fmla="*/ 1677 h 10000"/>
                  <a:gd name="connsiteX23" fmla="*/ 7106 w 9825"/>
                  <a:gd name="connsiteY23" fmla="*/ 1242 h 10000"/>
                  <a:gd name="connsiteX24" fmla="*/ 6930 w 9825"/>
                  <a:gd name="connsiteY24" fmla="*/ 870 h 10000"/>
                  <a:gd name="connsiteX25" fmla="*/ 6579 w 9825"/>
                  <a:gd name="connsiteY25" fmla="*/ 559 h 10000"/>
                  <a:gd name="connsiteX26" fmla="*/ 6229 w 9825"/>
                  <a:gd name="connsiteY26" fmla="*/ 311 h 10000"/>
                  <a:gd name="connsiteX27" fmla="*/ 5790 w 9825"/>
                  <a:gd name="connsiteY27" fmla="*/ 186 h 10000"/>
                  <a:gd name="connsiteX28" fmla="*/ 5351 w 9825"/>
                  <a:gd name="connsiteY28" fmla="*/ 0 h 10000"/>
                  <a:gd name="connsiteX29" fmla="*/ 4825 w 9825"/>
                  <a:gd name="connsiteY29" fmla="*/ 0 h 10000"/>
                  <a:gd name="connsiteX30" fmla="*/ 4825 w 9825"/>
                  <a:gd name="connsiteY30" fmla="*/ 0 h 10000"/>
                  <a:gd name="connsiteX31" fmla="*/ 4386 w 9825"/>
                  <a:gd name="connsiteY31" fmla="*/ 0 h 10000"/>
                  <a:gd name="connsiteX32" fmla="*/ 3948 w 9825"/>
                  <a:gd name="connsiteY32" fmla="*/ 186 h 10000"/>
                  <a:gd name="connsiteX33" fmla="*/ 3509 w 9825"/>
                  <a:gd name="connsiteY33" fmla="*/ 311 h 10000"/>
                  <a:gd name="connsiteX34" fmla="*/ 3071 w 9825"/>
                  <a:gd name="connsiteY34" fmla="*/ 559 h 10000"/>
                  <a:gd name="connsiteX35" fmla="*/ 2807 w 9825"/>
                  <a:gd name="connsiteY35" fmla="*/ 870 h 10000"/>
                  <a:gd name="connsiteX36" fmla="*/ 2544 w 9825"/>
                  <a:gd name="connsiteY36" fmla="*/ 1242 h 10000"/>
                  <a:gd name="connsiteX37" fmla="*/ 2369 w 9825"/>
                  <a:gd name="connsiteY37" fmla="*/ 1677 h 10000"/>
                  <a:gd name="connsiteX38" fmla="*/ 2369 w 9825"/>
                  <a:gd name="connsiteY38" fmla="*/ 2112 h 10000"/>
                  <a:gd name="connsiteX39" fmla="*/ 2369 w 9825"/>
                  <a:gd name="connsiteY39" fmla="*/ 2112 h 10000"/>
                  <a:gd name="connsiteX40" fmla="*/ 2457 w 9825"/>
                  <a:gd name="connsiteY40" fmla="*/ 2671 h 10000"/>
                  <a:gd name="connsiteX41" fmla="*/ 2807 w 9825"/>
                  <a:gd name="connsiteY41" fmla="*/ 3230 h 10000"/>
                  <a:gd name="connsiteX42" fmla="*/ 3246 w 9825"/>
                  <a:gd name="connsiteY42" fmla="*/ 3727 h 10000"/>
                  <a:gd name="connsiteX43" fmla="*/ 3685 w 9825"/>
                  <a:gd name="connsiteY43" fmla="*/ 4099 h 10000"/>
                  <a:gd name="connsiteX44" fmla="*/ 3685 w 9825"/>
                  <a:gd name="connsiteY44" fmla="*/ 4099 h 10000"/>
                  <a:gd name="connsiteX45" fmla="*/ 2720 w 9825"/>
                  <a:gd name="connsiteY45" fmla="*/ 4410 h 10000"/>
                  <a:gd name="connsiteX46" fmla="*/ 1930 w 9825"/>
                  <a:gd name="connsiteY46" fmla="*/ 4783 h 10000"/>
                  <a:gd name="connsiteX47" fmla="*/ 1229 w 9825"/>
                  <a:gd name="connsiteY47" fmla="*/ 5342 h 10000"/>
                  <a:gd name="connsiteX48" fmla="*/ 702 w 9825"/>
                  <a:gd name="connsiteY48" fmla="*/ 6087 h 10000"/>
                  <a:gd name="connsiteX49" fmla="*/ 264 w 9825"/>
                  <a:gd name="connsiteY49" fmla="*/ 6832 h 10000"/>
                  <a:gd name="connsiteX50" fmla="*/ 0 w 9825"/>
                  <a:gd name="connsiteY50" fmla="*/ 7702 h 10000"/>
                  <a:gd name="connsiteX0" fmla="*/ 4552 w 9731"/>
                  <a:gd name="connsiteY0" fmla="*/ 10000 h 10000"/>
                  <a:gd name="connsiteX1" fmla="*/ 4552 w 9731"/>
                  <a:gd name="connsiteY1" fmla="*/ 10000 h 10000"/>
                  <a:gd name="connsiteX2" fmla="*/ 6427 w 9731"/>
                  <a:gd name="connsiteY2" fmla="*/ 10000 h 10000"/>
                  <a:gd name="connsiteX3" fmla="*/ 8124 w 9731"/>
                  <a:gd name="connsiteY3" fmla="*/ 9938 h 10000"/>
                  <a:gd name="connsiteX4" fmla="*/ 9284 w 9731"/>
                  <a:gd name="connsiteY4" fmla="*/ 9814 h 10000"/>
                  <a:gd name="connsiteX5" fmla="*/ 9641 w 9731"/>
                  <a:gd name="connsiteY5" fmla="*/ 9752 h 10000"/>
                  <a:gd name="connsiteX6" fmla="*/ 9731 w 9731"/>
                  <a:gd name="connsiteY6" fmla="*/ 9689 h 10000"/>
                  <a:gd name="connsiteX7" fmla="*/ 9731 w 9731"/>
                  <a:gd name="connsiteY7" fmla="*/ 9689 h 10000"/>
                  <a:gd name="connsiteX8" fmla="*/ 9731 w 9731"/>
                  <a:gd name="connsiteY8" fmla="*/ 8634 h 10000"/>
                  <a:gd name="connsiteX9" fmla="*/ 9641 w 9731"/>
                  <a:gd name="connsiteY9" fmla="*/ 7702 h 10000"/>
                  <a:gd name="connsiteX10" fmla="*/ 9284 w 9731"/>
                  <a:gd name="connsiteY10" fmla="*/ 6832 h 10000"/>
                  <a:gd name="connsiteX11" fmla="*/ 8928 w 9731"/>
                  <a:gd name="connsiteY11" fmla="*/ 6087 h 10000"/>
                  <a:gd name="connsiteX12" fmla="*/ 8392 w 9731"/>
                  <a:gd name="connsiteY12" fmla="*/ 5342 h 10000"/>
                  <a:gd name="connsiteX13" fmla="*/ 7677 w 9731"/>
                  <a:gd name="connsiteY13" fmla="*/ 4783 h 10000"/>
                  <a:gd name="connsiteX14" fmla="*/ 6784 w 9731"/>
                  <a:gd name="connsiteY14" fmla="*/ 4410 h 10000"/>
                  <a:gd name="connsiteX15" fmla="*/ 5802 w 9731"/>
                  <a:gd name="connsiteY15" fmla="*/ 4099 h 10000"/>
                  <a:gd name="connsiteX16" fmla="*/ 5802 w 9731"/>
                  <a:gd name="connsiteY16" fmla="*/ 4099 h 10000"/>
                  <a:gd name="connsiteX17" fmla="*/ 6339 w 9731"/>
                  <a:gd name="connsiteY17" fmla="*/ 3727 h 10000"/>
                  <a:gd name="connsiteX18" fmla="*/ 6696 w 9731"/>
                  <a:gd name="connsiteY18" fmla="*/ 3230 h 10000"/>
                  <a:gd name="connsiteX19" fmla="*/ 6964 w 9731"/>
                  <a:gd name="connsiteY19" fmla="*/ 2671 h 10000"/>
                  <a:gd name="connsiteX20" fmla="*/ 7231 w 9731"/>
                  <a:gd name="connsiteY20" fmla="*/ 2112 h 10000"/>
                  <a:gd name="connsiteX21" fmla="*/ 7231 w 9731"/>
                  <a:gd name="connsiteY21" fmla="*/ 2112 h 10000"/>
                  <a:gd name="connsiteX22" fmla="*/ 7142 w 9731"/>
                  <a:gd name="connsiteY22" fmla="*/ 1677 h 10000"/>
                  <a:gd name="connsiteX23" fmla="*/ 6964 w 9731"/>
                  <a:gd name="connsiteY23" fmla="*/ 1242 h 10000"/>
                  <a:gd name="connsiteX24" fmla="*/ 6784 w 9731"/>
                  <a:gd name="connsiteY24" fmla="*/ 870 h 10000"/>
                  <a:gd name="connsiteX25" fmla="*/ 6427 w 9731"/>
                  <a:gd name="connsiteY25" fmla="*/ 559 h 10000"/>
                  <a:gd name="connsiteX26" fmla="*/ 6071 w 9731"/>
                  <a:gd name="connsiteY26" fmla="*/ 311 h 10000"/>
                  <a:gd name="connsiteX27" fmla="*/ 5624 w 9731"/>
                  <a:gd name="connsiteY27" fmla="*/ 186 h 10000"/>
                  <a:gd name="connsiteX28" fmla="*/ 5177 w 9731"/>
                  <a:gd name="connsiteY28" fmla="*/ 0 h 10000"/>
                  <a:gd name="connsiteX29" fmla="*/ 4642 w 9731"/>
                  <a:gd name="connsiteY29" fmla="*/ 0 h 10000"/>
                  <a:gd name="connsiteX30" fmla="*/ 4642 w 9731"/>
                  <a:gd name="connsiteY30" fmla="*/ 0 h 10000"/>
                  <a:gd name="connsiteX31" fmla="*/ 4195 w 9731"/>
                  <a:gd name="connsiteY31" fmla="*/ 0 h 10000"/>
                  <a:gd name="connsiteX32" fmla="*/ 3749 w 9731"/>
                  <a:gd name="connsiteY32" fmla="*/ 186 h 10000"/>
                  <a:gd name="connsiteX33" fmla="*/ 3303 w 9731"/>
                  <a:gd name="connsiteY33" fmla="*/ 311 h 10000"/>
                  <a:gd name="connsiteX34" fmla="*/ 2857 w 9731"/>
                  <a:gd name="connsiteY34" fmla="*/ 559 h 10000"/>
                  <a:gd name="connsiteX35" fmla="*/ 2588 w 9731"/>
                  <a:gd name="connsiteY35" fmla="*/ 870 h 10000"/>
                  <a:gd name="connsiteX36" fmla="*/ 2320 w 9731"/>
                  <a:gd name="connsiteY36" fmla="*/ 1242 h 10000"/>
                  <a:gd name="connsiteX37" fmla="*/ 2142 w 9731"/>
                  <a:gd name="connsiteY37" fmla="*/ 1677 h 10000"/>
                  <a:gd name="connsiteX38" fmla="*/ 2142 w 9731"/>
                  <a:gd name="connsiteY38" fmla="*/ 2112 h 10000"/>
                  <a:gd name="connsiteX39" fmla="*/ 2142 w 9731"/>
                  <a:gd name="connsiteY39" fmla="*/ 2112 h 10000"/>
                  <a:gd name="connsiteX40" fmla="*/ 2232 w 9731"/>
                  <a:gd name="connsiteY40" fmla="*/ 2671 h 10000"/>
                  <a:gd name="connsiteX41" fmla="*/ 2588 w 9731"/>
                  <a:gd name="connsiteY41" fmla="*/ 3230 h 10000"/>
                  <a:gd name="connsiteX42" fmla="*/ 3035 w 9731"/>
                  <a:gd name="connsiteY42" fmla="*/ 3727 h 10000"/>
                  <a:gd name="connsiteX43" fmla="*/ 3482 w 9731"/>
                  <a:gd name="connsiteY43" fmla="*/ 4099 h 10000"/>
                  <a:gd name="connsiteX44" fmla="*/ 3482 w 9731"/>
                  <a:gd name="connsiteY44" fmla="*/ 4099 h 10000"/>
                  <a:gd name="connsiteX45" fmla="*/ 2499 w 9731"/>
                  <a:gd name="connsiteY45" fmla="*/ 4410 h 10000"/>
                  <a:gd name="connsiteX46" fmla="*/ 1695 w 9731"/>
                  <a:gd name="connsiteY46" fmla="*/ 4783 h 10000"/>
                  <a:gd name="connsiteX47" fmla="*/ 982 w 9731"/>
                  <a:gd name="connsiteY47" fmla="*/ 5342 h 10000"/>
                  <a:gd name="connsiteX48" fmla="*/ 446 w 9731"/>
                  <a:gd name="connsiteY48" fmla="*/ 6087 h 10000"/>
                  <a:gd name="connsiteX49" fmla="*/ 0 w 9731"/>
                  <a:gd name="connsiteY49" fmla="*/ 6832 h 10000"/>
                  <a:gd name="connsiteX0" fmla="*/ 4220 w 9542"/>
                  <a:gd name="connsiteY0" fmla="*/ 10000 h 10000"/>
                  <a:gd name="connsiteX1" fmla="*/ 4220 w 9542"/>
                  <a:gd name="connsiteY1" fmla="*/ 10000 h 10000"/>
                  <a:gd name="connsiteX2" fmla="*/ 6147 w 9542"/>
                  <a:gd name="connsiteY2" fmla="*/ 10000 h 10000"/>
                  <a:gd name="connsiteX3" fmla="*/ 7891 w 9542"/>
                  <a:gd name="connsiteY3" fmla="*/ 9938 h 10000"/>
                  <a:gd name="connsiteX4" fmla="*/ 9083 w 9542"/>
                  <a:gd name="connsiteY4" fmla="*/ 9814 h 10000"/>
                  <a:gd name="connsiteX5" fmla="*/ 9450 w 9542"/>
                  <a:gd name="connsiteY5" fmla="*/ 9752 h 10000"/>
                  <a:gd name="connsiteX6" fmla="*/ 9542 w 9542"/>
                  <a:gd name="connsiteY6" fmla="*/ 9689 h 10000"/>
                  <a:gd name="connsiteX7" fmla="*/ 9542 w 9542"/>
                  <a:gd name="connsiteY7" fmla="*/ 9689 h 10000"/>
                  <a:gd name="connsiteX8" fmla="*/ 9542 w 9542"/>
                  <a:gd name="connsiteY8" fmla="*/ 8634 h 10000"/>
                  <a:gd name="connsiteX9" fmla="*/ 9450 w 9542"/>
                  <a:gd name="connsiteY9" fmla="*/ 7702 h 10000"/>
                  <a:gd name="connsiteX10" fmla="*/ 9083 w 9542"/>
                  <a:gd name="connsiteY10" fmla="*/ 6832 h 10000"/>
                  <a:gd name="connsiteX11" fmla="*/ 8717 w 9542"/>
                  <a:gd name="connsiteY11" fmla="*/ 6087 h 10000"/>
                  <a:gd name="connsiteX12" fmla="*/ 8166 w 9542"/>
                  <a:gd name="connsiteY12" fmla="*/ 5342 h 10000"/>
                  <a:gd name="connsiteX13" fmla="*/ 7431 w 9542"/>
                  <a:gd name="connsiteY13" fmla="*/ 4783 h 10000"/>
                  <a:gd name="connsiteX14" fmla="*/ 6514 w 9542"/>
                  <a:gd name="connsiteY14" fmla="*/ 4410 h 10000"/>
                  <a:gd name="connsiteX15" fmla="*/ 5504 w 9542"/>
                  <a:gd name="connsiteY15" fmla="*/ 4099 h 10000"/>
                  <a:gd name="connsiteX16" fmla="*/ 5504 w 9542"/>
                  <a:gd name="connsiteY16" fmla="*/ 4099 h 10000"/>
                  <a:gd name="connsiteX17" fmla="*/ 6056 w 9542"/>
                  <a:gd name="connsiteY17" fmla="*/ 3727 h 10000"/>
                  <a:gd name="connsiteX18" fmla="*/ 6423 w 9542"/>
                  <a:gd name="connsiteY18" fmla="*/ 3230 h 10000"/>
                  <a:gd name="connsiteX19" fmla="*/ 6699 w 9542"/>
                  <a:gd name="connsiteY19" fmla="*/ 2671 h 10000"/>
                  <a:gd name="connsiteX20" fmla="*/ 6973 w 9542"/>
                  <a:gd name="connsiteY20" fmla="*/ 2112 h 10000"/>
                  <a:gd name="connsiteX21" fmla="*/ 6973 w 9542"/>
                  <a:gd name="connsiteY21" fmla="*/ 2112 h 10000"/>
                  <a:gd name="connsiteX22" fmla="*/ 6881 w 9542"/>
                  <a:gd name="connsiteY22" fmla="*/ 1677 h 10000"/>
                  <a:gd name="connsiteX23" fmla="*/ 6699 w 9542"/>
                  <a:gd name="connsiteY23" fmla="*/ 1242 h 10000"/>
                  <a:gd name="connsiteX24" fmla="*/ 6514 w 9542"/>
                  <a:gd name="connsiteY24" fmla="*/ 870 h 10000"/>
                  <a:gd name="connsiteX25" fmla="*/ 6147 w 9542"/>
                  <a:gd name="connsiteY25" fmla="*/ 559 h 10000"/>
                  <a:gd name="connsiteX26" fmla="*/ 5781 w 9542"/>
                  <a:gd name="connsiteY26" fmla="*/ 311 h 10000"/>
                  <a:gd name="connsiteX27" fmla="*/ 5321 w 9542"/>
                  <a:gd name="connsiteY27" fmla="*/ 186 h 10000"/>
                  <a:gd name="connsiteX28" fmla="*/ 4862 w 9542"/>
                  <a:gd name="connsiteY28" fmla="*/ 0 h 10000"/>
                  <a:gd name="connsiteX29" fmla="*/ 4312 w 9542"/>
                  <a:gd name="connsiteY29" fmla="*/ 0 h 10000"/>
                  <a:gd name="connsiteX30" fmla="*/ 4312 w 9542"/>
                  <a:gd name="connsiteY30" fmla="*/ 0 h 10000"/>
                  <a:gd name="connsiteX31" fmla="*/ 3853 w 9542"/>
                  <a:gd name="connsiteY31" fmla="*/ 0 h 10000"/>
                  <a:gd name="connsiteX32" fmla="*/ 3395 w 9542"/>
                  <a:gd name="connsiteY32" fmla="*/ 186 h 10000"/>
                  <a:gd name="connsiteX33" fmla="*/ 2936 w 9542"/>
                  <a:gd name="connsiteY33" fmla="*/ 311 h 10000"/>
                  <a:gd name="connsiteX34" fmla="*/ 2478 w 9542"/>
                  <a:gd name="connsiteY34" fmla="*/ 559 h 10000"/>
                  <a:gd name="connsiteX35" fmla="*/ 2202 w 9542"/>
                  <a:gd name="connsiteY35" fmla="*/ 870 h 10000"/>
                  <a:gd name="connsiteX36" fmla="*/ 1926 w 9542"/>
                  <a:gd name="connsiteY36" fmla="*/ 1242 h 10000"/>
                  <a:gd name="connsiteX37" fmla="*/ 1743 w 9542"/>
                  <a:gd name="connsiteY37" fmla="*/ 1677 h 10000"/>
                  <a:gd name="connsiteX38" fmla="*/ 1743 w 9542"/>
                  <a:gd name="connsiteY38" fmla="*/ 2112 h 10000"/>
                  <a:gd name="connsiteX39" fmla="*/ 1743 w 9542"/>
                  <a:gd name="connsiteY39" fmla="*/ 2112 h 10000"/>
                  <a:gd name="connsiteX40" fmla="*/ 1836 w 9542"/>
                  <a:gd name="connsiteY40" fmla="*/ 2671 h 10000"/>
                  <a:gd name="connsiteX41" fmla="*/ 2202 w 9542"/>
                  <a:gd name="connsiteY41" fmla="*/ 3230 h 10000"/>
                  <a:gd name="connsiteX42" fmla="*/ 2661 w 9542"/>
                  <a:gd name="connsiteY42" fmla="*/ 3727 h 10000"/>
                  <a:gd name="connsiteX43" fmla="*/ 3120 w 9542"/>
                  <a:gd name="connsiteY43" fmla="*/ 4099 h 10000"/>
                  <a:gd name="connsiteX44" fmla="*/ 3120 w 9542"/>
                  <a:gd name="connsiteY44" fmla="*/ 4099 h 10000"/>
                  <a:gd name="connsiteX45" fmla="*/ 2110 w 9542"/>
                  <a:gd name="connsiteY45" fmla="*/ 4410 h 10000"/>
                  <a:gd name="connsiteX46" fmla="*/ 1284 w 9542"/>
                  <a:gd name="connsiteY46" fmla="*/ 4783 h 10000"/>
                  <a:gd name="connsiteX47" fmla="*/ 551 w 9542"/>
                  <a:gd name="connsiteY47" fmla="*/ 5342 h 10000"/>
                  <a:gd name="connsiteX48" fmla="*/ 0 w 9542"/>
                  <a:gd name="connsiteY48" fmla="*/ 6087 h 10000"/>
                  <a:gd name="connsiteX0" fmla="*/ 3846 w 9423"/>
                  <a:gd name="connsiteY0" fmla="*/ 10000 h 10000"/>
                  <a:gd name="connsiteX1" fmla="*/ 3846 w 9423"/>
                  <a:gd name="connsiteY1" fmla="*/ 10000 h 10000"/>
                  <a:gd name="connsiteX2" fmla="*/ 5865 w 9423"/>
                  <a:gd name="connsiteY2" fmla="*/ 10000 h 10000"/>
                  <a:gd name="connsiteX3" fmla="*/ 7693 w 9423"/>
                  <a:gd name="connsiteY3" fmla="*/ 9938 h 10000"/>
                  <a:gd name="connsiteX4" fmla="*/ 8942 w 9423"/>
                  <a:gd name="connsiteY4" fmla="*/ 9814 h 10000"/>
                  <a:gd name="connsiteX5" fmla="*/ 9327 w 9423"/>
                  <a:gd name="connsiteY5" fmla="*/ 9752 h 10000"/>
                  <a:gd name="connsiteX6" fmla="*/ 9423 w 9423"/>
                  <a:gd name="connsiteY6" fmla="*/ 9689 h 10000"/>
                  <a:gd name="connsiteX7" fmla="*/ 9423 w 9423"/>
                  <a:gd name="connsiteY7" fmla="*/ 9689 h 10000"/>
                  <a:gd name="connsiteX8" fmla="*/ 9423 w 9423"/>
                  <a:gd name="connsiteY8" fmla="*/ 8634 h 10000"/>
                  <a:gd name="connsiteX9" fmla="*/ 9327 w 9423"/>
                  <a:gd name="connsiteY9" fmla="*/ 7702 h 10000"/>
                  <a:gd name="connsiteX10" fmla="*/ 8942 w 9423"/>
                  <a:gd name="connsiteY10" fmla="*/ 6832 h 10000"/>
                  <a:gd name="connsiteX11" fmla="*/ 8558 w 9423"/>
                  <a:gd name="connsiteY11" fmla="*/ 6087 h 10000"/>
                  <a:gd name="connsiteX12" fmla="*/ 7981 w 9423"/>
                  <a:gd name="connsiteY12" fmla="*/ 5342 h 10000"/>
                  <a:gd name="connsiteX13" fmla="*/ 7211 w 9423"/>
                  <a:gd name="connsiteY13" fmla="*/ 4783 h 10000"/>
                  <a:gd name="connsiteX14" fmla="*/ 6250 w 9423"/>
                  <a:gd name="connsiteY14" fmla="*/ 4410 h 10000"/>
                  <a:gd name="connsiteX15" fmla="*/ 5191 w 9423"/>
                  <a:gd name="connsiteY15" fmla="*/ 4099 h 10000"/>
                  <a:gd name="connsiteX16" fmla="*/ 5191 w 9423"/>
                  <a:gd name="connsiteY16" fmla="*/ 4099 h 10000"/>
                  <a:gd name="connsiteX17" fmla="*/ 5770 w 9423"/>
                  <a:gd name="connsiteY17" fmla="*/ 3727 h 10000"/>
                  <a:gd name="connsiteX18" fmla="*/ 6154 w 9423"/>
                  <a:gd name="connsiteY18" fmla="*/ 3230 h 10000"/>
                  <a:gd name="connsiteX19" fmla="*/ 6444 w 9423"/>
                  <a:gd name="connsiteY19" fmla="*/ 2671 h 10000"/>
                  <a:gd name="connsiteX20" fmla="*/ 6731 w 9423"/>
                  <a:gd name="connsiteY20" fmla="*/ 2112 h 10000"/>
                  <a:gd name="connsiteX21" fmla="*/ 6731 w 9423"/>
                  <a:gd name="connsiteY21" fmla="*/ 2112 h 10000"/>
                  <a:gd name="connsiteX22" fmla="*/ 6634 w 9423"/>
                  <a:gd name="connsiteY22" fmla="*/ 1677 h 10000"/>
                  <a:gd name="connsiteX23" fmla="*/ 6444 w 9423"/>
                  <a:gd name="connsiteY23" fmla="*/ 1242 h 10000"/>
                  <a:gd name="connsiteX24" fmla="*/ 6250 w 9423"/>
                  <a:gd name="connsiteY24" fmla="*/ 870 h 10000"/>
                  <a:gd name="connsiteX25" fmla="*/ 5865 w 9423"/>
                  <a:gd name="connsiteY25" fmla="*/ 559 h 10000"/>
                  <a:gd name="connsiteX26" fmla="*/ 5481 w 9423"/>
                  <a:gd name="connsiteY26" fmla="*/ 311 h 10000"/>
                  <a:gd name="connsiteX27" fmla="*/ 4999 w 9423"/>
                  <a:gd name="connsiteY27" fmla="*/ 186 h 10000"/>
                  <a:gd name="connsiteX28" fmla="*/ 4518 w 9423"/>
                  <a:gd name="connsiteY28" fmla="*/ 0 h 10000"/>
                  <a:gd name="connsiteX29" fmla="*/ 3942 w 9423"/>
                  <a:gd name="connsiteY29" fmla="*/ 0 h 10000"/>
                  <a:gd name="connsiteX30" fmla="*/ 3942 w 9423"/>
                  <a:gd name="connsiteY30" fmla="*/ 0 h 10000"/>
                  <a:gd name="connsiteX31" fmla="*/ 3461 w 9423"/>
                  <a:gd name="connsiteY31" fmla="*/ 0 h 10000"/>
                  <a:gd name="connsiteX32" fmla="*/ 2981 w 9423"/>
                  <a:gd name="connsiteY32" fmla="*/ 186 h 10000"/>
                  <a:gd name="connsiteX33" fmla="*/ 2500 w 9423"/>
                  <a:gd name="connsiteY33" fmla="*/ 311 h 10000"/>
                  <a:gd name="connsiteX34" fmla="*/ 2020 w 9423"/>
                  <a:gd name="connsiteY34" fmla="*/ 559 h 10000"/>
                  <a:gd name="connsiteX35" fmla="*/ 1731 w 9423"/>
                  <a:gd name="connsiteY35" fmla="*/ 870 h 10000"/>
                  <a:gd name="connsiteX36" fmla="*/ 1441 w 9423"/>
                  <a:gd name="connsiteY36" fmla="*/ 1242 h 10000"/>
                  <a:gd name="connsiteX37" fmla="*/ 1250 w 9423"/>
                  <a:gd name="connsiteY37" fmla="*/ 1677 h 10000"/>
                  <a:gd name="connsiteX38" fmla="*/ 1250 w 9423"/>
                  <a:gd name="connsiteY38" fmla="*/ 2112 h 10000"/>
                  <a:gd name="connsiteX39" fmla="*/ 1250 w 9423"/>
                  <a:gd name="connsiteY39" fmla="*/ 2112 h 10000"/>
                  <a:gd name="connsiteX40" fmla="*/ 1347 w 9423"/>
                  <a:gd name="connsiteY40" fmla="*/ 2671 h 10000"/>
                  <a:gd name="connsiteX41" fmla="*/ 1731 w 9423"/>
                  <a:gd name="connsiteY41" fmla="*/ 3230 h 10000"/>
                  <a:gd name="connsiteX42" fmla="*/ 2212 w 9423"/>
                  <a:gd name="connsiteY42" fmla="*/ 3727 h 10000"/>
                  <a:gd name="connsiteX43" fmla="*/ 2693 w 9423"/>
                  <a:gd name="connsiteY43" fmla="*/ 4099 h 10000"/>
                  <a:gd name="connsiteX44" fmla="*/ 2693 w 9423"/>
                  <a:gd name="connsiteY44" fmla="*/ 4099 h 10000"/>
                  <a:gd name="connsiteX45" fmla="*/ 1634 w 9423"/>
                  <a:gd name="connsiteY45" fmla="*/ 4410 h 10000"/>
                  <a:gd name="connsiteX46" fmla="*/ 769 w 9423"/>
                  <a:gd name="connsiteY46" fmla="*/ 4783 h 10000"/>
                  <a:gd name="connsiteX47" fmla="*/ 0 w 9423"/>
                  <a:gd name="connsiteY47" fmla="*/ 5342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9423" h="10000">
                    <a:moveTo>
                      <a:pt x="3846" y="10000"/>
                    </a:moveTo>
                    <a:lnTo>
                      <a:pt x="3846" y="10000"/>
                    </a:lnTo>
                    <a:lnTo>
                      <a:pt x="5865" y="10000"/>
                    </a:lnTo>
                    <a:lnTo>
                      <a:pt x="7693" y="9938"/>
                    </a:lnTo>
                    <a:lnTo>
                      <a:pt x="8942" y="9814"/>
                    </a:lnTo>
                    <a:lnTo>
                      <a:pt x="9327" y="9752"/>
                    </a:lnTo>
                    <a:lnTo>
                      <a:pt x="9423" y="9689"/>
                    </a:lnTo>
                    <a:lnTo>
                      <a:pt x="9423" y="9689"/>
                    </a:lnTo>
                    <a:lnTo>
                      <a:pt x="9423" y="8634"/>
                    </a:lnTo>
                    <a:cubicBezTo>
                      <a:pt x="9391" y="8323"/>
                      <a:pt x="9358" y="8013"/>
                      <a:pt x="9327" y="7702"/>
                    </a:cubicBezTo>
                    <a:lnTo>
                      <a:pt x="8942" y="6832"/>
                    </a:lnTo>
                    <a:lnTo>
                      <a:pt x="8558" y="6087"/>
                    </a:lnTo>
                    <a:lnTo>
                      <a:pt x="7981" y="5342"/>
                    </a:lnTo>
                    <a:lnTo>
                      <a:pt x="7211" y="4783"/>
                    </a:lnTo>
                    <a:lnTo>
                      <a:pt x="6250" y="4410"/>
                    </a:lnTo>
                    <a:lnTo>
                      <a:pt x="5191" y="4099"/>
                    </a:lnTo>
                    <a:lnTo>
                      <a:pt x="5191" y="4099"/>
                    </a:lnTo>
                    <a:lnTo>
                      <a:pt x="5770" y="3727"/>
                    </a:lnTo>
                    <a:lnTo>
                      <a:pt x="6154" y="3230"/>
                    </a:lnTo>
                    <a:cubicBezTo>
                      <a:pt x="6251" y="3044"/>
                      <a:pt x="6347" y="2857"/>
                      <a:pt x="6444" y="2671"/>
                    </a:cubicBezTo>
                    <a:cubicBezTo>
                      <a:pt x="6540" y="2485"/>
                      <a:pt x="6635" y="2298"/>
                      <a:pt x="6731" y="2112"/>
                    </a:cubicBezTo>
                    <a:lnTo>
                      <a:pt x="6731" y="2112"/>
                    </a:lnTo>
                    <a:cubicBezTo>
                      <a:pt x="6699" y="1967"/>
                      <a:pt x="6666" y="1822"/>
                      <a:pt x="6634" y="1677"/>
                    </a:cubicBezTo>
                    <a:cubicBezTo>
                      <a:pt x="6571" y="1532"/>
                      <a:pt x="6506" y="1387"/>
                      <a:pt x="6444" y="1242"/>
                    </a:cubicBezTo>
                    <a:lnTo>
                      <a:pt x="6250" y="870"/>
                    </a:lnTo>
                    <a:lnTo>
                      <a:pt x="5865" y="559"/>
                    </a:lnTo>
                    <a:lnTo>
                      <a:pt x="5481" y="311"/>
                    </a:lnTo>
                    <a:lnTo>
                      <a:pt x="4999" y="186"/>
                    </a:lnTo>
                    <a:lnTo>
                      <a:pt x="4518" y="0"/>
                    </a:lnTo>
                    <a:lnTo>
                      <a:pt x="3942" y="0"/>
                    </a:lnTo>
                    <a:lnTo>
                      <a:pt x="3942" y="0"/>
                    </a:lnTo>
                    <a:lnTo>
                      <a:pt x="3461" y="0"/>
                    </a:lnTo>
                    <a:lnTo>
                      <a:pt x="2981" y="186"/>
                    </a:lnTo>
                    <a:lnTo>
                      <a:pt x="2500" y="311"/>
                    </a:lnTo>
                    <a:lnTo>
                      <a:pt x="2020" y="559"/>
                    </a:lnTo>
                    <a:lnTo>
                      <a:pt x="1731" y="870"/>
                    </a:lnTo>
                    <a:lnTo>
                      <a:pt x="1441" y="1242"/>
                    </a:lnTo>
                    <a:cubicBezTo>
                      <a:pt x="1379" y="1387"/>
                      <a:pt x="1314" y="1532"/>
                      <a:pt x="1250" y="1677"/>
                    </a:cubicBezTo>
                    <a:lnTo>
                      <a:pt x="1250" y="2112"/>
                    </a:lnTo>
                    <a:lnTo>
                      <a:pt x="1250" y="2112"/>
                    </a:lnTo>
                    <a:cubicBezTo>
                      <a:pt x="1282" y="2298"/>
                      <a:pt x="1315" y="2485"/>
                      <a:pt x="1347" y="2671"/>
                    </a:cubicBezTo>
                    <a:lnTo>
                      <a:pt x="1731" y="3230"/>
                    </a:lnTo>
                    <a:lnTo>
                      <a:pt x="2212" y="3727"/>
                    </a:lnTo>
                    <a:lnTo>
                      <a:pt x="2693" y="4099"/>
                    </a:lnTo>
                    <a:lnTo>
                      <a:pt x="2693" y="4099"/>
                    </a:lnTo>
                    <a:lnTo>
                      <a:pt x="1634" y="4410"/>
                    </a:lnTo>
                    <a:lnTo>
                      <a:pt x="769" y="4783"/>
                    </a:lnTo>
                    <a:lnTo>
                      <a:pt x="0" y="5342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2" name="Freeform 897"/>
              <p:cNvSpPr>
                <a:spLocks/>
              </p:cNvSpPr>
              <p:nvPr/>
            </p:nvSpPr>
            <p:spPr bwMode="auto">
              <a:xfrm>
                <a:off x="4509658" y="4876544"/>
                <a:ext cx="181869" cy="255132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2666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52" fmla="*/ 0 w 10000"/>
                  <a:gd name="connsiteY52" fmla="*/ 9689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10000" h="10000">
                    <a:moveTo>
                      <a:pt x="4912" y="10000"/>
                    </a:moveTo>
                    <a:lnTo>
                      <a:pt x="2666" y="10000"/>
                    </a:lnTo>
                    <a:lnTo>
                      <a:pt x="6754" y="10000"/>
                    </a:lnTo>
                    <a:lnTo>
                      <a:pt x="8421" y="9938"/>
                    </a:lnTo>
                    <a:lnTo>
                      <a:pt x="9561" y="9814"/>
                    </a:lnTo>
                    <a:lnTo>
                      <a:pt x="9912" y="9752"/>
                    </a:lnTo>
                    <a:lnTo>
                      <a:pt x="10000" y="9689"/>
                    </a:lnTo>
                    <a:lnTo>
                      <a:pt x="10000" y="9689"/>
                    </a:lnTo>
                    <a:lnTo>
                      <a:pt x="10000" y="8634"/>
                    </a:lnTo>
                    <a:cubicBezTo>
                      <a:pt x="9971" y="8323"/>
                      <a:pt x="9941" y="8013"/>
                      <a:pt x="9912" y="7702"/>
                    </a:cubicBezTo>
                    <a:lnTo>
                      <a:pt x="9561" y="6832"/>
                    </a:lnTo>
                    <a:lnTo>
                      <a:pt x="9211" y="6087"/>
                    </a:lnTo>
                    <a:lnTo>
                      <a:pt x="8684" y="5342"/>
                    </a:lnTo>
                    <a:lnTo>
                      <a:pt x="7982" y="4783"/>
                    </a:lnTo>
                    <a:lnTo>
                      <a:pt x="7105" y="4410"/>
                    </a:lnTo>
                    <a:lnTo>
                      <a:pt x="6140" y="4099"/>
                    </a:lnTo>
                    <a:lnTo>
                      <a:pt x="6140" y="4099"/>
                    </a:lnTo>
                    <a:lnTo>
                      <a:pt x="6667" y="3727"/>
                    </a:lnTo>
                    <a:lnTo>
                      <a:pt x="7018" y="3230"/>
                    </a:lnTo>
                    <a:cubicBezTo>
                      <a:pt x="7106" y="3044"/>
                      <a:pt x="7193" y="2857"/>
                      <a:pt x="7281" y="2671"/>
                    </a:cubicBezTo>
                    <a:cubicBezTo>
                      <a:pt x="7369" y="2485"/>
                      <a:pt x="7456" y="2298"/>
                      <a:pt x="7544" y="2112"/>
                    </a:cubicBezTo>
                    <a:lnTo>
                      <a:pt x="7544" y="2112"/>
                    </a:lnTo>
                    <a:cubicBezTo>
                      <a:pt x="7515" y="1967"/>
                      <a:pt x="7485" y="1822"/>
                      <a:pt x="7456" y="1677"/>
                    </a:cubicBezTo>
                    <a:cubicBezTo>
                      <a:pt x="7398" y="1532"/>
                      <a:pt x="7339" y="1387"/>
                      <a:pt x="7281" y="1242"/>
                    </a:cubicBezTo>
                    <a:cubicBezTo>
                      <a:pt x="7222" y="1118"/>
                      <a:pt x="7164" y="994"/>
                      <a:pt x="7105" y="870"/>
                    </a:cubicBezTo>
                    <a:lnTo>
                      <a:pt x="6754" y="559"/>
                    </a:lnTo>
                    <a:lnTo>
                      <a:pt x="6404" y="311"/>
                    </a:lnTo>
                    <a:lnTo>
                      <a:pt x="5965" y="186"/>
                    </a:lnTo>
                    <a:lnTo>
                      <a:pt x="5526" y="0"/>
                    </a:lnTo>
                    <a:lnTo>
                      <a:pt x="5000" y="0"/>
                    </a:lnTo>
                    <a:lnTo>
                      <a:pt x="5000" y="0"/>
                    </a:lnTo>
                    <a:lnTo>
                      <a:pt x="4561" y="0"/>
                    </a:lnTo>
                    <a:lnTo>
                      <a:pt x="4123" y="186"/>
                    </a:lnTo>
                    <a:lnTo>
                      <a:pt x="3684" y="311"/>
                    </a:lnTo>
                    <a:lnTo>
                      <a:pt x="3246" y="559"/>
                    </a:lnTo>
                    <a:lnTo>
                      <a:pt x="2982" y="870"/>
                    </a:lnTo>
                    <a:lnTo>
                      <a:pt x="2719" y="1242"/>
                    </a:lnTo>
                    <a:cubicBezTo>
                      <a:pt x="2661" y="1387"/>
                      <a:pt x="2602" y="1532"/>
                      <a:pt x="2544" y="1677"/>
                    </a:cubicBezTo>
                    <a:lnTo>
                      <a:pt x="2544" y="2112"/>
                    </a:lnTo>
                    <a:lnTo>
                      <a:pt x="2544" y="2112"/>
                    </a:lnTo>
                    <a:cubicBezTo>
                      <a:pt x="2573" y="2298"/>
                      <a:pt x="2603" y="2485"/>
                      <a:pt x="2632" y="2671"/>
                    </a:cubicBezTo>
                    <a:lnTo>
                      <a:pt x="2982" y="3230"/>
                    </a:lnTo>
                    <a:lnTo>
                      <a:pt x="3421" y="3727"/>
                    </a:lnTo>
                    <a:lnTo>
                      <a:pt x="3860" y="4099"/>
                    </a:lnTo>
                    <a:lnTo>
                      <a:pt x="3860" y="4099"/>
                    </a:lnTo>
                    <a:lnTo>
                      <a:pt x="2895" y="4410"/>
                    </a:lnTo>
                    <a:lnTo>
                      <a:pt x="2105" y="4783"/>
                    </a:lnTo>
                    <a:lnTo>
                      <a:pt x="1404" y="5342"/>
                    </a:lnTo>
                    <a:lnTo>
                      <a:pt x="877" y="6087"/>
                    </a:lnTo>
                    <a:lnTo>
                      <a:pt x="439" y="6832"/>
                    </a:lnTo>
                    <a:lnTo>
                      <a:pt x="175" y="7702"/>
                    </a:lnTo>
                    <a:cubicBezTo>
                      <a:pt x="117" y="8013"/>
                      <a:pt x="58" y="8323"/>
                      <a:pt x="0" y="8634"/>
                    </a:cubicBezTo>
                    <a:lnTo>
                      <a:pt x="0" y="968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grpSp>
            <p:nvGrpSpPr>
              <p:cNvPr id="8" name="Groupe 78"/>
              <p:cNvGrpSpPr>
                <a:grpSpLocks/>
              </p:cNvGrpSpPr>
              <p:nvPr/>
            </p:nvGrpSpPr>
            <p:grpSpPr bwMode="auto">
              <a:xfrm>
                <a:off x="4430703" y="4715239"/>
                <a:ext cx="166698" cy="247657"/>
                <a:chOff x="4430703" y="4715239"/>
                <a:chExt cx="166698" cy="247657"/>
              </a:xfrm>
            </p:grpSpPr>
            <p:sp>
              <p:nvSpPr>
                <p:cNvPr id="24" name="Freeform 897"/>
                <p:cNvSpPr>
                  <a:spLocks/>
                </p:cNvSpPr>
                <p:nvPr/>
              </p:nvSpPr>
              <p:spPr bwMode="auto">
                <a:xfrm>
                  <a:off x="4431090" y="4714686"/>
                  <a:ext cx="165865" cy="248273"/>
                </a:xfrm>
                <a:custGeom>
                  <a:avLst/>
                  <a:gdLst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6754 w 10000"/>
                    <a:gd name="connsiteY2" fmla="*/ 10000 h 10000"/>
                    <a:gd name="connsiteX3" fmla="*/ 8421 w 10000"/>
                    <a:gd name="connsiteY3" fmla="*/ 9938 h 10000"/>
                    <a:gd name="connsiteX4" fmla="*/ 9561 w 10000"/>
                    <a:gd name="connsiteY4" fmla="*/ 9814 h 10000"/>
                    <a:gd name="connsiteX5" fmla="*/ 9912 w 10000"/>
                    <a:gd name="connsiteY5" fmla="*/ 9752 h 10000"/>
                    <a:gd name="connsiteX6" fmla="*/ 10000 w 10000"/>
                    <a:gd name="connsiteY6" fmla="*/ 9689 h 10000"/>
                    <a:gd name="connsiteX7" fmla="*/ 10000 w 10000"/>
                    <a:gd name="connsiteY7" fmla="*/ 9689 h 10000"/>
                    <a:gd name="connsiteX8" fmla="*/ 10000 w 10000"/>
                    <a:gd name="connsiteY8" fmla="*/ 8634 h 10000"/>
                    <a:gd name="connsiteX9" fmla="*/ 9912 w 10000"/>
                    <a:gd name="connsiteY9" fmla="*/ 7702 h 10000"/>
                    <a:gd name="connsiteX10" fmla="*/ 9561 w 10000"/>
                    <a:gd name="connsiteY10" fmla="*/ 6832 h 10000"/>
                    <a:gd name="connsiteX11" fmla="*/ 9211 w 10000"/>
                    <a:gd name="connsiteY11" fmla="*/ 6087 h 10000"/>
                    <a:gd name="connsiteX12" fmla="*/ 8684 w 10000"/>
                    <a:gd name="connsiteY12" fmla="*/ 5342 h 10000"/>
                    <a:gd name="connsiteX13" fmla="*/ 7982 w 10000"/>
                    <a:gd name="connsiteY13" fmla="*/ 4783 h 10000"/>
                    <a:gd name="connsiteX14" fmla="*/ 7105 w 10000"/>
                    <a:gd name="connsiteY14" fmla="*/ 4410 h 10000"/>
                    <a:gd name="connsiteX15" fmla="*/ 6140 w 10000"/>
                    <a:gd name="connsiteY15" fmla="*/ 4099 h 10000"/>
                    <a:gd name="connsiteX16" fmla="*/ 6140 w 10000"/>
                    <a:gd name="connsiteY16" fmla="*/ 4099 h 10000"/>
                    <a:gd name="connsiteX17" fmla="*/ 6667 w 10000"/>
                    <a:gd name="connsiteY17" fmla="*/ 3727 h 10000"/>
                    <a:gd name="connsiteX18" fmla="*/ 7018 w 10000"/>
                    <a:gd name="connsiteY18" fmla="*/ 3230 h 10000"/>
                    <a:gd name="connsiteX19" fmla="*/ 7281 w 10000"/>
                    <a:gd name="connsiteY19" fmla="*/ 2671 h 10000"/>
                    <a:gd name="connsiteX20" fmla="*/ 7544 w 10000"/>
                    <a:gd name="connsiteY20" fmla="*/ 2112 h 10000"/>
                    <a:gd name="connsiteX21" fmla="*/ 7544 w 10000"/>
                    <a:gd name="connsiteY21" fmla="*/ 2112 h 10000"/>
                    <a:gd name="connsiteX22" fmla="*/ 7456 w 10000"/>
                    <a:gd name="connsiteY22" fmla="*/ 1677 h 10000"/>
                    <a:gd name="connsiteX23" fmla="*/ 7281 w 10000"/>
                    <a:gd name="connsiteY23" fmla="*/ 1242 h 10000"/>
                    <a:gd name="connsiteX24" fmla="*/ 7105 w 10000"/>
                    <a:gd name="connsiteY24" fmla="*/ 870 h 10000"/>
                    <a:gd name="connsiteX25" fmla="*/ 6754 w 10000"/>
                    <a:gd name="connsiteY25" fmla="*/ 559 h 10000"/>
                    <a:gd name="connsiteX26" fmla="*/ 6404 w 10000"/>
                    <a:gd name="connsiteY26" fmla="*/ 311 h 10000"/>
                    <a:gd name="connsiteX27" fmla="*/ 5965 w 10000"/>
                    <a:gd name="connsiteY27" fmla="*/ 186 h 10000"/>
                    <a:gd name="connsiteX28" fmla="*/ 5526 w 10000"/>
                    <a:gd name="connsiteY28" fmla="*/ 0 h 10000"/>
                    <a:gd name="connsiteX29" fmla="*/ 5000 w 10000"/>
                    <a:gd name="connsiteY29" fmla="*/ 0 h 10000"/>
                    <a:gd name="connsiteX30" fmla="*/ 5000 w 10000"/>
                    <a:gd name="connsiteY30" fmla="*/ 0 h 10000"/>
                    <a:gd name="connsiteX31" fmla="*/ 4561 w 10000"/>
                    <a:gd name="connsiteY31" fmla="*/ 0 h 10000"/>
                    <a:gd name="connsiteX32" fmla="*/ 4123 w 10000"/>
                    <a:gd name="connsiteY32" fmla="*/ 186 h 10000"/>
                    <a:gd name="connsiteX33" fmla="*/ 3684 w 10000"/>
                    <a:gd name="connsiteY33" fmla="*/ 311 h 10000"/>
                    <a:gd name="connsiteX34" fmla="*/ 3246 w 10000"/>
                    <a:gd name="connsiteY34" fmla="*/ 559 h 10000"/>
                    <a:gd name="connsiteX35" fmla="*/ 2982 w 10000"/>
                    <a:gd name="connsiteY35" fmla="*/ 870 h 10000"/>
                    <a:gd name="connsiteX36" fmla="*/ 2719 w 10000"/>
                    <a:gd name="connsiteY36" fmla="*/ 1242 h 10000"/>
                    <a:gd name="connsiteX37" fmla="*/ 2544 w 10000"/>
                    <a:gd name="connsiteY37" fmla="*/ 1677 h 10000"/>
                    <a:gd name="connsiteX38" fmla="*/ 2544 w 10000"/>
                    <a:gd name="connsiteY38" fmla="*/ 2112 h 10000"/>
                    <a:gd name="connsiteX39" fmla="*/ 2544 w 10000"/>
                    <a:gd name="connsiteY39" fmla="*/ 2112 h 10000"/>
                    <a:gd name="connsiteX40" fmla="*/ 2632 w 10000"/>
                    <a:gd name="connsiteY40" fmla="*/ 2671 h 10000"/>
                    <a:gd name="connsiteX41" fmla="*/ 2982 w 10000"/>
                    <a:gd name="connsiteY41" fmla="*/ 3230 h 10000"/>
                    <a:gd name="connsiteX42" fmla="*/ 3421 w 10000"/>
                    <a:gd name="connsiteY42" fmla="*/ 3727 h 10000"/>
                    <a:gd name="connsiteX43" fmla="*/ 3860 w 10000"/>
                    <a:gd name="connsiteY43" fmla="*/ 4099 h 10000"/>
                    <a:gd name="connsiteX44" fmla="*/ 3860 w 10000"/>
                    <a:gd name="connsiteY44" fmla="*/ 4099 h 10000"/>
                    <a:gd name="connsiteX45" fmla="*/ 2895 w 10000"/>
                    <a:gd name="connsiteY45" fmla="*/ 4410 h 10000"/>
                    <a:gd name="connsiteX46" fmla="*/ 2105 w 10000"/>
                    <a:gd name="connsiteY46" fmla="*/ 4783 h 10000"/>
                    <a:gd name="connsiteX47" fmla="*/ 1404 w 10000"/>
                    <a:gd name="connsiteY47" fmla="*/ 5342 h 10000"/>
                    <a:gd name="connsiteX48" fmla="*/ 877 w 10000"/>
                    <a:gd name="connsiteY48" fmla="*/ 6087 h 10000"/>
                    <a:gd name="connsiteX49" fmla="*/ 439 w 10000"/>
                    <a:gd name="connsiteY49" fmla="*/ 6832 h 10000"/>
                    <a:gd name="connsiteX50" fmla="*/ 175 w 10000"/>
                    <a:gd name="connsiteY50" fmla="*/ 7702 h 10000"/>
                    <a:gd name="connsiteX51" fmla="*/ 0 w 10000"/>
                    <a:gd name="connsiteY51" fmla="*/ 8634 h 10000"/>
                    <a:gd name="connsiteX52" fmla="*/ 0 w 10000"/>
                    <a:gd name="connsiteY52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8421 w 10000"/>
                    <a:gd name="connsiteY2" fmla="*/ 9938 h 10000"/>
                    <a:gd name="connsiteX3" fmla="*/ 9561 w 10000"/>
                    <a:gd name="connsiteY3" fmla="*/ 9814 h 10000"/>
                    <a:gd name="connsiteX4" fmla="*/ 9912 w 10000"/>
                    <a:gd name="connsiteY4" fmla="*/ 9752 h 10000"/>
                    <a:gd name="connsiteX5" fmla="*/ 10000 w 10000"/>
                    <a:gd name="connsiteY5" fmla="*/ 9689 h 10000"/>
                    <a:gd name="connsiteX6" fmla="*/ 10000 w 10000"/>
                    <a:gd name="connsiteY6" fmla="*/ 9689 h 10000"/>
                    <a:gd name="connsiteX7" fmla="*/ 10000 w 10000"/>
                    <a:gd name="connsiteY7" fmla="*/ 8634 h 10000"/>
                    <a:gd name="connsiteX8" fmla="*/ 9912 w 10000"/>
                    <a:gd name="connsiteY8" fmla="*/ 7702 h 10000"/>
                    <a:gd name="connsiteX9" fmla="*/ 9561 w 10000"/>
                    <a:gd name="connsiteY9" fmla="*/ 6832 h 10000"/>
                    <a:gd name="connsiteX10" fmla="*/ 9211 w 10000"/>
                    <a:gd name="connsiteY10" fmla="*/ 6087 h 10000"/>
                    <a:gd name="connsiteX11" fmla="*/ 8684 w 10000"/>
                    <a:gd name="connsiteY11" fmla="*/ 5342 h 10000"/>
                    <a:gd name="connsiteX12" fmla="*/ 7982 w 10000"/>
                    <a:gd name="connsiteY12" fmla="*/ 4783 h 10000"/>
                    <a:gd name="connsiteX13" fmla="*/ 7105 w 10000"/>
                    <a:gd name="connsiteY13" fmla="*/ 4410 h 10000"/>
                    <a:gd name="connsiteX14" fmla="*/ 6140 w 10000"/>
                    <a:gd name="connsiteY14" fmla="*/ 4099 h 10000"/>
                    <a:gd name="connsiteX15" fmla="*/ 6140 w 10000"/>
                    <a:gd name="connsiteY15" fmla="*/ 4099 h 10000"/>
                    <a:gd name="connsiteX16" fmla="*/ 6667 w 10000"/>
                    <a:gd name="connsiteY16" fmla="*/ 3727 h 10000"/>
                    <a:gd name="connsiteX17" fmla="*/ 7018 w 10000"/>
                    <a:gd name="connsiteY17" fmla="*/ 3230 h 10000"/>
                    <a:gd name="connsiteX18" fmla="*/ 7281 w 10000"/>
                    <a:gd name="connsiteY18" fmla="*/ 2671 h 10000"/>
                    <a:gd name="connsiteX19" fmla="*/ 7544 w 10000"/>
                    <a:gd name="connsiteY19" fmla="*/ 2112 h 10000"/>
                    <a:gd name="connsiteX20" fmla="*/ 7544 w 10000"/>
                    <a:gd name="connsiteY20" fmla="*/ 2112 h 10000"/>
                    <a:gd name="connsiteX21" fmla="*/ 7456 w 10000"/>
                    <a:gd name="connsiteY21" fmla="*/ 1677 h 10000"/>
                    <a:gd name="connsiteX22" fmla="*/ 7281 w 10000"/>
                    <a:gd name="connsiteY22" fmla="*/ 1242 h 10000"/>
                    <a:gd name="connsiteX23" fmla="*/ 7105 w 10000"/>
                    <a:gd name="connsiteY23" fmla="*/ 870 h 10000"/>
                    <a:gd name="connsiteX24" fmla="*/ 6754 w 10000"/>
                    <a:gd name="connsiteY24" fmla="*/ 559 h 10000"/>
                    <a:gd name="connsiteX25" fmla="*/ 6404 w 10000"/>
                    <a:gd name="connsiteY25" fmla="*/ 311 h 10000"/>
                    <a:gd name="connsiteX26" fmla="*/ 5965 w 10000"/>
                    <a:gd name="connsiteY26" fmla="*/ 186 h 10000"/>
                    <a:gd name="connsiteX27" fmla="*/ 5526 w 10000"/>
                    <a:gd name="connsiteY27" fmla="*/ 0 h 10000"/>
                    <a:gd name="connsiteX28" fmla="*/ 5000 w 10000"/>
                    <a:gd name="connsiteY28" fmla="*/ 0 h 10000"/>
                    <a:gd name="connsiteX29" fmla="*/ 5000 w 10000"/>
                    <a:gd name="connsiteY29" fmla="*/ 0 h 10000"/>
                    <a:gd name="connsiteX30" fmla="*/ 4561 w 10000"/>
                    <a:gd name="connsiteY30" fmla="*/ 0 h 10000"/>
                    <a:gd name="connsiteX31" fmla="*/ 4123 w 10000"/>
                    <a:gd name="connsiteY31" fmla="*/ 186 h 10000"/>
                    <a:gd name="connsiteX32" fmla="*/ 3684 w 10000"/>
                    <a:gd name="connsiteY32" fmla="*/ 311 h 10000"/>
                    <a:gd name="connsiteX33" fmla="*/ 3246 w 10000"/>
                    <a:gd name="connsiteY33" fmla="*/ 559 h 10000"/>
                    <a:gd name="connsiteX34" fmla="*/ 2982 w 10000"/>
                    <a:gd name="connsiteY34" fmla="*/ 870 h 10000"/>
                    <a:gd name="connsiteX35" fmla="*/ 2719 w 10000"/>
                    <a:gd name="connsiteY35" fmla="*/ 1242 h 10000"/>
                    <a:gd name="connsiteX36" fmla="*/ 2544 w 10000"/>
                    <a:gd name="connsiteY36" fmla="*/ 1677 h 10000"/>
                    <a:gd name="connsiteX37" fmla="*/ 2544 w 10000"/>
                    <a:gd name="connsiteY37" fmla="*/ 2112 h 10000"/>
                    <a:gd name="connsiteX38" fmla="*/ 2544 w 10000"/>
                    <a:gd name="connsiteY38" fmla="*/ 2112 h 10000"/>
                    <a:gd name="connsiteX39" fmla="*/ 2632 w 10000"/>
                    <a:gd name="connsiteY39" fmla="*/ 2671 h 10000"/>
                    <a:gd name="connsiteX40" fmla="*/ 2982 w 10000"/>
                    <a:gd name="connsiteY40" fmla="*/ 3230 h 10000"/>
                    <a:gd name="connsiteX41" fmla="*/ 3421 w 10000"/>
                    <a:gd name="connsiteY41" fmla="*/ 3727 h 10000"/>
                    <a:gd name="connsiteX42" fmla="*/ 3860 w 10000"/>
                    <a:gd name="connsiteY42" fmla="*/ 4099 h 10000"/>
                    <a:gd name="connsiteX43" fmla="*/ 3860 w 10000"/>
                    <a:gd name="connsiteY43" fmla="*/ 4099 h 10000"/>
                    <a:gd name="connsiteX44" fmla="*/ 2895 w 10000"/>
                    <a:gd name="connsiteY44" fmla="*/ 4410 h 10000"/>
                    <a:gd name="connsiteX45" fmla="*/ 2105 w 10000"/>
                    <a:gd name="connsiteY45" fmla="*/ 4783 h 10000"/>
                    <a:gd name="connsiteX46" fmla="*/ 1404 w 10000"/>
                    <a:gd name="connsiteY46" fmla="*/ 5342 h 10000"/>
                    <a:gd name="connsiteX47" fmla="*/ 877 w 10000"/>
                    <a:gd name="connsiteY47" fmla="*/ 6087 h 10000"/>
                    <a:gd name="connsiteX48" fmla="*/ 439 w 10000"/>
                    <a:gd name="connsiteY48" fmla="*/ 6832 h 10000"/>
                    <a:gd name="connsiteX49" fmla="*/ 175 w 10000"/>
                    <a:gd name="connsiteY49" fmla="*/ 7702 h 10000"/>
                    <a:gd name="connsiteX50" fmla="*/ 0 w 10000"/>
                    <a:gd name="connsiteY50" fmla="*/ 8634 h 10000"/>
                    <a:gd name="connsiteX51" fmla="*/ 0 w 10000"/>
                    <a:gd name="connsiteY51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9561 w 10000"/>
                    <a:gd name="connsiteY2" fmla="*/ 9814 h 10000"/>
                    <a:gd name="connsiteX3" fmla="*/ 9912 w 10000"/>
                    <a:gd name="connsiteY3" fmla="*/ 9752 h 10000"/>
                    <a:gd name="connsiteX4" fmla="*/ 10000 w 10000"/>
                    <a:gd name="connsiteY4" fmla="*/ 9689 h 10000"/>
                    <a:gd name="connsiteX5" fmla="*/ 10000 w 10000"/>
                    <a:gd name="connsiteY5" fmla="*/ 9689 h 10000"/>
                    <a:gd name="connsiteX6" fmla="*/ 10000 w 10000"/>
                    <a:gd name="connsiteY6" fmla="*/ 8634 h 10000"/>
                    <a:gd name="connsiteX7" fmla="*/ 9912 w 10000"/>
                    <a:gd name="connsiteY7" fmla="*/ 7702 h 10000"/>
                    <a:gd name="connsiteX8" fmla="*/ 9561 w 10000"/>
                    <a:gd name="connsiteY8" fmla="*/ 6832 h 10000"/>
                    <a:gd name="connsiteX9" fmla="*/ 9211 w 10000"/>
                    <a:gd name="connsiteY9" fmla="*/ 6087 h 10000"/>
                    <a:gd name="connsiteX10" fmla="*/ 8684 w 10000"/>
                    <a:gd name="connsiteY10" fmla="*/ 5342 h 10000"/>
                    <a:gd name="connsiteX11" fmla="*/ 7982 w 10000"/>
                    <a:gd name="connsiteY11" fmla="*/ 4783 h 10000"/>
                    <a:gd name="connsiteX12" fmla="*/ 7105 w 10000"/>
                    <a:gd name="connsiteY12" fmla="*/ 4410 h 10000"/>
                    <a:gd name="connsiteX13" fmla="*/ 6140 w 10000"/>
                    <a:gd name="connsiteY13" fmla="*/ 4099 h 10000"/>
                    <a:gd name="connsiteX14" fmla="*/ 6140 w 10000"/>
                    <a:gd name="connsiteY14" fmla="*/ 4099 h 10000"/>
                    <a:gd name="connsiteX15" fmla="*/ 6667 w 10000"/>
                    <a:gd name="connsiteY15" fmla="*/ 3727 h 10000"/>
                    <a:gd name="connsiteX16" fmla="*/ 7018 w 10000"/>
                    <a:gd name="connsiteY16" fmla="*/ 3230 h 10000"/>
                    <a:gd name="connsiteX17" fmla="*/ 7281 w 10000"/>
                    <a:gd name="connsiteY17" fmla="*/ 2671 h 10000"/>
                    <a:gd name="connsiteX18" fmla="*/ 7544 w 10000"/>
                    <a:gd name="connsiteY18" fmla="*/ 2112 h 10000"/>
                    <a:gd name="connsiteX19" fmla="*/ 7544 w 10000"/>
                    <a:gd name="connsiteY19" fmla="*/ 2112 h 10000"/>
                    <a:gd name="connsiteX20" fmla="*/ 7456 w 10000"/>
                    <a:gd name="connsiteY20" fmla="*/ 1677 h 10000"/>
                    <a:gd name="connsiteX21" fmla="*/ 7281 w 10000"/>
                    <a:gd name="connsiteY21" fmla="*/ 1242 h 10000"/>
                    <a:gd name="connsiteX22" fmla="*/ 7105 w 10000"/>
                    <a:gd name="connsiteY22" fmla="*/ 870 h 10000"/>
                    <a:gd name="connsiteX23" fmla="*/ 6754 w 10000"/>
                    <a:gd name="connsiteY23" fmla="*/ 559 h 10000"/>
                    <a:gd name="connsiteX24" fmla="*/ 6404 w 10000"/>
                    <a:gd name="connsiteY24" fmla="*/ 311 h 10000"/>
                    <a:gd name="connsiteX25" fmla="*/ 5965 w 10000"/>
                    <a:gd name="connsiteY25" fmla="*/ 186 h 10000"/>
                    <a:gd name="connsiteX26" fmla="*/ 5526 w 10000"/>
                    <a:gd name="connsiteY26" fmla="*/ 0 h 10000"/>
                    <a:gd name="connsiteX27" fmla="*/ 5000 w 10000"/>
                    <a:gd name="connsiteY27" fmla="*/ 0 h 10000"/>
                    <a:gd name="connsiteX28" fmla="*/ 5000 w 10000"/>
                    <a:gd name="connsiteY28" fmla="*/ 0 h 10000"/>
                    <a:gd name="connsiteX29" fmla="*/ 4561 w 10000"/>
                    <a:gd name="connsiteY29" fmla="*/ 0 h 10000"/>
                    <a:gd name="connsiteX30" fmla="*/ 4123 w 10000"/>
                    <a:gd name="connsiteY30" fmla="*/ 186 h 10000"/>
                    <a:gd name="connsiteX31" fmla="*/ 3684 w 10000"/>
                    <a:gd name="connsiteY31" fmla="*/ 311 h 10000"/>
                    <a:gd name="connsiteX32" fmla="*/ 3246 w 10000"/>
                    <a:gd name="connsiteY32" fmla="*/ 559 h 10000"/>
                    <a:gd name="connsiteX33" fmla="*/ 2982 w 10000"/>
                    <a:gd name="connsiteY33" fmla="*/ 870 h 10000"/>
                    <a:gd name="connsiteX34" fmla="*/ 2719 w 10000"/>
                    <a:gd name="connsiteY34" fmla="*/ 1242 h 10000"/>
                    <a:gd name="connsiteX35" fmla="*/ 2544 w 10000"/>
                    <a:gd name="connsiteY35" fmla="*/ 1677 h 10000"/>
                    <a:gd name="connsiteX36" fmla="*/ 2544 w 10000"/>
                    <a:gd name="connsiteY36" fmla="*/ 2112 h 10000"/>
                    <a:gd name="connsiteX37" fmla="*/ 2544 w 10000"/>
                    <a:gd name="connsiteY37" fmla="*/ 2112 h 10000"/>
                    <a:gd name="connsiteX38" fmla="*/ 2632 w 10000"/>
                    <a:gd name="connsiteY38" fmla="*/ 2671 h 10000"/>
                    <a:gd name="connsiteX39" fmla="*/ 2982 w 10000"/>
                    <a:gd name="connsiteY39" fmla="*/ 3230 h 10000"/>
                    <a:gd name="connsiteX40" fmla="*/ 3421 w 10000"/>
                    <a:gd name="connsiteY40" fmla="*/ 3727 h 10000"/>
                    <a:gd name="connsiteX41" fmla="*/ 3860 w 10000"/>
                    <a:gd name="connsiteY41" fmla="*/ 4099 h 10000"/>
                    <a:gd name="connsiteX42" fmla="*/ 3860 w 10000"/>
                    <a:gd name="connsiteY42" fmla="*/ 4099 h 10000"/>
                    <a:gd name="connsiteX43" fmla="*/ 2895 w 10000"/>
                    <a:gd name="connsiteY43" fmla="*/ 4410 h 10000"/>
                    <a:gd name="connsiteX44" fmla="*/ 2105 w 10000"/>
                    <a:gd name="connsiteY44" fmla="*/ 4783 h 10000"/>
                    <a:gd name="connsiteX45" fmla="*/ 1404 w 10000"/>
                    <a:gd name="connsiteY45" fmla="*/ 5342 h 10000"/>
                    <a:gd name="connsiteX46" fmla="*/ 877 w 10000"/>
                    <a:gd name="connsiteY46" fmla="*/ 6087 h 10000"/>
                    <a:gd name="connsiteX47" fmla="*/ 439 w 10000"/>
                    <a:gd name="connsiteY47" fmla="*/ 6832 h 10000"/>
                    <a:gd name="connsiteX48" fmla="*/ 175 w 10000"/>
                    <a:gd name="connsiteY48" fmla="*/ 7702 h 10000"/>
                    <a:gd name="connsiteX49" fmla="*/ 0 w 10000"/>
                    <a:gd name="connsiteY49" fmla="*/ 8634 h 10000"/>
                    <a:gd name="connsiteX50" fmla="*/ 0 w 10000"/>
                    <a:gd name="connsiteY50" fmla="*/ 9689 h 10000"/>
                    <a:gd name="connsiteX0" fmla="*/ 4912 w 10000"/>
                    <a:gd name="connsiteY0" fmla="*/ 10000 h 10000"/>
                    <a:gd name="connsiteX1" fmla="*/ 9561 w 10000"/>
                    <a:gd name="connsiteY1" fmla="*/ 9814 h 10000"/>
                    <a:gd name="connsiteX2" fmla="*/ 9912 w 10000"/>
                    <a:gd name="connsiteY2" fmla="*/ 9752 h 10000"/>
                    <a:gd name="connsiteX3" fmla="*/ 10000 w 10000"/>
                    <a:gd name="connsiteY3" fmla="*/ 9689 h 10000"/>
                    <a:gd name="connsiteX4" fmla="*/ 10000 w 10000"/>
                    <a:gd name="connsiteY4" fmla="*/ 9689 h 10000"/>
                    <a:gd name="connsiteX5" fmla="*/ 10000 w 10000"/>
                    <a:gd name="connsiteY5" fmla="*/ 8634 h 10000"/>
                    <a:gd name="connsiteX6" fmla="*/ 9912 w 10000"/>
                    <a:gd name="connsiteY6" fmla="*/ 7702 h 10000"/>
                    <a:gd name="connsiteX7" fmla="*/ 9561 w 10000"/>
                    <a:gd name="connsiteY7" fmla="*/ 6832 h 10000"/>
                    <a:gd name="connsiteX8" fmla="*/ 9211 w 10000"/>
                    <a:gd name="connsiteY8" fmla="*/ 6087 h 10000"/>
                    <a:gd name="connsiteX9" fmla="*/ 8684 w 10000"/>
                    <a:gd name="connsiteY9" fmla="*/ 5342 h 10000"/>
                    <a:gd name="connsiteX10" fmla="*/ 7982 w 10000"/>
                    <a:gd name="connsiteY10" fmla="*/ 4783 h 10000"/>
                    <a:gd name="connsiteX11" fmla="*/ 7105 w 10000"/>
                    <a:gd name="connsiteY11" fmla="*/ 4410 h 10000"/>
                    <a:gd name="connsiteX12" fmla="*/ 6140 w 10000"/>
                    <a:gd name="connsiteY12" fmla="*/ 4099 h 10000"/>
                    <a:gd name="connsiteX13" fmla="*/ 6140 w 10000"/>
                    <a:gd name="connsiteY13" fmla="*/ 4099 h 10000"/>
                    <a:gd name="connsiteX14" fmla="*/ 6667 w 10000"/>
                    <a:gd name="connsiteY14" fmla="*/ 3727 h 10000"/>
                    <a:gd name="connsiteX15" fmla="*/ 7018 w 10000"/>
                    <a:gd name="connsiteY15" fmla="*/ 3230 h 10000"/>
                    <a:gd name="connsiteX16" fmla="*/ 7281 w 10000"/>
                    <a:gd name="connsiteY16" fmla="*/ 2671 h 10000"/>
                    <a:gd name="connsiteX17" fmla="*/ 7544 w 10000"/>
                    <a:gd name="connsiteY17" fmla="*/ 2112 h 10000"/>
                    <a:gd name="connsiteX18" fmla="*/ 7544 w 10000"/>
                    <a:gd name="connsiteY18" fmla="*/ 2112 h 10000"/>
                    <a:gd name="connsiteX19" fmla="*/ 7456 w 10000"/>
                    <a:gd name="connsiteY19" fmla="*/ 1677 h 10000"/>
                    <a:gd name="connsiteX20" fmla="*/ 7281 w 10000"/>
                    <a:gd name="connsiteY20" fmla="*/ 1242 h 10000"/>
                    <a:gd name="connsiteX21" fmla="*/ 7105 w 10000"/>
                    <a:gd name="connsiteY21" fmla="*/ 870 h 10000"/>
                    <a:gd name="connsiteX22" fmla="*/ 6754 w 10000"/>
                    <a:gd name="connsiteY22" fmla="*/ 559 h 10000"/>
                    <a:gd name="connsiteX23" fmla="*/ 6404 w 10000"/>
                    <a:gd name="connsiteY23" fmla="*/ 311 h 10000"/>
                    <a:gd name="connsiteX24" fmla="*/ 5965 w 10000"/>
                    <a:gd name="connsiteY24" fmla="*/ 186 h 10000"/>
                    <a:gd name="connsiteX25" fmla="*/ 5526 w 10000"/>
                    <a:gd name="connsiteY25" fmla="*/ 0 h 10000"/>
                    <a:gd name="connsiteX26" fmla="*/ 5000 w 10000"/>
                    <a:gd name="connsiteY26" fmla="*/ 0 h 10000"/>
                    <a:gd name="connsiteX27" fmla="*/ 5000 w 10000"/>
                    <a:gd name="connsiteY27" fmla="*/ 0 h 10000"/>
                    <a:gd name="connsiteX28" fmla="*/ 4561 w 10000"/>
                    <a:gd name="connsiteY28" fmla="*/ 0 h 10000"/>
                    <a:gd name="connsiteX29" fmla="*/ 4123 w 10000"/>
                    <a:gd name="connsiteY29" fmla="*/ 186 h 10000"/>
                    <a:gd name="connsiteX30" fmla="*/ 3684 w 10000"/>
                    <a:gd name="connsiteY30" fmla="*/ 311 h 10000"/>
                    <a:gd name="connsiteX31" fmla="*/ 3246 w 10000"/>
                    <a:gd name="connsiteY31" fmla="*/ 559 h 10000"/>
                    <a:gd name="connsiteX32" fmla="*/ 2982 w 10000"/>
                    <a:gd name="connsiteY32" fmla="*/ 870 h 10000"/>
                    <a:gd name="connsiteX33" fmla="*/ 2719 w 10000"/>
                    <a:gd name="connsiteY33" fmla="*/ 1242 h 10000"/>
                    <a:gd name="connsiteX34" fmla="*/ 2544 w 10000"/>
                    <a:gd name="connsiteY34" fmla="*/ 1677 h 10000"/>
                    <a:gd name="connsiteX35" fmla="*/ 2544 w 10000"/>
                    <a:gd name="connsiteY35" fmla="*/ 2112 h 10000"/>
                    <a:gd name="connsiteX36" fmla="*/ 2544 w 10000"/>
                    <a:gd name="connsiteY36" fmla="*/ 2112 h 10000"/>
                    <a:gd name="connsiteX37" fmla="*/ 2632 w 10000"/>
                    <a:gd name="connsiteY37" fmla="*/ 2671 h 10000"/>
                    <a:gd name="connsiteX38" fmla="*/ 2982 w 10000"/>
                    <a:gd name="connsiteY38" fmla="*/ 3230 h 10000"/>
                    <a:gd name="connsiteX39" fmla="*/ 3421 w 10000"/>
                    <a:gd name="connsiteY39" fmla="*/ 3727 h 10000"/>
                    <a:gd name="connsiteX40" fmla="*/ 3860 w 10000"/>
                    <a:gd name="connsiteY40" fmla="*/ 4099 h 10000"/>
                    <a:gd name="connsiteX41" fmla="*/ 3860 w 10000"/>
                    <a:gd name="connsiteY41" fmla="*/ 4099 h 10000"/>
                    <a:gd name="connsiteX42" fmla="*/ 2895 w 10000"/>
                    <a:gd name="connsiteY42" fmla="*/ 4410 h 10000"/>
                    <a:gd name="connsiteX43" fmla="*/ 2105 w 10000"/>
                    <a:gd name="connsiteY43" fmla="*/ 4783 h 10000"/>
                    <a:gd name="connsiteX44" fmla="*/ 1404 w 10000"/>
                    <a:gd name="connsiteY44" fmla="*/ 5342 h 10000"/>
                    <a:gd name="connsiteX45" fmla="*/ 877 w 10000"/>
                    <a:gd name="connsiteY45" fmla="*/ 6087 h 10000"/>
                    <a:gd name="connsiteX46" fmla="*/ 439 w 10000"/>
                    <a:gd name="connsiteY46" fmla="*/ 6832 h 10000"/>
                    <a:gd name="connsiteX47" fmla="*/ 175 w 10000"/>
                    <a:gd name="connsiteY47" fmla="*/ 7702 h 10000"/>
                    <a:gd name="connsiteX48" fmla="*/ 0 w 10000"/>
                    <a:gd name="connsiteY48" fmla="*/ 8634 h 10000"/>
                    <a:gd name="connsiteX49" fmla="*/ 0 w 10000"/>
                    <a:gd name="connsiteY49" fmla="*/ 9689 h 10000"/>
                    <a:gd name="connsiteX0" fmla="*/ 9561 w 10000"/>
                    <a:gd name="connsiteY0" fmla="*/ 9814 h 9814"/>
                    <a:gd name="connsiteX1" fmla="*/ 9912 w 10000"/>
                    <a:gd name="connsiteY1" fmla="*/ 9752 h 9814"/>
                    <a:gd name="connsiteX2" fmla="*/ 10000 w 10000"/>
                    <a:gd name="connsiteY2" fmla="*/ 9689 h 9814"/>
                    <a:gd name="connsiteX3" fmla="*/ 10000 w 10000"/>
                    <a:gd name="connsiteY3" fmla="*/ 9689 h 9814"/>
                    <a:gd name="connsiteX4" fmla="*/ 10000 w 10000"/>
                    <a:gd name="connsiteY4" fmla="*/ 8634 h 9814"/>
                    <a:gd name="connsiteX5" fmla="*/ 9912 w 10000"/>
                    <a:gd name="connsiteY5" fmla="*/ 7702 h 9814"/>
                    <a:gd name="connsiteX6" fmla="*/ 9561 w 10000"/>
                    <a:gd name="connsiteY6" fmla="*/ 6832 h 9814"/>
                    <a:gd name="connsiteX7" fmla="*/ 9211 w 10000"/>
                    <a:gd name="connsiteY7" fmla="*/ 6087 h 9814"/>
                    <a:gd name="connsiteX8" fmla="*/ 8684 w 10000"/>
                    <a:gd name="connsiteY8" fmla="*/ 5342 h 9814"/>
                    <a:gd name="connsiteX9" fmla="*/ 7982 w 10000"/>
                    <a:gd name="connsiteY9" fmla="*/ 4783 h 9814"/>
                    <a:gd name="connsiteX10" fmla="*/ 7105 w 10000"/>
                    <a:gd name="connsiteY10" fmla="*/ 4410 h 9814"/>
                    <a:gd name="connsiteX11" fmla="*/ 6140 w 10000"/>
                    <a:gd name="connsiteY11" fmla="*/ 4099 h 9814"/>
                    <a:gd name="connsiteX12" fmla="*/ 6140 w 10000"/>
                    <a:gd name="connsiteY12" fmla="*/ 4099 h 9814"/>
                    <a:gd name="connsiteX13" fmla="*/ 6667 w 10000"/>
                    <a:gd name="connsiteY13" fmla="*/ 3727 h 9814"/>
                    <a:gd name="connsiteX14" fmla="*/ 7018 w 10000"/>
                    <a:gd name="connsiteY14" fmla="*/ 3230 h 9814"/>
                    <a:gd name="connsiteX15" fmla="*/ 7281 w 10000"/>
                    <a:gd name="connsiteY15" fmla="*/ 2671 h 9814"/>
                    <a:gd name="connsiteX16" fmla="*/ 7544 w 10000"/>
                    <a:gd name="connsiteY16" fmla="*/ 2112 h 9814"/>
                    <a:gd name="connsiteX17" fmla="*/ 7544 w 10000"/>
                    <a:gd name="connsiteY17" fmla="*/ 2112 h 9814"/>
                    <a:gd name="connsiteX18" fmla="*/ 7456 w 10000"/>
                    <a:gd name="connsiteY18" fmla="*/ 1677 h 9814"/>
                    <a:gd name="connsiteX19" fmla="*/ 7281 w 10000"/>
                    <a:gd name="connsiteY19" fmla="*/ 1242 h 9814"/>
                    <a:gd name="connsiteX20" fmla="*/ 7105 w 10000"/>
                    <a:gd name="connsiteY20" fmla="*/ 870 h 9814"/>
                    <a:gd name="connsiteX21" fmla="*/ 6754 w 10000"/>
                    <a:gd name="connsiteY21" fmla="*/ 559 h 9814"/>
                    <a:gd name="connsiteX22" fmla="*/ 6404 w 10000"/>
                    <a:gd name="connsiteY22" fmla="*/ 311 h 9814"/>
                    <a:gd name="connsiteX23" fmla="*/ 5965 w 10000"/>
                    <a:gd name="connsiteY23" fmla="*/ 186 h 9814"/>
                    <a:gd name="connsiteX24" fmla="*/ 5526 w 10000"/>
                    <a:gd name="connsiteY24" fmla="*/ 0 h 9814"/>
                    <a:gd name="connsiteX25" fmla="*/ 5000 w 10000"/>
                    <a:gd name="connsiteY25" fmla="*/ 0 h 9814"/>
                    <a:gd name="connsiteX26" fmla="*/ 5000 w 10000"/>
                    <a:gd name="connsiteY26" fmla="*/ 0 h 9814"/>
                    <a:gd name="connsiteX27" fmla="*/ 4561 w 10000"/>
                    <a:gd name="connsiteY27" fmla="*/ 0 h 9814"/>
                    <a:gd name="connsiteX28" fmla="*/ 4123 w 10000"/>
                    <a:gd name="connsiteY28" fmla="*/ 186 h 9814"/>
                    <a:gd name="connsiteX29" fmla="*/ 3684 w 10000"/>
                    <a:gd name="connsiteY29" fmla="*/ 311 h 9814"/>
                    <a:gd name="connsiteX30" fmla="*/ 3246 w 10000"/>
                    <a:gd name="connsiteY30" fmla="*/ 559 h 9814"/>
                    <a:gd name="connsiteX31" fmla="*/ 2982 w 10000"/>
                    <a:gd name="connsiteY31" fmla="*/ 870 h 9814"/>
                    <a:gd name="connsiteX32" fmla="*/ 2719 w 10000"/>
                    <a:gd name="connsiteY32" fmla="*/ 1242 h 9814"/>
                    <a:gd name="connsiteX33" fmla="*/ 2544 w 10000"/>
                    <a:gd name="connsiteY33" fmla="*/ 1677 h 9814"/>
                    <a:gd name="connsiteX34" fmla="*/ 2544 w 10000"/>
                    <a:gd name="connsiteY34" fmla="*/ 2112 h 9814"/>
                    <a:gd name="connsiteX35" fmla="*/ 2544 w 10000"/>
                    <a:gd name="connsiteY35" fmla="*/ 2112 h 9814"/>
                    <a:gd name="connsiteX36" fmla="*/ 2632 w 10000"/>
                    <a:gd name="connsiteY36" fmla="*/ 2671 h 9814"/>
                    <a:gd name="connsiteX37" fmla="*/ 2982 w 10000"/>
                    <a:gd name="connsiteY37" fmla="*/ 3230 h 9814"/>
                    <a:gd name="connsiteX38" fmla="*/ 3421 w 10000"/>
                    <a:gd name="connsiteY38" fmla="*/ 3727 h 9814"/>
                    <a:gd name="connsiteX39" fmla="*/ 3860 w 10000"/>
                    <a:gd name="connsiteY39" fmla="*/ 4099 h 9814"/>
                    <a:gd name="connsiteX40" fmla="*/ 3860 w 10000"/>
                    <a:gd name="connsiteY40" fmla="*/ 4099 h 9814"/>
                    <a:gd name="connsiteX41" fmla="*/ 2895 w 10000"/>
                    <a:gd name="connsiteY41" fmla="*/ 4410 h 9814"/>
                    <a:gd name="connsiteX42" fmla="*/ 2105 w 10000"/>
                    <a:gd name="connsiteY42" fmla="*/ 4783 h 9814"/>
                    <a:gd name="connsiteX43" fmla="*/ 1404 w 10000"/>
                    <a:gd name="connsiteY43" fmla="*/ 5342 h 9814"/>
                    <a:gd name="connsiteX44" fmla="*/ 877 w 10000"/>
                    <a:gd name="connsiteY44" fmla="*/ 6087 h 9814"/>
                    <a:gd name="connsiteX45" fmla="*/ 439 w 10000"/>
                    <a:gd name="connsiteY45" fmla="*/ 6832 h 9814"/>
                    <a:gd name="connsiteX46" fmla="*/ 175 w 10000"/>
                    <a:gd name="connsiteY46" fmla="*/ 7702 h 9814"/>
                    <a:gd name="connsiteX47" fmla="*/ 0 w 10000"/>
                    <a:gd name="connsiteY47" fmla="*/ 8634 h 9814"/>
                    <a:gd name="connsiteX48" fmla="*/ 0 w 10000"/>
                    <a:gd name="connsiteY48" fmla="*/ 9689 h 9814"/>
                    <a:gd name="connsiteX0" fmla="*/ 9912 w 10000"/>
                    <a:gd name="connsiteY0" fmla="*/ 9937 h 9937"/>
                    <a:gd name="connsiteX1" fmla="*/ 10000 w 10000"/>
                    <a:gd name="connsiteY1" fmla="*/ 9873 h 9937"/>
                    <a:gd name="connsiteX2" fmla="*/ 10000 w 10000"/>
                    <a:gd name="connsiteY2" fmla="*/ 9873 h 9937"/>
                    <a:gd name="connsiteX3" fmla="*/ 10000 w 10000"/>
                    <a:gd name="connsiteY3" fmla="*/ 8798 h 9937"/>
                    <a:gd name="connsiteX4" fmla="*/ 9912 w 10000"/>
                    <a:gd name="connsiteY4" fmla="*/ 7848 h 9937"/>
                    <a:gd name="connsiteX5" fmla="*/ 9561 w 10000"/>
                    <a:gd name="connsiteY5" fmla="*/ 6961 h 9937"/>
                    <a:gd name="connsiteX6" fmla="*/ 9211 w 10000"/>
                    <a:gd name="connsiteY6" fmla="*/ 6202 h 9937"/>
                    <a:gd name="connsiteX7" fmla="*/ 8684 w 10000"/>
                    <a:gd name="connsiteY7" fmla="*/ 5443 h 9937"/>
                    <a:gd name="connsiteX8" fmla="*/ 7982 w 10000"/>
                    <a:gd name="connsiteY8" fmla="*/ 4874 h 9937"/>
                    <a:gd name="connsiteX9" fmla="*/ 7105 w 10000"/>
                    <a:gd name="connsiteY9" fmla="*/ 4494 h 9937"/>
                    <a:gd name="connsiteX10" fmla="*/ 6140 w 10000"/>
                    <a:gd name="connsiteY10" fmla="*/ 4177 h 9937"/>
                    <a:gd name="connsiteX11" fmla="*/ 6140 w 10000"/>
                    <a:gd name="connsiteY11" fmla="*/ 4177 h 9937"/>
                    <a:gd name="connsiteX12" fmla="*/ 6667 w 10000"/>
                    <a:gd name="connsiteY12" fmla="*/ 3798 h 9937"/>
                    <a:gd name="connsiteX13" fmla="*/ 7018 w 10000"/>
                    <a:gd name="connsiteY13" fmla="*/ 3291 h 9937"/>
                    <a:gd name="connsiteX14" fmla="*/ 7281 w 10000"/>
                    <a:gd name="connsiteY14" fmla="*/ 2722 h 9937"/>
                    <a:gd name="connsiteX15" fmla="*/ 7544 w 10000"/>
                    <a:gd name="connsiteY15" fmla="*/ 2152 h 9937"/>
                    <a:gd name="connsiteX16" fmla="*/ 7544 w 10000"/>
                    <a:gd name="connsiteY16" fmla="*/ 2152 h 9937"/>
                    <a:gd name="connsiteX17" fmla="*/ 7456 w 10000"/>
                    <a:gd name="connsiteY17" fmla="*/ 1709 h 9937"/>
                    <a:gd name="connsiteX18" fmla="*/ 7281 w 10000"/>
                    <a:gd name="connsiteY18" fmla="*/ 1266 h 9937"/>
                    <a:gd name="connsiteX19" fmla="*/ 7105 w 10000"/>
                    <a:gd name="connsiteY19" fmla="*/ 886 h 9937"/>
                    <a:gd name="connsiteX20" fmla="*/ 6754 w 10000"/>
                    <a:gd name="connsiteY20" fmla="*/ 570 h 9937"/>
                    <a:gd name="connsiteX21" fmla="*/ 6404 w 10000"/>
                    <a:gd name="connsiteY21" fmla="*/ 317 h 9937"/>
                    <a:gd name="connsiteX22" fmla="*/ 5965 w 10000"/>
                    <a:gd name="connsiteY22" fmla="*/ 190 h 9937"/>
                    <a:gd name="connsiteX23" fmla="*/ 5526 w 10000"/>
                    <a:gd name="connsiteY23" fmla="*/ 0 h 9937"/>
                    <a:gd name="connsiteX24" fmla="*/ 5000 w 10000"/>
                    <a:gd name="connsiteY24" fmla="*/ 0 h 9937"/>
                    <a:gd name="connsiteX25" fmla="*/ 5000 w 10000"/>
                    <a:gd name="connsiteY25" fmla="*/ 0 h 9937"/>
                    <a:gd name="connsiteX26" fmla="*/ 4561 w 10000"/>
                    <a:gd name="connsiteY26" fmla="*/ 0 h 9937"/>
                    <a:gd name="connsiteX27" fmla="*/ 4123 w 10000"/>
                    <a:gd name="connsiteY27" fmla="*/ 190 h 9937"/>
                    <a:gd name="connsiteX28" fmla="*/ 3684 w 10000"/>
                    <a:gd name="connsiteY28" fmla="*/ 317 h 9937"/>
                    <a:gd name="connsiteX29" fmla="*/ 3246 w 10000"/>
                    <a:gd name="connsiteY29" fmla="*/ 570 h 9937"/>
                    <a:gd name="connsiteX30" fmla="*/ 2982 w 10000"/>
                    <a:gd name="connsiteY30" fmla="*/ 886 h 9937"/>
                    <a:gd name="connsiteX31" fmla="*/ 2719 w 10000"/>
                    <a:gd name="connsiteY31" fmla="*/ 1266 h 9937"/>
                    <a:gd name="connsiteX32" fmla="*/ 2544 w 10000"/>
                    <a:gd name="connsiteY32" fmla="*/ 1709 h 9937"/>
                    <a:gd name="connsiteX33" fmla="*/ 2544 w 10000"/>
                    <a:gd name="connsiteY33" fmla="*/ 2152 h 9937"/>
                    <a:gd name="connsiteX34" fmla="*/ 2544 w 10000"/>
                    <a:gd name="connsiteY34" fmla="*/ 2152 h 9937"/>
                    <a:gd name="connsiteX35" fmla="*/ 2632 w 10000"/>
                    <a:gd name="connsiteY35" fmla="*/ 2722 h 9937"/>
                    <a:gd name="connsiteX36" fmla="*/ 2982 w 10000"/>
                    <a:gd name="connsiteY36" fmla="*/ 3291 h 9937"/>
                    <a:gd name="connsiteX37" fmla="*/ 3421 w 10000"/>
                    <a:gd name="connsiteY37" fmla="*/ 3798 h 9937"/>
                    <a:gd name="connsiteX38" fmla="*/ 3860 w 10000"/>
                    <a:gd name="connsiteY38" fmla="*/ 4177 h 9937"/>
                    <a:gd name="connsiteX39" fmla="*/ 3860 w 10000"/>
                    <a:gd name="connsiteY39" fmla="*/ 4177 h 9937"/>
                    <a:gd name="connsiteX40" fmla="*/ 2895 w 10000"/>
                    <a:gd name="connsiteY40" fmla="*/ 4494 h 9937"/>
                    <a:gd name="connsiteX41" fmla="*/ 2105 w 10000"/>
                    <a:gd name="connsiteY41" fmla="*/ 4874 h 9937"/>
                    <a:gd name="connsiteX42" fmla="*/ 1404 w 10000"/>
                    <a:gd name="connsiteY42" fmla="*/ 5443 h 9937"/>
                    <a:gd name="connsiteX43" fmla="*/ 877 w 10000"/>
                    <a:gd name="connsiteY43" fmla="*/ 6202 h 9937"/>
                    <a:gd name="connsiteX44" fmla="*/ 439 w 10000"/>
                    <a:gd name="connsiteY44" fmla="*/ 6961 h 9937"/>
                    <a:gd name="connsiteX45" fmla="*/ 175 w 10000"/>
                    <a:gd name="connsiteY45" fmla="*/ 7848 h 9937"/>
                    <a:gd name="connsiteX46" fmla="*/ 0 w 10000"/>
                    <a:gd name="connsiteY46" fmla="*/ 8798 h 9937"/>
                    <a:gd name="connsiteX47" fmla="*/ 0 w 10000"/>
                    <a:gd name="connsiteY47" fmla="*/ 9873 h 9937"/>
                    <a:gd name="connsiteX0" fmla="*/ 9912 w 10000"/>
                    <a:gd name="connsiteY0" fmla="*/ 10000 h 10000"/>
                    <a:gd name="connsiteX1" fmla="*/ 10000 w 10000"/>
                    <a:gd name="connsiteY1" fmla="*/ 9936 h 10000"/>
                    <a:gd name="connsiteX2" fmla="*/ 10000 w 10000"/>
                    <a:gd name="connsiteY2" fmla="*/ 8854 h 10000"/>
                    <a:gd name="connsiteX3" fmla="*/ 9912 w 10000"/>
                    <a:gd name="connsiteY3" fmla="*/ 7898 h 10000"/>
                    <a:gd name="connsiteX4" fmla="*/ 9561 w 10000"/>
                    <a:gd name="connsiteY4" fmla="*/ 7005 h 10000"/>
                    <a:gd name="connsiteX5" fmla="*/ 9211 w 10000"/>
                    <a:gd name="connsiteY5" fmla="*/ 6241 h 10000"/>
                    <a:gd name="connsiteX6" fmla="*/ 8684 w 10000"/>
                    <a:gd name="connsiteY6" fmla="*/ 5478 h 10000"/>
                    <a:gd name="connsiteX7" fmla="*/ 7982 w 10000"/>
                    <a:gd name="connsiteY7" fmla="*/ 4905 h 10000"/>
                    <a:gd name="connsiteX8" fmla="*/ 7105 w 10000"/>
                    <a:gd name="connsiteY8" fmla="*/ 4522 h 10000"/>
                    <a:gd name="connsiteX9" fmla="*/ 6140 w 10000"/>
                    <a:gd name="connsiteY9" fmla="*/ 4203 h 10000"/>
                    <a:gd name="connsiteX10" fmla="*/ 6140 w 10000"/>
                    <a:gd name="connsiteY10" fmla="*/ 4203 h 10000"/>
                    <a:gd name="connsiteX11" fmla="*/ 6667 w 10000"/>
                    <a:gd name="connsiteY11" fmla="*/ 3822 h 10000"/>
                    <a:gd name="connsiteX12" fmla="*/ 7018 w 10000"/>
                    <a:gd name="connsiteY12" fmla="*/ 3312 h 10000"/>
                    <a:gd name="connsiteX13" fmla="*/ 7281 w 10000"/>
                    <a:gd name="connsiteY13" fmla="*/ 2739 h 10000"/>
                    <a:gd name="connsiteX14" fmla="*/ 7544 w 10000"/>
                    <a:gd name="connsiteY14" fmla="*/ 2166 h 10000"/>
                    <a:gd name="connsiteX15" fmla="*/ 7544 w 10000"/>
                    <a:gd name="connsiteY15" fmla="*/ 2166 h 10000"/>
                    <a:gd name="connsiteX16" fmla="*/ 7456 w 10000"/>
                    <a:gd name="connsiteY16" fmla="*/ 1720 h 10000"/>
                    <a:gd name="connsiteX17" fmla="*/ 7281 w 10000"/>
                    <a:gd name="connsiteY17" fmla="*/ 1274 h 10000"/>
                    <a:gd name="connsiteX18" fmla="*/ 7105 w 10000"/>
                    <a:gd name="connsiteY18" fmla="*/ 892 h 10000"/>
                    <a:gd name="connsiteX19" fmla="*/ 6754 w 10000"/>
                    <a:gd name="connsiteY19" fmla="*/ 574 h 10000"/>
                    <a:gd name="connsiteX20" fmla="*/ 6404 w 10000"/>
                    <a:gd name="connsiteY20" fmla="*/ 319 h 10000"/>
                    <a:gd name="connsiteX21" fmla="*/ 5965 w 10000"/>
                    <a:gd name="connsiteY21" fmla="*/ 191 h 10000"/>
                    <a:gd name="connsiteX22" fmla="*/ 5526 w 10000"/>
                    <a:gd name="connsiteY22" fmla="*/ 0 h 10000"/>
                    <a:gd name="connsiteX23" fmla="*/ 5000 w 10000"/>
                    <a:gd name="connsiteY23" fmla="*/ 0 h 10000"/>
                    <a:gd name="connsiteX24" fmla="*/ 5000 w 10000"/>
                    <a:gd name="connsiteY24" fmla="*/ 0 h 10000"/>
                    <a:gd name="connsiteX25" fmla="*/ 4561 w 10000"/>
                    <a:gd name="connsiteY25" fmla="*/ 0 h 10000"/>
                    <a:gd name="connsiteX26" fmla="*/ 4123 w 10000"/>
                    <a:gd name="connsiteY26" fmla="*/ 191 h 10000"/>
                    <a:gd name="connsiteX27" fmla="*/ 3684 w 10000"/>
                    <a:gd name="connsiteY27" fmla="*/ 319 h 10000"/>
                    <a:gd name="connsiteX28" fmla="*/ 3246 w 10000"/>
                    <a:gd name="connsiteY28" fmla="*/ 574 h 10000"/>
                    <a:gd name="connsiteX29" fmla="*/ 2982 w 10000"/>
                    <a:gd name="connsiteY29" fmla="*/ 892 h 10000"/>
                    <a:gd name="connsiteX30" fmla="*/ 2719 w 10000"/>
                    <a:gd name="connsiteY30" fmla="*/ 1274 h 10000"/>
                    <a:gd name="connsiteX31" fmla="*/ 2544 w 10000"/>
                    <a:gd name="connsiteY31" fmla="*/ 1720 h 10000"/>
                    <a:gd name="connsiteX32" fmla="*/ 2544 w 10000"/>
                    <a:gd name="connsiteY32" fmla="*/ 2166 h 10000"/>
                    <a:gd name="connsiteX33" fmla="*/ 2544 w 10000"/>
                    <a:gd name="connsiteY33" fmla="*/ 2166 h 10000"/>
                    <a:gd name="connsiteX34" fmla="*/ 2632 w 10000"/>
                    <a:gd name="connsiteY34" fmla="*/ 2739 h 10000"/>
                    <a:gd name="connsiteX35" fmla="*/ 2982 w 10000"/>
                    <a:gd name="connsiteY35" fmla="*/ 3312 h 10000"/>
                    <a:gd name="connsiteX36" fmla="*/ 3421 w 10000"/>
                    <a:gd name="connsiteY36" fmla="*/ 3822 h 10000"/>
                    <a:gd name="connsiteX37" fmla="*/ 3860 w 10000"/>
                    <a:gd name="connsiteY37" fmla="*/ 4203 h 10000"/>
                    <a:gd name="connsiteX38" fmla="*/ 3860 w 10000"/>
                    <a:gd name="connsiteY38" fmla="*/ 4203 h 10000"/>
                    <a:gd name="connsiteX39" fmla="*/ 2895 w 10000"/>
                    <a:gd name="connsiteY39" fmla="*/ 4522 h 10000"/>
                    <a:gd name="connsiteX40" fmla="*/ 2105 w 10000"/>
                    <a:gd name="connsiteY40" fmla="*/ 4905 h 10000"/>
                    <a:gd name="connsiteX41" fmla="*/ 1404 w 10000"/>
                    <a:gd name="connsiteY41" fmla="*/ 5478 h 10000"/>
                    <a:gd name="connsiteX42" fmla="*/ 877 w 10000"/>
                    <a:gd name="connsiteY42" fmla="*/ 6241 h 10000"/>
                    <a:gd name="connsiteX43" fmla="*/ 439 w 10000"/>
                    <a:gd name="connsiteY43" fmla="*/ 7005 h 10000"/>
                    <a:gd name="connsiteX44" fmla="*/ 175 w 10000"/>
                    <a:gd name="connsiteY44" fmla="*/ 7898 h 10000"/>
                    <a:gd name="connsiteX45" fmla="*/ 0 w 10000"/>
                    <a:gd name="connsiteY45" fmla="*/ 8854 h 10000"/>
                    <a:gd name="connsiteX46" fmla="*/ 0 w 10000"/>
                    <a:gd name="connsiteY46" fmla="*/ 9936 h 10000"/>
                    <a:gd name="connsiteX0" fmla="*/ 9912 w 10000"/>
                    <a:gd name="connsiteY0" fmla="*/ 10000 h 10000"/>
                    <a:gd name="connsiteX1" fmla="*/ 10000 w 10000"/>
                    <a:gd name="connsiteY1" fmla="*/ 8854 h 10000"/>
                    <a:gd name="connsiteX2" fmla="*/ 9912 w 10000"/>
                    <a:gd name="connsiteY2" fmla="*/ 7898 h 10000"/>
                    <a:gd name="connsiteX3" fmla="*/ 9561 w 10000"/>
                    <a:gd name="connsiteY3" fmla="*/ 7005 h 10000"/>
                    <a:gd name="connsiteX4" fmla="*/ 9211 w 10000"/>
                    <a:gd name="connsiteY4" fmla="*/ 6241 h 10000"/>
                    <a:gd name="connsiteX5" fmla="*/ 8684 w 10000"/>
                    <a:gd name="connsiteY5" fmla="*/ 5478 h 10000"/>
                    <a:gd name="connsiteX6" fmla="*/ 7982 w 10000"/>
                    <a:gd name="connsiteY6" fmla="*/ 4905 h 10000"/>
                    <a:gd name="connsiteX7" fmla="*/ 7105 w 10000"/>
                    <a:gd name="connsiteY7" fmla="*/ 4522 h 10000"/>
                    <a:gd name="connsiteX8" fmla="*/ 6140 w 10000"/>
                    <a:gd name="connsiteY8" fmla="*/ 4203 h 10000"/>
                    <a:gd name="connsiteX9" fmla="*/ 6140 w 10000"/>
                    <a:gd name="connsiteY9" fmla="*/ 4203 h 10000"/>
                    <a:gd name="connsiteX10" fmla="*/ 6667 w 10000"/>
                    <a:gd name="connsiteY10" fmla="*/ 3822 h 10000"/>
                    <a:gd name="connsiteX11" fmla="*/ 7018 w 10000"/>
                    <a:gd name="connsiteY11" fmla="*/ 3312 h 10000"/>
                    <a:gd name="connsiteX12" fmla="*/ 7281 w 10000"/>
                    <a:gd name="connsiteY12" fmla="*/ 2739 h 10000"/>
                    <a:gd name="connsiteX13" fmla="*/ 7544 w 10000"/>
                    <a:gd name="connsiteY13" fmla="*/ 2166 h 10000"/>
                    <a:gd name="connsiteX14" fmla="*/ 7544 w 10000"/>
                    <a:gd name="connsiteY14" fmla="*/ 2166 h 10000"/>
                    <a:gd name="connsiteX15" fmla="*/ 7456 w 10000"/>
                    <a:gd name="connsiteY15" fmla="*/ 1720 h 10000"/>
                    <a:gd name="connsiteX16" fmla="*/ 7281 w 10000"/>
                    <a:gd name="connsiteY16" fmla="*/ 1274 h 10000"/>
                    <a:gd name="connsiteX17" fmla="*/ 7105 w 10000"/>
                    <a:gd name="connsiteY17" fmla="*/ 892 h 10000"/>
                    <a:gd name="connsiteX18" fmla="*/ 6754 w 10000"/>
                    <a:gd name="connsiteY18" fmla="*/ 574 h 10000"/>
                    <a:gd name="connsiteX19" fmla="*/ 6404 w 10000"/>
                    <a:gd name="connsiteY19" fmla="*/ 319 h 10000"/>
                    <a:gd name="connsiteX20" fmla="*/ 5965 w 10000"/>
                    <a:gd name="connsiteY20" fmla="*/ 191 h 10000"/>
                    <a:gd name="connsiteX21" fmla="*/ 5526 w 10000"/>
                    <a:gd name="connsiteY21" fmla="*/ 0 h 10000"/>
                    <a:gd name="connsiteX22" fmla="*/ 5000 w 10000"/>
                    <a:gd name="connsiteY22" fmla="*/ 0 h 10000"/>
                    <a:gd name="connsiteX23" fmla="*/ 5000 w 10000"/>
                    <a:gd name="connsiteY23" fmla="*/ 0 h 10000"/>
                    <a:gd name="connsiteX24" fmla="*/ 4561 w 10000"/>
                    <a:gd name="connsiteY24" fmla="*/ 0 h 10000"/>
                    <a:gd name="connsiteX25" fmla="*/ 4123 w 10000"/>
                    <a:gd name="connsiteY25" fmla="*/ 191 h 10000"/>
                    <a:gd name="connsiteX26" fmla="*/ 3684 w 10000"/>
                    <a:gd name="connsiteY26" fmla="*/ 319 h 10000"/>
                    <a:gd name="connsiteX27" fmla="*/ 3246 w 10000"/>
                    <a:gd name="connsiteY27" fmla="*/ 574 h 10000"/>
                    <a:gd name="connsiteX28" fmla="*/ 2982 w 10000"/>
                    <a:gd name="connsiteY28" fmla="*/ 892 h 10000"/>
                    <a:gd name="connsiteX29" fmla="*/ 2719 w 10000"/>
                    <a:gd name="connsiteY29" fmla="*/ 1274 h 10000"/>
                    <a:gd name="connsiteX30" fmla="*/ 2544 w 10000"/>
                    <a:gd name="connsiteY30" fmla="*/ 1720 h 10000"/>
                    <a:gd name="connsiteX31" fmla="*/ 2544 w 10000"/>
                    <a:gd name="connsiteY31" fmla="*/ 2166 h 10000"/>
                    <a:gd name="connsiteX32" fmla="*/ 2544 w 10000"/>
                    <a:gd name="connsiteY32" fmla="*/ 2166 h 10000"/>
                    <a:gd name="connsiteX33" fmla="*/ 2632 w 10000"/>
                    <a:gd name="connsiteY33" fmla="*/ 2739 h 10000"/>
                    <a:gd name="connsiteX34" fmla="*/ 2982 w 10000"/>
                    <a:gd name="connsiteY34" fmla="*/ 3312 h 10000"/>
                    <a:gd name="connsiteX35" fmla="*/ 3421 w 10000"/>
                    <a:gd name="connsiteY35" fmla="*/ 3822 h 10000"/>
                    <a:gd name="connsiteX36" fmla="*/ 3860 w 10000"/>
                    <a:gd name="connsiteY36" fmla="*/ 4203 h 10000"/>
                    <a:gd name="connsiteX37" fmla="*/ 3860 w 10000"/>
                    <a:gd name="connsiteY37" fmla="*/ 4203 h 10000"/>
                    <a:gd name="connsiteX38" fmla="*/ 2895 w 10000"/>
                    <a:gd name="connsiteY38" fmla="*/ 4522 h 10000"/>
                    <a:gd name="connsiteX39" fmla="*/ 2105 w 10000"/>
                    <a:gd name="connsiteY39" fmla="*/ 4905 h 10000"/>
                    <a:gd name="connsiteX40" fmla="*/ 1404 w 10000"/>
                    <a:gd name="connsiteY40" fmla="*/ 5478 h 10000"/>
                    <a:gd name="connsiteX41" fmla="*/ 877 w 10000"/>
                    <a:gd name="connsiteY41" fmla="*/ 6241 h 10000"/>
                    <a:gd name="connsiteX42" fmla="*/ 439 w 10000"/>
                    <a:gd name="connsiteY42" fmla="*/ 7005 h 10000"/>
                    <a:gd name="connsiteX43" fmla="*/ 175 w 10000"/>
                    <a:gd name="connsiteY43" fmla="*/ 7898 h 10000"/>
                    <a:gd name="connsiteX44" fmla="*/ 0 w 10000"/>
                    <a:gd name="connsiteY44" fmla="*/ 8854 h 10000"/>
                    <a:gd name="connsiteX45" fmla="*/ 0 w 10000"/>
                    <a:gd name="connsiteY45" fmla="*/ 9936 h 10000"/>
                    <a:gd name="connsiteX0" fmla="*/ 10000 w 10000"/>
                    <a:gd name="connsiteY0" fmla="*/ 8854 h 9936"/>
                    <a:gd name="connsiteX1" fmla="*/ 9912 w 10000"/>
                    <a:gd name="connsiteY1" fmla="*/ 7898 h 9936"/>
                    <a:gd name="connsiteX2" fmla="*/ 9561 w 10000"/>
                    <a:gd name="connsiteY2" fmla="*/ 7005 h 9936"/>
                    <a:gd name="connsiteX3" fmla="*/ 9211 w 10000"/>
                    <a:gd name="connsiteY3" fmla="*/ 6241 h 9936"/>
                    <a:gd name="connsiteX4" fmla="*/ 8684 w 10000"/>
                    <a:gd name="connsiteY4" fmla="*/ 5478 h 9936"/>
                    <a:gd name="connsiteX5" fmla="*/ 7982 w 10000"/>
                    <a:gd name="connsiteY5" fmla="*/ 4905 h 9936"/>
                    <a:gd name="connsiteX6" fmla="*/ 7105 w 10000"/>
                    <a:gd name="connsiteY6" fmla="*/ 4522 h 9936"/>
                    <a:gd name="connsiteX7" fmla="*/ 6140 w 10000"/>
                    <a:gd name="connsiteY7" fmla="*/ 4203 h 9936"/>
                    <a:gd name="connsiteX8" fmla="*/ 6140 w 10000"/>
                    <a:gd name="connsiteY8" fmla="*/ 4203 h 9936"/>
                    <a:gd name="connsiteX9" fmla="*/ 6667 w 10000"/>
                    <a:gd name="connsiteY9" fmla="*/ 3822 h 9936"/>
                    <a:gd name="connsiteX10" fmla="*/ 7018 w 10000"/>
                    <a:gd name="connsiteY10" fmla="*/ 3312 h 9936"/>
                    <a:gd name="connsiteX11" fmla="*/ 7281 w 10000"/>
                    <a:gd name="connsiteY11" fmla="*/ 2739 h 9936"/>
                    <a:gd name="connsiteX12" fmla="*/ 7544 w 10000"/>
                    <a:gd name="connsiteY12" fmla="*/ 2166 h 9936"/>
                    <a:gd name="connsiteX13" fmla="*/ 7544 w 10000"/>
                    <a:gd name="connsiteY13" fmla="*/ 2166 h 9936"/>
                    <a:gd name="connsiteX14" fmla="*/ 7456 w 10000"/>
                    <a:gd name="connsiteY14" fmla="*/ 1720 h 9936"/>
                    <a:gd name="connsiteX15" fmla="*/ 7281 w 10000"/>
                    <a:gd name="connsiteY15" fmla="*/ 1274 h 9936"/>
                    <a:gd name="connsiteX16" fmla="*/ 7105 w 10000"/>
                    <a:gd name="connsiteY16" fmla="*/ 892 h 9936"/>
                    <a:gd name="connsiteX17" fmla="*/ 6754 w 10000"/>
                    <a:gd name="connsiteY17" fmla="*/ 574 h 9936"/>
                    <a:gd name="connsiteX18" fmla="*/ 6404 w 10000"/>
                    <a:gd name="connsiteY18" fmla="*/ 319 h 9936"/>
                    <a:gd name="connsiteX19" fmla="*/ 5965 w 10000"/>
                    <a:gd name="connsiteY19" fmla="*/ 191 h 9936"/>
                    <a:gd name="connsiteX20" fmla="*/ 5526 w 10000"/>
                    <a:gd name="connsiteY20" fmla="*/ 0 h 9936"/>
                    <a:gd name="connsiteX21" fmla="*/ 5000 w 10000"/>
                    <a:gd name="connsiteY21" fmla="*/ 0 h 9936"/>
                    <a:gd name="connsiteX22" fmla="*/ 5000 w 10000"/>
                    <a:gd name="connsiteY22" fmla="*/ 0 h 9936"/>
                    <a:gd name="connsiteX23" fmla="*/ 4561 w 10000"/>
                    <a:gd name="connsiteY23" fmla="*/ 0 h 9936"/>
                    <a:gd name="connsiteX24" fmla="*/ 4123 w 10000"/>
                    <a:gd name="connsiteY24" fmla="*/ 191 h 9936"/>
                    <a:gd name="connsiteX25" fmla="*/ 3684 w 10000"/>
                    <a:gd name="connsiteY25" fmla="*/ 319 h 9936"/>
                    <a:gd name="connsiteX26" fmla="*/ 3246 w 10000"/>
                    <a:gd name="connsiteY26" fmla="*/ 574 h 9936"/>
                    <a:gd name="connsiteX27" fmla="*/ 2982 w 10000"/>
                    <a:gd name="connsiteY27" fmla="*/ 892 h 9936"/>
                    <a:gd name="connsiteX28" fmla="*/ 2719 w 10000"/>
                    <a:gd name="connsiteY28" fmla="*/ 1274 h 9936"/>
                    <a:gd name="connsiteX29" fmla="*/ 2544 w 10000"/>
                    <a:gd name="connsiteY29" fmla="*/ 1720 h 9936"/>
                    <a:gd name="connsiteX30" fmla="*/ 2544 w 10000"/>
                    <a:gd name="connsiteY30" fmla="*/ 2166 h 9936"/>
                    <a:gd name="connsiteX31" fmla="*/ 2544 w 10000"/>
                    <a:gd name="connsiteY31" fmla="*/ 2166 h 9936"/>
                    <a:gd name="connsiteX32" fmla="*/ 2632 w 10000"/>
                    <a:gd name="connsiteY32" fmla="*/ 2739 h 9936"/>
                    <a:gd name="connsiteX33" fmla="*/ 2982 w 10000"/>
                    <a:gd name="connsiteY33" fmla="*/ 3312 h 9936"/>
                    <a:gd name="connsiteX34" fmla="*/ 3421 w 10000"/>
                    <a:gd name="connsiteY34" fmla="*/ 3822 h 9936"/>
                    <a:gd name="connsiteX35" fmla="*/ 3860 w 10000"/>
                    <a:gd name="connsiteY35" fmla="*/ 4203 h 9936"/>
                    <a:gd name="connsiteX36" fmla="*/ 3860 w 10000"/>
                    <a:gd name="connsiteY36" fmla="*/ 4203 h 9936"/>
                    <a:gd name="connsiteX37" fmla="*/ 2895 w 10000"/>
                    <a:gd name="connsiteY37" fmla="*/ 4522 h 9936"/>
                    <a:gd name="connsiteX38" fmla="*/ 2105 w 10000"/>
                    <a:gd name="connsiteY38" fmla="*/ 4905 h 9936"/>
                    <a:gd name="connsiteX39" fmla="*/ 1404 w 10000"/>
                    <a:gd name="connsiteY39" fmla="*/ 5478 h 9936"/>
                    <a:gd name="connsiteX40" fmla="*/ 877 w 10000"/>
                    <a:gd name="connsiteY40" fmla="*/ 6241 h 9936"/>
                    <a:gd name="connsiteX41" fmla="*/ 439 w 10000"/>
                    <a:gd name="connsiteY41" fmla="*/ 7005 h 9936"/>
                    <a:gd name="connsiteX42" fmla="*/ 175 w 10000"/>
                    <a:gd name="connsiteY42" fmla="*/ 7898 h 9936"/>
                    <a:gd name="connsiteX43" fmla="*/ 0 w 10000"/>
                    <a:gd name="connsiteY43" fmla="*/ 8854 h 9936"/>
                    <a:gd name="connsiteX44" fmla="*/ 0 w 10000"/>
                    <a:gd name="connsiteY44" fmla="*/ 9936 h 9936"/>
                    <a:gd name="connsiteX0" fmla="*/ 9912 w 9912"/>
                    <a:gd name="connsiteY0" fmla="*/ 7949 h 10000"/>
                    <a:gd name="connsiteX1" fmla="*/ 9561 w 9912"/>
                    <a:gd name="connsiteY1" fmla="*/ 7050 h 10000"/>
                    <a:gd name="connsiteX2" fmla="*/ 9211 w 9912"/>
                    <a:gd name="connsiteY2" fmla="*/ 6281 h 10000"/>
                    <a:gd name="connsiteX3" fmla="*/ 8684 w 9912"/>
                    <a:gd name="connsiteY3" fmla="*/ 5513 h 10000"/>
                    <a:gd name="connsiteX4" fmla="*/ 7982 w 9912"/>
                    <a:gd name="connsiteY4" fmla="*/ 4937 h 10000"/>
                    <a:gd name="connsiteX5" fmla="*/ 7105 w 9912"/>
                    <a:gd name="connsiteY5" fmla="*/ 4551 h 10000"/>
                    <a:gd name="connsiteX6" fmla="*/ 6140 w 9912"/>
                    <a:gd name="connsiteY6" fmla="*/ 4230 h 10000"/>
                    <a:gd name="connsiteX7" fmla="*/ 6140 w 9912"/>
                    <a:gd name="connsiteY7" fmla="*/ 4230 h 10000"/>
                    <a:gd name="connsiteX8" fmla="*/ 6667 w 9912"/>
                    <a:gd name="connsiteY8" fmla="*/ 3847 h 10000"/>
                    <a:gd name="connsiteX9" fmla="*/ 7018 w 9912"/>
                    <a:gd name="connsiteY9" fmla="*/ 3333 h 10000"/>
                    <a:gd name="connsiteX10" fmla="*/ 7281 w 9912"/>
                    <a:gd name="connsiteY10" fmla="*/ 2757 h 10000"/>
                    <a:gd name="connsiteX11" fmla="*/ 7544 w 9912"/>
                    <a:gd name="connsiteY11" fmla="*/ 2180 h 10000"/>
                    <a:gd name="connsiteX12" fmla="*/ 7544 w 9912"/>
                    <a:gd name="connsiteY12" fmla="*/ 2180 h 10000"/>
                    <a:gd name="connsiteX13" fmla="*/ 7456 w 9912"/>
                    <a:gd name="connsiteY13" fmla="*/ 1731 h 10000"/>
                    <a:gd name="connsiteX14" fmla="*/ 7281 w 9912"/>
                    <a:gd name="connsiteY14" fmla="*/ 1282 h 10000"/>
                    <a:gd name="connsiteX15" fmla="*/ 7105 w 9912"/>
                    <a:gd name="connsiteY15" fmla="*/ 898 h 10000"/>
                    <a:gd name="connsiteX16" fmla="*/ 6754 w 9912"/>
                    <a:gd name="connsiteY16" fmla="*/ 578 h 10000"/>
                    <a:gd name="connsiteX17" fmla="*/ 6404 w 9912"/>
                    <a:gd name="connsiteY17" fmla="*/ 321 h 10000"/>
                    <a:gd name="connsiteX18" fmla="*/ 5965 w 9912"/>
                    <a:gd name="connsiteY18" fmla="*/ 192 h 10000"/>
                    <a:gd name="connsiteX19" fmla="*/ 5526 w 9912"/>
                    <a:gd name="connsiteY19" fmla="*/ 0 h 10000"/>
                    <a:gd name="connsiteX20" fmla="*/ 5000 w 9912"/>
                    <a:gd name="connsiteY20" fmla="*/ 0 h 10000"/>
                    <a:gd name="connsiteX21" fmla="*/ 5000 w 9912"/>
                    <a:gd name="connsiteY21" fmla="*/ 0 h 10000"/>
                    <a:gd name="connsiteX22" fmla="*/ 4561 w 9912"/>
                    <a:gd name="connsiteY22" fmla="*/ 0 h 10000"/>
                    <a:gd name="connsiteX23" fmla="*/ 4123 w 9912"/>
                    <a:gd name="connsiteY23" fmla="*/ 192 h 10000"/>
                    <a:gd name="connsiteX24" fmla="*/ 3684 w 9912"/>
                    <a:gd name="connsiteY24" fmla="*/ 321 h 10000"/>
                    <a:gd name="connsiteX25" fmla="*/ 3246 w 9912"/>
                    <a:gd name="connsiteY25" fmla="*/ 578 h 10000"/>
                    <a:gd name="connsiteX26" fmla="*/ 2982 w 9912"/>
                    <a:gd name="connsiteY26" fmla="*/ 898 h 10000"/>
                    <a:gd name="connsiteX27" fmla="*/ 2719 w 9912"/>
                    <a:gd name="connsiteY27" fmla="*/ 1282 h 10000"/>
                    <a:gd name="connsiteX28" fmla="*/ 2544 w 9912"/>
                    <a:gd name="connsiteY28" fmla="*/ 1731 h 10000"/>
                    <a:gd name="connsiteX29" fmla="*/ 2544 w 9912"/>
                    <a:gd name="connsiteY29" fmla="*/ 2180 h 10000"/>
                    <a:gd name="connsiteX30" fmla="*/ 2544 w 9912"/>
                    <a:gd name="connsiteY30" fmla="*/ 2180 h 10000"/>
                    <a:gd name="connsiteX31" fmla="*/ 2632 w 9912"/>
                    <a:gd name="connsiteY31" fmla="*/ 2757 h 10000"/>
                    <a:gd name="connsiteX32" fmla="*/ 2982 w 9912"/>
                    <a:gd name="connsiteY32" fmla="*/ 3333 h 10000"/>
                    <a:gd name="connsiteX33" fmla="*/ 3421 w 9912"/>
                    <a:gd name="connsiteY33" fmla="*/ 3847 h 10000"/>
                    <a:gd name="connsiteX34" fmla="*/ 3860 w 9912"/>
                    <a:gd name="connsiteY34" fmla="*/ 4230 h 10000"/>
                    <a:gd name="connsiteX35" fmla="*/ 3860 w 9912"/>
                    <a:gd name="connsiteY35" fmla="*/ 4230 h 10000"/>
                    <a:gd name="connsiteX36" fmla="*/ 2895 w 9912"/>
                    <a:gd name="connsiteY36" fmla="*/ 4551 h 10000"/>
                    <a:gd name="connsiteX37" fmla="*/ 2105 w 9912"/>
                    <a:gd name="connsiteY37" fmla="*/ 4937 h 10000"/>
                    <a:gd name="connsiteX38" fmla="*/ 1404 w 9912"/>
                    <a:gd name="connsiteY38" fmla="*/ 5513 h 10000"/>
                    <a:gd name="connsiteX39" fmla="*/ 877 w 9912"/>
                    <a:gd name="connsiteY39" fmla="*/ 6281 h 10000"/>
                    <a:gd name="connsiteX40" fmla="*/ 439 w 9912"/>
                    <a:gd name="connsiteY40" fmla="*/ 7050 h 10000"/>
                    <a:gd name="connsiteX41" fmla="*/ 175 w 9912"/>
                    <a:gd name="connsiteY41" fmla="*/ 7949 h 10000"/>
                    <a:gd name="connsiteX42" fmla="*/ 0 w 9912"/>
                    <a:gd name="connsiteY42" fmla="*/ 8911 h 10000"/>
                    <a:gd name="connsiteX43" fmla="*/ 0 w 9912"/>
                    <a:gd name="connsiteY43" fmla="*/ 10000 h 10000"/>
                    <a:gd name="connsiteX0" fmla="*/ 9646 w 9646"/>
                    <a:gd name="connsiteY0" fmla="*/ 7050 h 10000"/>
                    <a:gd name="connsiteX1" fmla="*/ 9293 w 9646"/>
                    <a:gd name="connsiteY1" fmla="*/ 6281 h 10000"/>
                    <a:gd name="connsiteX2" fmla="*/ 8761 w 9646"/>
                    <a:gd name="connsiteY2" fmla="*/ 5513 h 10000"/>
                    <a:gd name="connsiteX3" fmla="*/ 8053 w 9646"/>
                    <a:gd name="connsiteY3" fmla="*/ 4937 h 10000"/>
                    <a:gd name="connsiteX4" fmla="*/ 7168 w 9646"/>
                    <a:gd name="connsiteY4" fmla="*/ 4551 h 10000"/>
                    <a:gd name="connsiteX5" fmla="*/ 6195 w 9646"/>
                    <a:gd name="connsiteY5" fmla="*/ 4230 h 10000"/>
                    <a:gd name="connsiteX6" fmla="*/ 6195 w 9646"/>
                    <a:gd name="connsiteY6" fmla="*/ 4230 h 10000"/>
                    <a:gd name="connsiteX7" fmla="*/ 6726 w 9646"/>
                    <a:gd name="connsiteY7" fmla="*/ 3847 h 10000"/>
                    <a:gd name="connsiteX8" fmla="*/ 7080 w 9646"/>
                    <a:gd name="connsiteY8" fmla="*/ 3333 h 10000"/>
                    <a:gd name="connsiteX9" fmla="*/ 7346 w 9646"/>
                    <a:gd name="connsiteY9" fmla="*/ 2757 h 10000"/>
                    <a:gd name="connsiteX10" fmla="*/ 7611 w 9646"/>
                    <a:gd name="connsiteY10" fmla="*/ 2180 h 10000"/>
                    <a:gd name="connsiteX11" fmla="*/ 7611 w 9646"/>
                    <a:gd name="connsiteY11" fmla="*/ 2180 h 10000"/>
                    <a:gd name="connsiteX12" fmla="*/ 7522 w 9646"/>
                    <a:gd name="connsiteY12" fmla="*/ 1731 h 10000"/>
                    <a:gd name="connsiteX13" fmla="*/ 7346 w 9646"/>
                    <a:gd name="connsiteY13" fmla="*/ 1282 h 10000"/>
                    <a:gd name="connsiteX14" fmla="*/ 7168 w 9646"/>
                    <a:gd name="connsiteY14" fmla="*/ 898 h 10000"/>
                    <a:gd name="connsiteX15" fmla="*/ 6814 w 9646"/>
                    <a:gd name="connsiteY15" fmla="*/ 578 h 10000"/>
                    <a:gd name="connsiteX16" fmla="*/ 6461 w 9646"/>
                    <a:gd name="connsiteY16" fmla="*/ 321 h 10000"/>
                    <a:gd name="connsiteX17" fmla="*/ 6018 w 9646"/>
                    <a:gd name="connsiteY17" fmla="*/ 192 h 10000"/>
                    <a:gd name="connsiteX18" fmla="*/ 5575 w 9646"/>
                    <a:gd name="connsiteY18" fmla="*/ 0 h 10000"/>
                    <a:gd name="connsiteX19" fmla="*/ 5044 w 9646"/>
                    <a:gd name="connsiteY19" fmla="*/ 0 h 10000"/>
                    <a:gd name="connsiteX20" fmla="*/ 5044 w 9646"/>
                    <a:gd name="connsiteY20" fmla="*/ 0 h 10000"/>
                    <a:gd name="connsiteX21" fmla="*/ 4601 w 9646"/>
                    <a:gd name="connsiteY21" fmla="*/ 0 h 10000"/>
                    <a:gd name="connsiteX22" fmla="*/ 4160 w 9646"/>
                    <a:gd name="connsiteY22" fmla="*/ 192 h 10000"/>
                    <a:gd name="connsiteX23" fmla="*/ 3717 w 9646"/>
                    <a:gd name="connsiteY23" fmla="*/ 321 h 10000"/>
                    <a:gd name="connsiteX24" fmla="*/ 3275 w 9646"/>
                    <a:gd name="connsiteY24" fmla="*/ 578 h 10000"/>
                    <a:gd name="connsiteX25" fmla="*/ 3008 w 9646"/>
                    <a:gd name="connsiteY25" fmla="*/ 898 h 10000"/>
                    <a:gd name="connsiteX26" fmla="*/ 2743 w 9646"/>
                    <a:gd name="connsiteY26" fmla="*/ 1282 h 10000"/>
                    <a:gd name="connsiteX27" fmla="*/ 2567 w 9646"/>
                    <a:gd name="connsiteY27" fmla="*/ 1731 h 10000"/>
                    <a:gd name="connsiteX28" fmla="*/ 2567 w 9646"/>
                    <a:gd name="connsiteY28" fmla="*/ 2180 h 10000"/>
                    <a:gd name="connsiteX29" fmla="*/ 2567 w 9646"/>
                    <a:gd name="connsiteY29" fmla="*/ 2180 h 10000"/>
                    <a:gd name="connsiteX30" fmla="*/ 2655 w 9646"/>
                    <a:gd name="connsiteY30" fmla="*/ 2757 h 10000"/>
                    <a:gd name="connsiteX31" fmla="*/ 3008 w 9646"/>
                    <a:gd name="connsiteY31" fmla="*/ 3333 h 10000"/>
                    <a:gd name="connsiteX32" fmla="*/ 3451 w 9646"/>
                    <a:gd name="connsiteY32" fmla="*/ 3847 h 10000"/>
                    <a:gd name="connsiteX33" fmla="*/ 3894 w 9646"/>
                    <a:gd name="connsiteY33" fmla="*/ 4230 h 10000"/>
                    <a:gd name="connsiteX34" fmla="*/ 3894 w 9646"/>
                    <a:gd name="connsiteY34" fmla="*/ 4230 h 10000"/>
                    <a:gd name="connsiteX35" fmla="*/ 2921 w 9646"/>
                    <a:gd name="connsiteY35" fmla="*/ 4551 h 10000"/>
                    <a:gd name="connsiteX36" fmla="*/ 2124 w 9646"/>
                    <a:gd name="connsiteY36" fmla="*/ 4937 h 10000"/>
                    <a:gd name="connsiteX37" fmla="*/ 1416 w 9646"/>
                    <a:gd name="connsiteY37" fmla="*/ 5513 h 10000"/>
                    <a:gd name="connsiteX38" fmla="*/ 885 w 9646"/>
                    <a:gd name="connsiteY38" fmla="*/ 6281 h 10000"/>
                    <a:gd name="connsiteX39" fmla="*/ 443 w 9646"/>
                    <a:gd name="connsiteY39" fmla="*/ 7050 h 10000"/>
                    <a:gd name="connsiteX40" fmla="*/ 177 w 9646"/>
                    <a:gd name="connsiteY40" fmla="*/ 7949 h 10000"/>
                    <a:gd name="connsiteX41" fmla="*/ 0 w 9646"/>
                    <a:gd name="connsiteY41" fmla="*/ 8911 h 10000"/>
                    <a:gd name="connsiteX42" fmla="*/ 0 w 9646"/>
                    <a:gd name="connsiteY42" fmla="*/ 10000 h 10000"/>
                    <a:gd name="connsiteX0" fmla="*/ 9634 w 9634"/>
                    <a:gd name="connsiteY0" fmla="*/ 6281 h 10000"/>
                    <a:gd name="connsiteX1" fmla="*/ 9083 w 9634"/>
                    <a:gd name="connsiteY1" fmla="*/ 5513 h 10000"/>
                    <a:gd name="connsiteX2" fmla="*/ 8349 w 9634"/>
                    <a:gd name="connsiteY2" fmla="*/ 4937 h 10000"/>
                    <a:gd name="connsiteX3" fmla="*/ 7431 w 9634"/>
                    <a:gd name="connsiteY3" fmla="*/ 4551 h 10000"/>
                    <a:gd name="connsiteX4" fmla="*/ 6422 w 9634"/>
                    <a:gd name="connsiteY4" fmla="*/ 4230 h 10000"/>
                    <a:gd name="connsiteX5" fmla="*/ 6422 w 9634"/>
                    <a:gd name="connsiteY5" fmla="*/ 4230 h 10000"/>
                    <a:gd name="connsiteX6" fmla="*/ 6973 w 9634"/>
                    <a:gd name="connsiteY6" fmla="*/ 3847 h 10000"/>
                    <a:gd name="connsiteX7" fmla="*/ 7340 w 9634"/>
                    <a:gd name="connsiteY7" fmla="*/ 3333 h 10000"/>
                    <a:gd name="connsiteX8" fmla="*/ 7616 w 9634"/>
                    <a:gd name="connsiteY8" fmla="*/ 2757 h 10000"/>
                    <a:gd name="connsiteX9" fmla="*/ 7890 w 9634"/>
                    <a:gd name="connsiteY9" fmla="*/ 2180 h 10000"/>
                    <a:gd name="connsiteX10" fmla="*/ 7890 w 9634"/>
                    <a:gd name="connsiteY10" fmla="*/ 2180 h 10000"/>
                    <a:gd name="connsiteX11" fmla="*/ 7798 w 9634"/>
                    <a:gd name="connsiteY11" fmla="*/ 1731 h 10000"/>
                    <a:gd name="connsiteX12" fmla="*/ 7616 w 9634"/>
                    <a:gd name="connsiteY12" fmla="*/ 1282 h 10000"/>
                    <a:gd name="connsiteX13" fmla="*/ 7431 w 9634"/>
                    <a:gd name="connsiteY13" fmla="*/ 898 h 10000"/>
                    <a:gd name="connsiteX14" fmla="*/ 7064 w 9634"/>
                    <a:gd name="connsiteY14" fmla="*/ 578 h 10000"/>
                    <a:gd name="connsiteX15" fmla="*/ 6698 w 9634"/>
                    <a:gd name="connsiteY15" fmla="*/ 321 h 10000"/>
                    <a:gd name="connsiteX16" fmla="*/ 6239 w 9634"/>
                    <a:gd name="connsiteY16" fmla="*/ 192 h 10000"/>
                    <a:gd name="connsiteX17" fmla="*/ 5780 w 9634"/>
                    <a:gd name="connsiteY17" fmla="*/ 0 h 10000"/>
                    <a:gd name="connsiteX18" fmla="*/ 5229 w 9634"/>
                    <a:gd name="connsiteY18" fmla="*/ 0 h 10000"/>
                    <a:gd name="connsiteX19" fmla="*/ 5229 w 9634"/>
                    <a:gd name="connsiteY19" fmla="*/ 0 h 10000"/>
                    <a:gd name="connsiteX20" fmla="*/ 4770 w 9634"/>
                    <a:gd name="connsiteY20" fmla="*/ 0 h 10000"/>
                    <a:gd name="connsiteX21" fmla="*/ 4313 w 9634"/>
                    <a:gd name="connsiteY21" fmla="*/ 192 h 10000"/>
                    <a:gd name="connsiteX22" fmla="*/ 3853 w 9634"/>
                    <a:gd name="connsiteY22" fmla="*/ 321 h 10000"/>
                    <a:gd name="connsiteX23" fmla="*/ 3395 w 9634"/>
                    <a:gd name="connsiteY23" fmla="*/ 578 h 10000"/>
                    <a:gd name="connsiteX24" fmla="*/ 3118 w 9634"/>
                    <a:gd name="connsiteY24" fmla="*/ 898 h 10000"/>
                    <a:gd name="connsiteX25" fmla="*/ 2844 w 9634"/>
                    <a:gd name="connsiteY25" fmla="*/ 1282 h 10000"/>
                    <a:gd name="connsiteX26" fmla="*/ 2661 w 9634"/>
                    <a:gd name="connsiteY26" fmla="*/ 1731 h 10000"/>
                    <a:gd name="connsiteX27" fmla="*/ 2661 w 9634"/>
                    <a:gd name="connsiteY27" fmla="*/ 2180 h 10000"/>
                    <a:gd name="connsiteX28" fmla="*/ 2661 w 9634"/>
                    <a:gd name="connsiteY28" fmla="*/ 2180 h 10000"/>
                    <a:gd name="connsiteX29" fmla="*/ 2752 w 9634"/>
                    <a:gd name="connsiteY29" fmla="*/ 2757 h 10000"/>
                    <a:gd name="connsiteX30" fmla="*/ 3118 w 9634"/>
                    <a:gd name="connsiteY30" fmla="*/ 3333 h 10000"/>
                    <a:gd name="connsiteX31" fmla="*/ 3578 w 9634"/>
                    <a:gd name="connsiteY31" fmla="*/ 3847 h 10000"/>
                    <a:gd name="connsiteX32" fmla="*/ 4037 w 9634"/>
                    <a:gd name="connsiteY32" fmla="*/ 4230 h 10000"/>
                    <a:gd name="connsiteX33" fmla="*/ 4037 w 9634"/>
                    <a:gd name="connsiteY33" fmla="*/ 4230 h 10000"/>
                    <a:gd name="connsiteX34" fmla="*/ 3028 w 9634"/>
                    <a:gd name="connsiteY34" fmla="*/ 4551 h 10000"/>
                    <a:gd name="connsiteX35" fmla="*/ 2202 w 9634"/>
                    <a:gd name="connsiteY35" fmla="*/ 4937 h 10000"/>
                    <a:gd name="connsiteX36" fmla="*/ 1468 w 9634"/>
                    <a:gd name="connsiteY36" fmla="*/ 5513 h 10000"/>
                    <a:gd name="connsiteX37" fmla="*/ 917 w 9634"/>
                    <a:gd name="connsiteY37" fmla="*/ 6281 h 10000"/>
                    <a:gd name="connsiteX38" fmla="*/ 459 w 9634"/>
                    <a:gd name="connsiteY38" fmla="*/ 7050 h 10000"/>
                    <a:gd name="connsiteX39" fmla="*/ 183 w 9634"/>
                    <a:gd name="connsiteY39" fmla="*/ 7949 h 10000"/>
                    <a:gd name="connsiteX40" fmla="*/ 0 w 9634"/>
                    <a:gd name="connsiteY40" fmla="*/ 8911 h 10000"/>
                    <a:gd name="connsiteX41" fmla="*/ 0 w 9634"/>
                    <a:gd name="connsiteY41" fmla="*/ 1000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9634" h="10000">
                      <a:moveTo>
                        <a:pt x="9634" y="6281"/>
                      </a:moveTo>
                      <a:lnTo>
                        <a:pt x="9083" y="5513"/>
                      </a:lnTo>
                      <a:lnTo>
                        <a:pt x="8349" y="4937"/>
                      </a:lnTo>
                      <a:lnTo>
                        <a:pt x="7431" y="4551"/>
                      </a:lnTo>
                      <a:lnTo>
                        <a:pt x="6422" y="4230"/>
                      </a:lnTo>
                      <a:lnTo>
                        <a:pt x="6422" y="4230"/>
                      </a:lnTo>
                      <a:lnTo>
                        <a:pt x="6973" y="3847"/>
                      </a:lnTo>
                      <a:lnTo>
                        <a:pt x="7340" y="3333"/>
                      </a:lnTo>
                      <a:cubicBezTo>
                        <a:pt x="7432" y="3142"/>
                        <a:pt x="7523" y="2948"/>
                        <a:pt x="7616" y="2757"/>
                      </a:cubicBezTo>
                      <a:lnTo>
                        <a:pt x="7890" y="2180"/>
                      </a:lnTo>
                      <a:lnTo>
                        <a:pt x="7890" y="2180"/>
                      </a:lnTo>
                      <a:cubicBezTo>
                        <a:pt x="7860" y="2030"/>
                        <a:pt x="7828" y="1881"/>
                        <a:pt x="7798" y="1731"/>
                      </a:cubicBezTo>
                      <a:cubicBezTo>
                        <a:pt x="7738" y="1581"/>
                        <a:pt x="7676" y="1431"/>
                        <a:pt x="7616" y="1282"/>
                      </a:cubicBezTo>
                      <a:cubicBezTo>
                        <a:pt x="7553" y="1154"/>
                        <a:pt x="7493" y="1026"/>
                        <a:pt x="7431" y="898"/>
                      </a:cubicBezTo>
                      <a:lnTo>
                        <a:pt x="7064" y="578"/>
                      </a:lnTo>
                      <a:lnTo>
                        <a:pt x="6698" y="321"/>
                      </a:lnTo>
                      <a:lnTo>
                        <a:pt x="6239" y="192"/>
                      </a:lnTo>
                      <a:lnTo>
                        <a:pt x="5780" y="0"/>
                      </a:lnTo>
                      <a:lnTo>
                        <a:pt x="5229" y="0"/>
                      </a:lnTo>
                      <a:lnTo>
                        <a:pt x="5229" y="0"/>
                      </a:lnTo>
                      <a:lnTo>
                        <a:pt x="4770" y="0"/>
                      </a:lnTo>
                      <a:lnTo>
                        <a:pt x="4313" y="192"/>
                      </a:lnTo>
                      <a:lnTo>
                        <a:pt x="3853" y="321"/>
                      </a:lnTo>
                      <a:lnTo>
                        <a:pt x="3395" y="578"/>
                      </a:lnTo>
                      <a:lnTo>
                        <a:pt x="3118" y="898"/>
                      </a:lnTo>
                      <a:lnTo>
                        <a:pt x="2844" y="1282"/>
                      </a:lnTo>
                      <a:cubicBezTo>
                        <a:pt x="2784" y="1431"/>
                        <a:pt x="2721" y="1581"/>
                        <a:pt x="2661" y="1731"/>
                      </a:cubicBezTo>
                      <a:lnTo>
                        <a:pt x="2661" y="2180"/>
                      </a:lnTo>
                      <a:lnTo>
                        <a:pt x="2661" y="2180"/>
                      </a:lnTo>
                      <a:cubicBezTo>
                        <a:pt x="2691" y="2372"/>
                        <a:pt x="2722" y="2564"/>
                        <a:pt x="2752" y="2757"/>
                      </a:cubicBezTo>
                      <a:lnTo>
                        <a:pt x="3118" y="3333"/>
                      </a:lnTo>
                      <a:lnTo>
                        <a:pt x="3578" y="3847"/>
                      </a:lnTo>
                      <a:lnTo>
                        <a:pt x="4037" y="4230"/>
                      </a:lnTo>
                      <a:lnTo>
                        <a:pt x="4037" y="4230"/>
                      </a:lnTo>
                      <a:lnTo>
                        <a:pt x="3028" y="4551"/>
                      </a:lnTo>
                      <a:lnTo>
                        <a:pt x="2202" y="4937"/>
                      </a:lnTo>
                      <a:lnTo>
                        <a:pt x="1468" y="5513"/>
                      </a:lnTo>
                      <a:lnTo>
                        <a:pt x="917" y="6281"/>
                      </a:lnTo>
                      <a:lnTo>
                        <a:pt x="459" y="7050"/>
                      </a:lnTo>
                      <a:lnTo>
                        <a:pt x="183" y="7949"/>
                      </a:lnTo>
                      <a:lnTo>
                        <a:pt x="0" y="8911"/>
                      </a:lnTo>
                      <a:lnTo>
                        <a:pt x="0" y="10000"/>
                      </a:lnTo>
                    </a:path>
                  </a:pathLst>
                </a:custGeom>
                <a:noFill/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>
                    <a:defRPr/>
                  </a:pPr>
                  <a:endParaRPr lang="en-US" sz="1800">
                    <a:solidFill>
                      <a:srgbClr val="263147"/>
                    </a:solidFill>
                    <a:cs typeface="Arial" charset="0"/>
                  </a:endParaRPr>
                </a:p>
              </p:txBody>
            </p:sp>
            <p:cxnSp>
              <p:nvCxnSpPr>
                <p:cNvPr id="25" name="Connecteur droit 325"/>
                <p:cNvCxnSpPr/>
                <p:nvPr/>
              </p:nvCxnSpPr>
              <p:spPr>
                <a:xfrm flipV="1">
                  <a:off x="4476193" y="4957472"/>
                  <a:ext cx="87297" cy="4115"/>
                </a:xfrm>
                <a:prstGeom prst="line">
                  <a:avLst/>
                </a:prstGeom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9" name="Groupe 32"/>
            <p:cNvGrpSpPr>
              <a:grpSpLocks/>
            </p:cNvGrpSpPr>
            <p:nvPr userDrawn="1"/>
          </p:nvGrpSpPr>
          <p:grpSpPr bwMode="auto">
            <a:xfrm>
              <a:off x="8691235" y="2740981"/>
              <a:ext cx="389203" cy="362534"/>
              <a:chOff x="4999013" y="3508177"/>
              <a:chExt cx="228601" cy="217487"/>
            </a:xfrm>
          </p:grpSpPr>
          <p:sp>
            <p:nvSpPr>
              <p:cNvPr id="16" name="Freeform 213"/>
              <p:cNvSpPr>
                <a:spLocks/>
              </p:cNvSpPr>
              <p:nvPr/>
            </p:nvSpPr>
            <p:spPr bwMode="auto">
              <a:xfrm>
                <a:off x="4999361" y="3508591"/>
                <a:ext cx="85862" cy="83804"/>
              </a:xfrm>
              <a:custGeom>
                <a:avLst/>
                <a:gdLst/>
                <a:ahLst/>
                <a:cxnLst>
                  <a:cxn ang="0">
                    <a:pos x="54" y="42"/>
                  </a:cxn>
                  <a:cxn ang="0">
                    <a:pos x="54" y="42"/>
                  </a:cxn>
                  <a:cxn ang="0">
                    <a:pos x="54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2" y="53"/>
                  </a:cxn>
                  <a:cxn ang="0">
                    <a:pos x="12" y="53"/>
                  </a:cxn>
                  <a:cxn ang="0">
                    <a:pos x="7" y="53"/>
                  </a:cxn>
                  <a:cxn ang="0">
                    <a:pos x="3" y="51"/>
                  </a:cxn>
                  <a:cxn ang="0">
                    <a:pos x="0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7"/>
                  </a:cxn>
                  <a:cxn ang="0">
                    <a:pos x="3" y="3"/>
                  </a:cxn>
                  <a:cxn ang="0">
                    <a:pos x="7" y="0"/>
                  </a:cxn>
                  <a:cxn ang="0">
                    <a:pos x="12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4" y="7"/>
                  </a:cxn>
                  <a:cxn ang="0">
                    <a:pos x="54" y="12"/>
                  </a:cxn>
                  <a:cxn ang="0">
                    <a:pos x="54" y="42"/>
                  </a:cxn>
                </a:cxnLst>
                <a:rect l="0" t="0" r="r" b="b"/>
                <a:pathLst>
                  <a:path w="54" h="53">
                    <a:moveTo>
                      <a:pt x="54" y="42"/>
                    </a:moveTo>
                    <a:lnTo>
                      <a:pt x="54" y="42"/>
                    </a:lnTo>
                    <a:lnTo>
                      <a:pt x="54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2" y="53"/>
                    </a:lnTo>
                    <a:lnTo>
                      <a:pt x="12" y="53"/>
                    </a:lnTo>
                    <a:lnTo>
                      <a:pt x="7" y="53"/>
                    </a:lnTo>
                    <a:lnTo>
                      <a:pt x="3" y="51"/>
                    </a:lnTo>
                    <a:lnTo>
                      <a:pt x="0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7" y="0"/>
                    </a:lnTo>
                    <a:lnTo>
                      <a:pt x="1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4" y="7"/>
                    </a:lnTo>
                    <a:lnTo>
                      <a:pt x="54" y="12"/>
                    </a:lnTo>
                    <a:lnTo>
                      <a:pt x="54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7" name="Freeform 214"/>
              <p:cNvSpPr>
                <a:spLocks/>
              </p:cNvSpPr>
              <p:nvPr/>
            </p:nvSpPr>
            <p:spPr bwMode="auto">
              <a:xfrm>
                <a:off x="5139770" y="3508591"/>
                <a:ext cx="87881" cy="83804"/>
              </a:xfrm>
              <a:custGeom>
                <a:avLst/>
                <a:gdLst/>
                <a:ahLst/>
                <a:cxnLst>
                  <a:cxn ang="0">
                    <a:pos x="55" y="42"/>
                  </a:cxn>
                  <a:cxn ang="0">
                    <a:pos x="55" y="42"/>
                  </a:cxn>
                  <a:cxn ang="0">
                    <a:pos x="53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1" y="53"/>
                  </a:cxn>
                  <a:cxn ang="0">
                    <a:pos x="11" y="53"/>
                  </a:cxn>
                  <a:cxn ang="0">
                    <a:pos x="8" y="53"/>
                  </a:cxn>
                  <a:cxn ang="0">
                    <a:pos x="4" y="51"/>
                  </a:cxn>
                  <a:cxn ang="0">
                    <a:pos x="1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4" y="3"/>
                  </a:cxn>
                  <a:cxn ang="0">
                    <a:pos x="8" y="0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3" y="7"/>
                  </a:cxn>
                  <a:cxn ang="0">
                    <a:pos x="55" y="12"/>
                  </a:cxn>
                  <a:cxn ang="0">
                    <a:pos x="55" y="42"/>
                  </a:cxn>
                </a:cxnLst>
                <a:rect l="0" t="0" r="r" b="b"/>
                <a:pathLst>
                  <a:path w="55" h="53">
                    <a:moveTo>
                      <a:pt x="55" y="42"/>
                    </a:moveTo>
                    <a:lnTo>
                      <a:pt x="55" y="42"/>
                    </a:lnTo>
                    <a:lnTo>
                      <a:pt x="53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1" y="53"/>
                    </a:lnTo>
                    <a:lnTo>
                      <a:pt x="11" y="53"/>
                    </a:lnTo>
                    <a:lnTo>
                      <a:pt x="8" y="53"/>
                    </a:lnTo>
                    <a:lnTo>
                      <a:pt x="4" y="51"/>
                    </a:lnTo>
                    <a:lnTo>
                      <a:pt x="1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4" y="3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3" y="7"/>
                    </a:lnTo>
                    <a:lnTo>
                      <a:pt x="55" y="12"/>
                    </a:lnTo>
                    <a:lnTo>
                      <a:pt x="55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8" name="Freeform 215"/>
              <p:cNvSpPr>
                <a:spLocks/>
              </p:cNvSpPr>
              <p:nvPr/>
            </p:nvSpPr>
            <p:spPr bwMode="auto">
              <a:xfrm>
                <a:off x="5071081" y="3640011"/>
                <a:ext cx="84851" cy="85709"/>
              </a:xfrm>
              <a:custGeom>
                <a:avLst/>
                <a:gdLst/>
                <a:ahLst/>
                <a:cxnLst>
                  <a:cxn ang="0">
                    <a:pos x="36" y="54"/>
                  </a:cxn>
                  <a:cxn ang="0">
                    <a:pos x="29" y="54"/>
                  </a:cxn>
                  <a:cxn ang="0">
                    <a:pos x="11" y="54"/>
                  </a:cxn>
                  <a:cxn ang="0">
                    <a:pos x="11" y="54"/>
                  </a:cxn>
                  <a:cxn ang="0">
                    <a:pos x="7" y="53"/>
                  </a:cxn>
                  <a:cxn ang="0">
                    <a:pos x="3" y="50"/>
                  </a:cxn>
                  <a:cxn ang="0">
                    <a:pos x="1" y="46"/>
                  </a:cxn>
                  <a:cxn ang="0">
                    <a:pos x="0" y="43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3" y="3"/>
                  </a:cxn>
                  <a:cxn ang="0">
                    <a:pos x="7" y="1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1"/>
                  </a:cxn>
                  <a:cxn ang="0">
                    <a:pos x="50" y="3"/>
                  </a:cxn>
                  <a:cxn ang="0">
                    <a:pos x="53" y="7"/>
                  </a:cxn>
                  <a:cxn ang="0">
                    <a:pos x="54" y="12"/>
                  </a:cxn>
                  <a:cxn ang="0">
                    <a:pos x="54" y="43"/>
                  </a:cxn>
                </a:cxnLst>
                <a:rect l="0" t="0" r="r" b="b"/>
                <a:pathLst>
                  <a:path w="54" h="54">
                    <a:moveTo>
                      <a:pt x="36" y="54"/>
                    </a:moveTo>
                    <a:lnTo>
                      <a:pt x="29" y="54"/>
                    </a:lnTo>
                    <a:lnTo>
                      <a:pt x="11" y="54"/>
                    </a:lnTo>
                    <a:lnTo>
                      <a:pt x="11" y="54"/>
                    </a:lnTo>
                    <a:lnTo>
                      <a:pt x="7" y="53"/>
                    </a:lnTo>
                    <a:lnTo>
                      <a:pt x="3" y="50"/>
                    </a:lnTo>
                    <a:lnTo>
                      <a:pt x="1" y="46"/>
                    </a:lnTo>
                    <a:lnTo>
                      <a:pt x="0" y="43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3" y="3"/>
                    </a:lnTo>
                    <a:lnTo>
                      <a:pt x="7" y="1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1"/>
                    </a:lnTo>
                    <a:lnTo>
                      <a:pt x="50" y="3"/>
                    </a:lnTo>
                    <a:lnTo>
                      <a:pt x="53" y="7"/>
                    </a:lnTo>
                    <a:lnTo>
                      <a:pt x="54" y="12"/>
                    </a:lnTo>
                    <a:lnTo>
                      <a:pt x="54" y="43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9" name="Freeform 216"/>
              <p:cNvSpPr>
                <a:spLocks/>
              </p:cNvSpPr>
              <p:nvPr/>
            </p:nvSpPr>
            <p:spPr bwMode="auto">
              <a:xfrm>
                <a:off x="5037746" y="3596204"/>
                <a:ext cx="148490" cy="17142"/>
              </a:xfrm>
              <a:custGeom>
                <a:avLst/>
                <a:gdLst/>
                <a:ahLst/>
                <a:cxnLst>
                  <a:cxn ang="0">
                    <a:pos x="94" y="0"/>
                  </a:cxn>
                  <a:cxn ang="0">
                    <a:pos x="94" y="0"/>
                  </a:cxn>
                  <a:cxn ang="0">
                    <a:pos x="94" y="5"/>
                  </a:cxn>
                  <a:cxn ang="0">
                    <a:pos x="92" y="9"/>
                  </a:cxn>
                  <a:cxn ang="0">
                    <a:pos x="88" y="10"/>
                  </a:cxn>
                  <a:cxn ang="0">
                    <a:pos x="83" y="11"/>
                  </a:cxn>
                  <a:cxn ang="0">
                    <a:pos x="47" y="11"/>
                  </a:cxn>
                  <a:cxn ang="0">
                    <a:pos x="12" y="11"/>
                  </a:cxn>
                  <a:cxn ang="0">
                    <a:pos x="12" y="11"/>
                  </a:cxn>
                  <a:cxn ang="0">
                    <a:pos x="8" y="10"/>
                  </a:cxn>
                  <a:cxn ang="0">
                    <a:pos x="4" y="9"/>
                  </a:cxn>
                  <a:cxn ang="0">
                    <a:pos x="2" y="5"/>
                  </a:cxn>
                  <a:cxn ang="0">
                    <a:pos x="0" y="0"/>
                  </a:cxn>
                </a:cxnLst>
                <a:rect l="0" t="0" r="r" b="b"/>
                <a:pathLst>
                  <a:path w="94" h="11">
                    <a:moveTo>
                      <a:pt x="94" y="0"/>
                    </a:moveTo>
                    <a:lnTo>
                      <a:pt x="94" y="0"/>
                    </a:lnTo>
                    <a:lnTo>
                      <a:pt x="94" y="5"/>
                    </a:lnTo>
                    <a:lnTo>
                      <a:pt x="92" y="9"/>
                    </a:lnTo>
                    <a:lnTo>
                      <a:pt x="88" y="10"/>
                    </a:lnTo>
                    <a:lnTo>
                      <a:pt x="83" y="11"/>
                    </a:lnTo>
                    <a:lnTo>
                      <a:pt x="47" y="11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8" y="10"/>
                    </a:lnTo>
                    <a:lnTo>
                      <a:pt x="4" y="9"/>
                    </a:lnTo>
                    <a:lnTo>
                      <a:pt x="2" y="5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0" name="Line 217"/>
              <p:cNvSpPr>
                <a:spLocks noChangeShapeType="1"/>
              </p:cNvSpPr>
              <p:nvPr/>
            </p:nvSpPr>
            <p:spPr bwMode="auto">
              <a:xfrm flipV="1">
                <a:off x="5112496" y="3613346"/>
                <a:ext cx="2020" cy="26665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10" name="Groupe 281"/>
            <p:cNvGrpSpPr>
              <a:grpSpLocks/>
            </p:cNvGrpSpPr>
            <p:nvPr userDrawn="1"/>
          </p:nvGrpSpPr>
          <p:grpSpPr bwMode="auto">
            <a:xfrm>
              <a:off x="5543115" y="3570780"/>
              <a:ext cx="562532" cy="335672"/>
              <a:chOff x="3909988" y="7116564"/>
              <a:chExt cx="268288" cy="163512"/>
            </a:xfrm>
          </p:grpSpPr>
          <p:sp>
            <p:nvSpPr>
              <p:cNvPr id="12" name="Line 326"/>
              <p:cNvSpPr>
                <a:spLocks noChangeShapeType="1"/>
              </p:cNvSpPr>
              <p:nvPr/>
            </p:nvSpPr>
            <p:spPr bwMode="auto">
              <a:xfrm>
                <a:off x="3909880" y="7120976"/>
                <a:ext cx="1640" cy="1577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3" name="Line 327"/>
              <p:cNvSpPr>
                <a:spLocks noChangeShapeType="1"/>
              </p:cNvSpPr>
              <p:nvPr/>
            </p:nvSpPr>
            <p:spPr bwMode="auto">
              <a:xfrm>
                <a:off x="3911520" y="7278723"/>
                <a:ext cx="266571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4" name="Freeform 328"/>
              <p:cNvSpPr>
                <a:spLocks/>
              </p:cNvSpPr>
              <p:nvPr/>
            </p:nvSpPr>
            <p:spPr bwMode="auto">
              <a:xfrm>
                <a:off x="3936127" y="7143401"/>
                <a:ext cx="179628" cy="115991"/>
              </a:xfrm>
              <a:custGeom>
                <a:avLst/>
                <a:gdLst/>
                <a:ahLst/>
                <a:cxnLst>
                  <a:cxn ang="0">
                    <a:pos x="0" y="73"/>
                  </a:cxn>
                  <a:cxn ang="0">
                    <a:pos x="34" y="39"/>
                  </a:cxn>
                  <a:cxn ang="0">
                    <a:pos x="55" y="59"/>
                  </a:cxn>
                  <a:cxn ang="0">
                    <a:pos x="114" y="0"/>
                  </a:cxn>
                </a:cxnLst>
                <a:rect l="0" t="0" r="r" b="b"/>
                <a:pathLst>
                  <a:path w="114" h="73">
                    <a:moveTo>
                      <a:pt x="0" y="73"/>
                    </a:moveTo>
                    <a:lnTo>
                      <a:pt x="34" y="39"/>
                    </a:lnTo>
                    <a:lnTo>
                      <a:pt x="55" y="59"/>
                    </a:lnTo>
                    <a:lnTo>
                      <a:pt x="114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5" name="Freeform 329"/>
              <p:cNvSpPr>
                <a:spLocks/>
              </p:cNvSpPr>
              <p:nvPr/>
            </p:nvSpPr>
            <p:spPr bwMode="auto">
              <a:xfrm>
                <a:off x="4087867" y="7116337"/>
                <a:ext cx="50854" cy="556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2" y="0"/>
                  </a:cxn>
                  <a:cxn ang="0">
                    <a:pos x="32" y="35"/>
                  </a:cxn>
                </a:cxnLst>
                <a:rect l="0" t="0" r="r" b="b"/>
                <a:pathLst>
                  <a:path w="32" h="35">
                    <a:moveTo>
                      <a:pt x="0" y="0"/>
                    </a:moveTo>
                    <a:lnTo>
                      <a:pt x="32" y="0"/>
                    </a:lnTo>
                    <a:lnTo>
                      <a:pt x="32" y="3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sp>
          <p:nvSpPr>
            <p:cNvPr id="11" name="Freeform 72"/>
            <p:cNvSpPr>
              <a:spLocks/>
            </p:cNvSpPr>
            <p:nvPr userDrawn="1"/>
          </p:nvSpPr>
          <p:spPr bwMode="auto">
            <a:xfrm>
              <a:off x="2579688" y="3656035"/>
              <a:ext cx="581290" cy="349236"/>
            </a:xfrm>
            <a:custGeom>
              <a:avLst/>
              <a:gdLst/>
              <a:ahLst/>
              <a:cxnLst>
                <a:cxn ang="0">
                  <a:pos x="180" y="132"/>
                </a:cxn>
                <a:cxn ang="0">
                  <a:pos x="193" y="129"/>
                </a:cxn>
                <a:cxn ang="0">
                  <a:pos x="204" y="121"/>
                </a:cxn>
                <a:cxn ang="0">
                  <a:pos x="212" y="110"/>
                </a:cxn>
                <a:cxn ang="0">
                  <a:pos x="215" y="97"/>
                </a:cxn>
                <a:cxn ang="0">
                  <a:pos x="215" y="90"/>
                </a:cxn>
                <a:cxn ang="0">
                  <a:pos x="208" y="77"/>
                </a:cxn>
                <a:cxn ang="0">
                  <a:pos x="199" y="68"/>
                </a:cxn>
                <a:cxn ang="0">
                  <a:pos x="187" y="63"/>
                </a:cxn>
                <a:cxn ang="0">
                  <a:pos x="180" y="62"/>
                </a:cxn>
                <a:cxn ang="0">
                  <a:pos x="179" y="62"/>
                </a:cxn>
                <a:cxn ang="0">
                  <a:pos x="179" y="61"/>
                </a:cxn>
                <a:cxn ang="0">
                  <a:pos x="174" y="36"/>
                </a:cxn>
                <a:cxn ang="0">
                  <a:pos x="161" y="17"/>
                </a:cxn>
                <a:cxn ang="0">
                  <a:pos x="142" y="5"/>
                </a:cxn>
                <a:cxn ang="0">
                  <a:pos x="120" y="0"/>
                </a:cxn>
                <a:cxn ang="0">
                  <a:pos x="109" y="1"/>
                </a:cxn>
                <a:cxn ang="0">
                  <a:pos x="92" y="6"/>
                </a:cxn>
                <a:cxn ang="0">
                  <a:pos x="78" y="17"/>
                </a:cxn>
                <a:cxn ang="0">
                  <a:pos x="66" y="31"/>
                </a:cxn>
                <a:cxn ang="0">
                  <a:pos x="62" y="39"/>
                </a:cxn>
                <a:cxn ang="0">
                  <a:pos x="47" y="36"/>
                </a:cxn>
                <a:cxn ang="0">
                  <a:pos x="38" y="38"/>
                </a:cxn>
                <a:cxn ang="0">
                  <a:pos x="21" y="45"/>
                </a:cxn>
                <a:cxn ang="0">
                  <a:pos x="8" y="58"/>
                </a:cxn>
                <a:cxn ang="0">
                  <a:pos x="2" y="75"/>
                </a:cxn>
                <a:cxn ang="0">
                  <a:pos x="0" y="85"/>
                </a:cxn>
                <a:cxn ang="0">
                  <a:pos x="4" y="102"/>
                </a:cxn>
                <a:cxn ang="0">
                  <a:pos x="14" y="118"/>
                </a:cxn>
                <a:cxn ang="0">
                  <a:pos x="30" y="128"/>
                </a:cxn>
                <a:cxn ang="0">
                  <a:pos x="47" y="132"/>
                </a:cxn>
                <a:cxn ang="0">
                  <a:pos x="147" y="132"/>
                </a:cxn>
              </a:cxnLst>
              <a:rect l="0" t="0" r="r" b="b"/>
              <a:pathLst>
                <a:path w="215" h="132">
                  <a:moveTo>
                    <a:pt x="180" y="132"/>
                  </a:moveTo>
                  <a:lnTo>
                    <a:pt x="180" y="132"/>
                  </a:lnTo>
                  <a:lnTo>
                    <a:pt x="187" y="132"/>
                  </a:lnTo>
                  <a:lnTo>
                    <a:pt x="193" y="129"/>
                  </a:lnTo>
                  <a:lnTo>
                    <a:pt x="199" y="125"/>
                  </a:lnTo>
                  <a:lnTo>
                    <a:pt x="204" y="121"/>
                  </a:lnTo>
                  <a:lnTo>
                    <a:pt x="208" y="116"/>
                  </a:lnTo>
                  <a:lnTo>
                    <a:pt x="212" y="110"/>
                  </a:lnTo>
                  <a:lnTo>
                    <a:pt x="215" y="104"/>
                  </a:lnTo>
                  <a:lnTo>
                    <a:pt x="215" y="97"/>
                  </a:lnTo>
                  <a:lnTo>
                    <a:pt x="215" y="97"/>
                  </a:lnTo>
                  <a:lnTo>
                    <a:pt x="215" y="90"/>
                  </a:lnTo>
                  <a:lnTo>
                    <a:pt x="212" y="83"/>
                  </a:lnTo>
                  <a:lnTo>
                    <a:pt x="208" y="77"/>
                  </a:lnTo>
                  <a:lnTo>
                    <a:pt x="204" y="72"/>
                  </a:lnTo>
                  <a:lnTo>
                    <a:pt x="199" y="68"/>
                  </a:lnTo>
                  <a:lnTo>
                    <a:pt x="193" y="64"/>
                  </a:lnTo>
                  <a:lnTo>
                    <a:pt x="187" y="63"/>
                  </a:lnTo>
                  <a:lnTo>
                    <a:pt x="180" y="62"/>
                  </a:lnTo>
                  <a:lnTo>
                    <a:pt x="180" y="62"/>
                  </a:lnTo>
                  <a:lnTo>
                    <a:pt x="179" y="62"/>
                  </a:lnTo>
                  <a:lnTo>
                    <a:pt x="179" y="62"/>
                  </a:lnTo>
                  <a:lnTo>
                    <a:pt x="179" y="61"/>
                  </a:lnTo>
                  <a:lnTo>
                    <a:pt x="179" y="61"/>
                  </a:lnTo>
                  <a:lnTo>
                    <a:pt x="178" y="48"/>
                  </a:lnTo>
                  <a:lnTo>
                    <a:pt x="174" y="36"/>
                  </a:lnTo>
                  <a:lnTo>
                    <a:pt x="169" y="26"/>
                  </a:lnTo>
                  <a:lnTo>
                    <a:pt x="161" y="17"/>
                  </a:lnTo>
                  <a:lnTo>
                    <a:pt x="152" y="10"/>
                  </a:lnTo>
                  <a:lnTo>
                    <a:pt x="142" y="5"/>
                  </a:lnTo>
                  <a:lnTo>
                    <a:pt x="131" y="1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09" y="1"/>
                  </a:lnTo>
                  <a:lnTo>
                    <a:pt x="101" y="2"/>
                  </a:lnTo>
                  <a:lnTo>
                    <a:pt x="92" y="6"/>
                  </a:lnTo>
                  <a:lnTo>
                    <a:pt x="84" y="11"/>
                  </a:lnTo>
                  <a:lnTo>
                    <a:pt x="78" y="17"/>
                  </a:lnTo>
                  <a:lnTo>
                    <a:pt x="71" y="24"/>
                  </a:lnTo>
                  <a:lnTo>
                    <a:pt x="66" y="31"/>
                  </a:lnTo>
                  <a:lnTo>
                    <a:pt x="62" y="39"/>
                  </a:lnTo>
                  <a:lnTo>
                    <a:pt x="62" y="39"/>
                  </a:lnTo>
                  <a:lnTo>
                    <a:pt x="55" y="38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38" y="38"/>
                  </a:lnTo>
                  <a:lnTo>
                    <a:pt x="30" y="40"/>
                  </a:lnTo>
                  <a:lnTo>
                    <a:pt x="21" y="45"/>
                  </a:lnTo>
                  <a:lnTo>
                    <a:pt x="14" y="50"/>
                  </a:lnTo>
                  <a:lnTo>
                    <a:pt x="8" y="58"/>
                  </a:lnTo>
                  <a:lnTo>
                    <a:pt x="4" y="66"/>
                  </a:lnTo>
                  <a:lnTo>
                    <a:pt x="2" y="7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2" y="94"/>
                  </a:lnTo>
                  <a:lnTo>
                    <a:pt x="4" y="102"/>
                  </a:lnTo>
                  <a:lnTo>
                    <a:pt x="8" y="111"/>
                  </a:lnTo>
                  <a:lnTo>
                    <a:pt x="14" y="118"/>
                  </a:lnTo>
                  <a:lnTo>
                    <a:pt x="21" y="124"/>
                  </a:lnTo>
                  <a:lnTo>
                    <a:pt x="30" y="128"/>
                  </a:lnTo>
                  <a:lnTo>
                    <a:pt x="38" y="130"/>
                  </a:lnTo>
                  <a:lnTo>
                    <a:pt x="47" y="132"/>
                  </a:lnTo>
                  <a:lnTo>
                    <a:pt x="47" y="132"/>
                  </a:lnTo>
                  <a:lnTo>
                    <a:pt x="147" y="132"/>
                  </a:lnTo>
                </a:path>
              </a:pathLst>
            </a:custGeom>
            <a:noFill/>
            <a:ln w="1905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lIns="83969" tIns="41985" rIns="83969" bIns="41985"/>
            <a:lstStyle/>
            <a:p>
              <a:pPr defTabSz="914400">
                <a:defRPr/>
              </a:pPr>
              <a:endParaRPr lang="en-US" sz="1800">
                <a:solidFill>
                  <a:srgbClr val="263147"/>
                </a:solidFill>
                <a:cs typeface="Arial" charset="0"/>
              </a:endParaRPr>
            </a:p>
          </p:txBody>
        </p:sp>
      </p:grpSp>
      <p:graphicFrame>
        <p:nvGraphicFramePr>
          <p:cNvPr id="42" name="Object 2" hidden="1"/>
          <p:cNvGraphicFramePr>
            <a:graphicFrameLocks noChangeAspect="1"/>
          </p:cNvGraphicFramePr>
          <p:nvPr/>
        </p:nvGraphicFramePr>
        <p:xfrm>
          <a:off x="0" y="0"/>
          <a:ext cx="158222" cy="158750"/>
        </p:xfrm>
        <a:graphic>
          <a:graphicData uri="http://schemas.openxmlformats.org/presentationml/2006/ole">
            <p:oleObj spid="_x0000_s844803" name="think-cell Slide" r:id="rId6" imgW="360" imgH="360" progId="">
              <p:embed/>
            </p:oleObj>
          </a:graphicData>
        </a:graphic>
      </p:graphicFrame>
      <p:sp>
        <p:nvSpPr>
          <p:cNvPr id="43" name="Rectangle 7"/>
          <p:cNvSpPr/>
          <p:nvPr>
            <p:custDataLst>
              <p:tags r:id="rId2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xmlns="" val="4143894643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6679" name="Picture 7" descr="Isis-Mobile-Wallet"/>
          <p:cNvPicPr>
            <a:picLocks noChangeAspect="1" noChangeArrowheads="1"/>
          </p:cNvPicPr>
          <p:nvPr userDrawn="1"/>
        </p:nvPicPr>
        <p:blipFill>
          <a:blip r:embed="rId4" cstate="print"/>
          <a:srcRect r="27500"/>
          <a:stretch>
            <a:fillRect/>
          </a:stretch>
        </p:blipFill>
        <p:spPr bwMode="auto">
          <a:xfrm>
            <a:off x="0" y="0"/>
            <a:ext cx="9906000" cy="49530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222" cy="158750"/>
        </p:xfrm>
        <a:graphic>
          <a:graphicData uri="http://schemas.openxmlformats.org/presentationml/2006/ole">
            <p:oleObj spid="_x0000_s845826" name="think-cell Slide" r:id="rId5" imgW="360" imgH="360" progId="">
              <p:embed/>
            </p:oleObj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/>
        </p:nvGraphicFramePr>
        <p:xfrm>
          <a:off x="0" y="0"/>
          <a:ext cx="158222" cy="158750"/>
        </p:xfrm>
        <a:graphic>
          <a:graphicData uri="http://schemas.openxmlformats.org/presentationml/2006/ole">
            <p:oleObj spid="_x0000_s845827" name="think-cell Slide" r:id="rId6" imgW="360" imgH="360" progId="">
              <p:embed/>
            </p:oleObj>
          </a:graphicData>
        </a:graphic>
      </p:graphicFrame>
      <p:sp>
        <p:nvSpPr>
          <p:cNvPr id="43" name="Rectangle 7"/>
          <p:cNvSpPr/>
          <p:nvPr>
            <p:custDataLst>
              <p:tags r:id="rId2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xmlns="" val="4143894643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849922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850946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51970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852994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854018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55042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56066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58050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47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706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857090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861186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862210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63234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864258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865282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66306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67330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6" y="1"/>
          <a:ext cx="147061" cy="143985"/>
        </p:xfrm>
        <a:graphic>
          <a:graphicData uri="http://schemas.openxmlformats.org/presentationml/2006/ole">
            <p:oleObj spid="_x0000_s259074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868354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872450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873474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74498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875522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876546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77570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78594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6" y="1"/>
          <a:ext cx="147061" cy="143985"/>
        </p:xfrm>
        <a:graphic>
          <a:graphicData uri="http://schemas.openxmlformats.org/presentationml/2006/ole">
            <p:oleObj spid="_x0000_s260098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91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879618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883714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884738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85762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886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887810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88834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89858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61122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890882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894978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896002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97026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898050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899074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00098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01122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62146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902146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06242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07266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08290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909314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910338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11362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12386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 descr="D:\Users\skhamkar\Downloads\ThinkstockPhotos-474726969.jpg"/>
          <p:cNvPicPr>
            <a:picLocks noChangeAspect="1" noChangeArrowheads="1"/>
          </p:cNvPicPr>
          <p:nvPr userDrawn="1"/>
        </p:nvPicPr>
        <p:blipFill>
          <a:blip r:embed="rId7" cstate="print">
            <a:lum bright="-20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-1" y="457200"/>
            <a:ext cx="9906001" cy="610235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" name="Group 12"/>
          <p:cNvGrpSpPr/>
          <p:nvPr userDrawn="1"/>
        </p:nvGrpSpPr>
        <p:grpSpPr>
          <a:xfrm>
            <a:off x="7" y="0"/>
            <a:ext cx="9906003" cy="6858000"/>
            <a:chOff x="0" y="0"/>
            <a:chExt cx="9144003" cy="6858000"/>
          </a:xfrm>
        </p:grpSpPr>
        <p:grpSp>
          <p:nvGrpSpPr>
            <p:cNvPr id="3" name="Group 15"/>
            <p:cNvGrpSpPr/>
            <p:nvPr userDrawn="1"/>
          </p:nvGrpSpPr>
          <p:grpSpPr>
            <a:xfrm>
              <a:off x="0" y="0"/>
              <a:ext cx="9144003" cy="1404524"/>
              <a:chOff x="1219200" y="3352800"/>
              <a:chExt cx="9144003" cy="1404524"/>
            </a:xfrm>
          </p:grpSpPr>
          <p:grpSp>
            <p:nvGrpSpPr>
              <p:cNvPr id="4" name="Group 16"/>
              <p:cNvGrpSpPr/>
              <p:nvPr userDrawn="1"/>
            </p:nvGrpSpPr>
            <p:grpSpPr>
              <a:xfrm>
                <a:off x="1219200" y="3352800"/>
                <a:ext cx="9144000" cy="1398896"/>
                <a:chOff x="0" y="0"/>
                <a:chExt cx="9144000" cy="1398896"/>
              </a:xfrm>
            </p:grpSpPr>
            <p:pic>
              <p:nvPicPr>
                <p:cNvPr id="20" name="Picture 19" descr="Header_Title Slide_PPT Template_3.png"/>
                <p:cNvPicPr>
                  <a:picLocks noChangeAspect="1"/>
                </p:cNvPicPr>
                <p:nvPr userDrawn="1"/>
              </p:nvPicPr>
              <p:blipFill>
                <a:blip r:embed="rId8" cstate="email"/>
                <a:srcRect l="2081" r="-1029"/>
                <a:stretch>
                  <a:fillRect/>
                </a:stretch>
              </p:blipFill>
              <p:spPr>
                <a:xfrm>
                  <a:off x="0" y="0"/>
                  <a:ext cx="5029200" cy="1398896"/>
                </a:xfrm>
                <a:prstGeom prst="rect">
                  <a:avLst/>
                </a:prstGeom>
              </p:spPr>
            </p:pic>
            <p:pic>
              <p:nvPicPr>
                <p:cNvPr id="21" name="Picture 20" descr="Header_Title Slide_PPT Template_3.png"/>
                <p:cNvPicPr>
                  <a:picLocks noChangeAspect="1"/>
                </p:cNvPicPr>
                <p:nvPr userDrawn="1"/>
              </p:nvPicPr>
              <p:blipFill>
                <a:blip r:embed="rId8" cstate="email"/>
                <a:srcRect b="29091"/>
                <a:stretch>
                  <a:fillRect/>
                </a:stretch>
              </p:blipFill>
              <p:spPr>
                <a:xfrm>
                  <a:off x="3879273" y="0"/>
                  <a:ext cx="5264727" cy="1026625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</p:grpSp>
          <p:sp>
            <p:nvSpPr>
              <p:cNvPr id="19" name="Freeform 4"/>
              <p:cNvSpPr>
                <a:spLocks/>
              </p:cNvSpPr>
              <p:nvPr userDrawn="1">
                <p:custDataLst>
                  <p:tags r:id="rId5"/>
                </p:custDataLst>
              </p:nvPr>
            </p:nvSpPr>
            <p:spPr bwMode="auto">
              <a:xfrm>
                <a:off x="1219204" y="4029202"/>
                <a:ext cx="9143999" cy="728122"/>
              </a:xfrm>
              <a:custGeom>
                <a:avLst/>
                <a:gdLst/>
                <a:ahLst/>
                <a:cxnLst>
                  <a:cxn ang="0">
                    <a:pos x="2965" y="93"/>
                  </a:cxn>
                  <a:cxn ang="0">
                    <a:pos x="303" y="93"/>
                  </a:cxn>
                  <a:cxn ang="0">
                    <a:pos x="151" y="187"/>
                  </a:cxn>
                  <a:cxn ang="0">
                    <a:pos x="0" y="93"/>
                  </a:cxn>
                  <a:cxn ang="0">
                    <a:pos x="0" y="112"/>
                  </a:cxn>
                  <a:cxn ang="0">
                    <a:pos x="151" y="205"/>
                  </a:cxn>
                  <a:cxn ang="0">
                    <a:pos x="303" y="112"/>
                  </a:cxn>
                  <a:cxn ang="0">
                    <a:pos x="2965" y="112"/>
                  </a:cxn>
                  <a:cxn ang="0">
                    <a:pos x="3118" y="19"/>
                  </a:cxn>
                  <a:cxn ang="0">
                    <a:pos x="3118" y="0"/>
                  </a:cxn>
                  <a:cxn ang="0">
                    <a:pos x="2965" y="93"/>
                  </a:cxn>
                </a:cxnLst>
                <a:rect l="0" t="0" r="r" b="b"/>
                <a:pathLst>
                  <a:path w="3118" h="205">
                    <a:moveTo>
                      <a:pt x="2965" y="93"/>
                    </a:moveTo>
                    <a:cubicBezTo>
                      <a:pt x="303" y="93"/>
                      <a:pt x="303" y="93"/>
                      <a:pt x="303" y="93"/>
                    </a:cubicBezTo>
                    <a:cubicBezTo>
                      <a:pt x="183" y="93"/>
                      <a:pt x="151" y="187"/>
                      <a:pt x="151" y="187"/>
                    </a:cubicBezTo>
                    <a:cubicBezTo>
                      <a:pt x="151" y="187"/>
                      <a:pt x="119" y="93"/>
                      <a:pt x="0" y="93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119" y="112"/>
                      <a:pt x="151" y="205"/>
                      <a:pt x="151" y="205"/>
                    </a:cubicBezTo>
                    <a:cubicBezTo>
                      <a:pt x="151" y="205"/>
                      <a:pt x="183" y="112"/>
                      <a:pt x="303" y="112"/>
                    </a:cubicBezTo>
                    <a:cubicBezTo>
                      <a:pt x="2965" y="112"/>
                      <a:pt x="2965" y="112"/>
                      <a:pt x="2965" y="112"/>
                    </a:cubicBezTo>
                    <a:cubicBezTo>
                      <a:pt x="3085" y="112"/>
                      <a:pt x="3118" y="19"/>
                      <a:pt x="3118" y="19"/>
                    </a:cubicBezTo>
                    <a:cubicBezTo>
                      <a:pt x="3118" y="0"/>
                      <a:pt x="3118" y="0"/>
                      <a:pt x="3118" y="0"/>
                    </a:cubicBezTo>
                    <a:cubicBezTo>
                      <a:pt x="3118" y="0"/>
                      <a:pt x="3085" y="93"/>
                      <a:pt x="2965" y="93"/>
                    </a:cubicBezTo>
                    <a:close/>
                  </a:path>
                </a:pathLst>
              </a:custGeom>
              <a:solidFill>
                <a:schemeClr val="accent5"/>
              </a:solidFill>
              <a:ln w="9525">
                <a:noFill/>
                <a:round/>
                <a:headEnd/>
                <a:tailEnd/>
              </a:ln>
              <a:effectLst>
                <a:outerShdw blurRad="50800" dist="25400" dir="5400000" algn="t" rotWithShape="0">
                  <a:prstClr val="black">
                    <a:alpha val="31000"/>
                  </a:prstClr>
                </a:outerShdw>
              </a:effectLst>
            </p:spPr>
            <p:txBody>
              <a:bodyPr vert="horz" wrap="square" lIns="99563" tIns="49782" rIns="99563" bIns="49782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solidFill>
                    <a:srgbClr val="263147"/>
                  </a:solidFill>
                </a:endParaRPr>
              </a:p>
            </p:txBody>
          </p:sp>
        </p:grpSp>
        <p:sp>
          <p:nvSpPr>
            <p:cNvPr id="17" name="Rectangle 16"/>
            <p:cNvSpPr/>
            <p:nvPr userDrawn="1"/>
          </p:nvSpPr>
          <p:spPr>
            <a:xfrm>
              <a:off x="0" y="6355080"/>
              <a:ext cx="9144000" cy="5029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2400" dirty="0" err="1" smtClean="0">
                <a:solidFill>
                  <a:srgbClr val="1F497D">
                    <a:lumMod val="50000"/>
                  </a:srgbClr>
                </a:solidFill>
              </a:endParaRPr>
            </a:p>
          </p:txBody>
        </p:sp>
      </p:grpSp>
      <p:sp>
        <p:nvSpPr>
          <p:cNvPr id="24" name="Rectangle 23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741834" y="6623421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apgemini 2016. </a:t>
            </a: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All Rights Reserved</a:t>
            </a:r>
          </a:p>
        </p:txBody>
      </p:sp>
      <p:sp>
        <p:nvSpPr>
          <p:cNvPr id="28" name="Rectangle 27"/>
          <p:cNvSpPr/>
          <p:nvPr userDrawn="1">
            <p:custDataLst>
              <p:tags r:id="rId2"/>
            </p:custDataLst>
          </p:nvPr>
        </p:nvSpPr>
        <p:spPr>
          <a:xfrm>
            <a:off x="7487926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omerica Card Services SOA Solution | February 2016 </a:t>
            </a:r>
            <a:r>
              <a:rPr lang="en-US" sz="700" dirty="0">
                <a:solidFill>
                  <a:srgbClr val="998C85"/>
                </a:solidFill>
              </a:rPr>
              <a:t>| Financial Services</a:t>
            </a:r>
          </a:p>
        </p:txBody>
      </p:sp>
      <p:pic>
        <p:nvPicPr>
          <p:cNvPr id="29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30" name="Straight Connector 5"/>
          <p:cNvCxnSpPr/>
          <p:nvPr userDrawn="1">
            <p:custDataLst>
              <p:tags r:id="rId4"/>
            </p:custDataLst>
          </p:nvPr>
        </p:nvCxnSpPr>
        <p:spPr>
          <a:xfrm flipH="1">
            <a:off x="11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861365275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913410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17506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18530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19554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920578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921602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22626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23650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924674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28770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29794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30818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931842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932866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33890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34914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18939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Footer_PPT Template_2.png"/>
          <p:cNvPicPr preferRelativeResize="0">
            <a:picLocks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0" y="6238877"/>
            <a:ext cx="9906000" cy="619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8" descr="capgemini logo.png"/>
          <p:cNvPicPr>
            <a:picLocks noChangeAspect="1"/>
          </p:cNvPicPr>
          <p:nvPr/>
        </p:nvPicPr>
        <p:blipFill>
          <a:blip r:embed="rId4" cstate="email">
            <a:lum bright="100000"/>
          </a:blip>
          <a:srcRect/>
          <a:stretch>
            <a:fillRect/>
          </a:stretch>
        </p:blipFill>
        <p:spPr bwMode="auto">
          <a:xfrm>
            <a:off x="495310" y="6381875"/>
            <a:ext cx="1559852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9" descr="logo.png"/>
          <p:cNvPicPr>
            <a:picLocks noChangeAspect="1"/>
          </p:cNvPicPr>
          <p:nvPr/>
        </p:nvPicPr>
        <p:blipFill>
          <a:blip r:embed="rId5" cstate="email">
            <a:lum bright="100000"/>
          </a:blip>
          <a:srcRect/>
          <a:stretch>
            <a:fillRect/>
          </a:stretch>
        </p:blipFill>
        <p:spPr bwMode="auto">
          <a:xfrm>
            <a:off x="8547434" y="6237411"/>
            <a:ext cx="930409" cy="6476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7"/>
          <p:cNvSpPr/>
          <p:nvPr/>
        </p:nvSpPr>
        <p:spPr>
          <a:xfrm>
            <a:off x="2543576" y="6545264"/>
            <a:ext cx="5114660" cy="24923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 eaLnBrk="0" hangingPunct="0">
              <a:lnSpc>
                <a:spcPct val="85000"/>
              </a:lnSpc>
              <a:defRPr/>
            </a:pPr>
            <a:r>
              <a:rPr lang="en-US" sz="800" b="1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800" b="1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800" b="1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800" b="1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800" b="1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800" b="1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600202"/>
            <a:ext cx="8915400" cy="4525962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4200" spc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0" y="612778"/>
            <a:ext cx="9906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94C3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116339" tIns="58170" rIns="116339" bIns="58170"/>
          <a:lstStyle/>
          <a:p>
            <a:pPr algn="ctr" defTabSz="1119138" eaLnBrk="0" hangingPunct="0">
              <a:lnSpc>
                <a:spcPct val="85000"/>
              </a:lnSpc>
              <a:defRPr/>
            </a:pPr>
            <a:endParaRPr lang="fr-FR" sz="2400" b="1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935938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40034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41058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42082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94310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944130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45154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46178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8.-Products-and-technology_ps.jpg"/>
          <p:cNvPicPr>
            <a:picLocks noChangeAspect="1"/>
          </p:cNvPicPr>
          <p:nvPr userDrawn="1"/>
        </p:nvPicPr>
        <p:blipFill>
          <a:blip r:embed="rId2" cstate="print"/>
          <a:srcRect b="9852"/>
          <a:stretch>
            <a:fillRect/>
          </a:stretch>
        </p:blipFill>
        <p:spPr>
          <a:xfrm>
            <a:off x="0" y="476672"/>
            <a:ext cx="9906000" cy="6381328"/>
          </a:xfrm>
          <a:prstGeom prst="rect">
            <a:avLst/>
          </a:prstGeom>
        </p:spPr>
      </p:pic>
      <p:pic>
        <p:nvPicPr>
          <p:cNvPr id="10" name="Picture 9" descr="Header_Title Slide_PPT Template_3.png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0" y="1"/>
            <a:ext cx="9906000" cy="2516697"/>
          </a:xfrm>
          <a:prstGeom prst="rect">
            <a:avLst/>
          </a:prstGeom>
        </p:spPr>
      </p:pic>
      <p:pic>
        <p:nvPicPr>
          <p:cNvPr id="20" name="Picture 19" descr="Header_PPT Template.png"/>
          <p:cNvPicPr>
            <a:picLocks noChangeAspect="1"/>
          </p:cNvPicPr>
          <p:nvPr userDrawn="1"/>
        </p:nvPicPr>
        <p:blipFill>
          <a:blip r:embed="rId4" cstate="screen"/>
          <a:stretch>
            <a:fillRect/>
          </a:stretch>
        </p:blipFill>
        <p:spPr>
          <a:xfrm>
            <a:off x="0" y="0"/>
            <a:ext cx="9906000" cy="2516696"/>
          </a:xfrm>
          <a:prstGeom prst="rect">
            <a:avLst/>
          </a:prstGeom>
        </p:spPr>
      </p:pic>
      <p:pic>
        <p:nvPicPr>
          <p:cNvPr id="22" name="Picture 21" descr="capgemini logo.png"/>
          <p:cNvPicPr>
            <a:picLocks noChangeAspect="1"/>
          </p:cNvPicPr>
          <p:nvPr userDrawn="1"/>
        </p:nvPicPr>
        <p:blipFill>
          <a:blip r:embed="rId5" cstate="screen">
            <a:lum bright="100000"/>
          </a:blip>
          <a:stretch>
            <a:fillRect/>
          </a:stretch>
        </p:blipFill>
        <p:spPr>
          <a:xfrm>
            <a:off x="428497" y="625233"/>
            <a:ext cx="2995200" cy="643531"/>
          </a:xfrm>
          <a:prstGeom prst="rect">
            <a:avLst/>
          </a:prstGeom>
        </p:spPr>
      </p:pic>
      <p:pic>
        <p:nvPicPr>
          <p:cNvPr id="24" name="Picture 23" descr="logo.png"/>
          <p:cNvPicPr>
            <a:picLocks noChangeAspect="1"/>
          </p:cNvPicPr>
          <p:nvPr userDrawn="1"/>
        </p:nvPicPr>
        <p:blipFill>
          <a:blip r:embed="rId6" cstate="screen">
            <a:lum bright="100000"/>
          </a:blip>
          <a:stretch>
            <a:fillRect/>
          </a:stretch>
        </p:blipFill>
        <p:spPr>
          <a:xfrm>
            <a:off x="7803234" y="260650"/>
            <a:ext cx="1755000" cy="1223403"/>
          </a:xfrm>
          <a:prstGeom prst="rect">
            <a:avLst/>
          </a:prstGeom>
        </p:spPr>
      </p:pic>
      <p:pic>
        <p:nvPicPr>
          <p:cNvPr id="26" name="Picture 25" descr="Footer_PPT Template_2.png"/>
          <p:cNvPicPr preferRelativeResize="0">
            <a:picLocks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3" name="Image 7" descr="Capgemini_Slogan_RGB.png"/>
          <p:cNvPicPr>
            <a:picLocks noChangeAspect="1"/>
          </p:cNvPicPr>
          <p:nvPr userDrawn="1"/>
        </p:nvPicPr>
        <p:blipFill>
          <a:blip r:embed="rId8" cstate="screen">
            <a:lum bright="100000"/>
          </a:blip>
          <a:stretch>
            <a:fillRect/>
          </a:stretch>
        </p:blipFill>
        <p:spPr>
          <a:xfrm>
            <a:off x="6747199" y="6390284"/>
            <a:ext cx="2925000" cy="279087"/>
          </a:xfrm>
          <a:prstGeom prst="rect">
            <a:avLst/>
          </a:prstGeom>
        </p:spPr>
      </p:pic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742952" y="2636912"/>
            <a:ext cx="5458189" cy="1512168"/>
          </a:xfrm>
        </p:spPr>
        <p:txBody>
          <a:bodyPr anchor="b">
            <a:noAutofit/>
          </a:bodyPr>
          <a:lstStyle>
            <a:lvl1pPr algn="l">
              <a:defRPr sz="4800" b="0" spc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/>
          </p:nvPr>
        </p:nvSpPr>
        <p:spPr>
          <a:xfrm>
            <a:off x="740534" y="4149144"/>
            <a:ext cx="5460607" cy="576000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947202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090562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091586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92610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093634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094658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95682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96706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4" name="Freeform 4"/>
          <p:cNvSpPr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0" y="612109"/>
            <a:ext cx="9906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94C3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sz="1800">
              <a:solidFill>
                <a:prstClr val="black"/>
              </a:solidFill>
            </a:endParaRPr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4" cstate="screen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pic>
        <p:nvPicPr>
          <p:cNvPr id="30" name="Picture 29" descr="logo.png"/>
          <p:cNvPicPr>
            <a:picLocks noChangeAspect="1"/>
          </p:cNvPicPr>
          <p:nvPr userDrawn="1"/>
        </p:nvPicPr>
        <p:blipFill>
          <a:blip r:embed="rId5" cstate="screen">
            <a:lum bright="100000"/>
          </a:blip>
          <a:stretch>
            <a:fillRect/>
          </a:stretch>
        </p:blipFill>
        <p:spPr>
          <a:xfrm>
            <a:off x="8547934" y="6237384"/>
            <a:ext cx="929570" cy="64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3" y="6545274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4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097730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101826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102850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03874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104898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105922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06946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07970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 descr="D:\Users\skhamkar\Downloads\ThinkstockPhotos-474726969.jpg"/>
          <p:cNvPicPr>
            <a:picLocks noChangeAspect="1" noChangeArrowheads="1"/>
          </p:cNvPicPr>
          <p:nvPr userDrawn="1"/>
        </p:nvPicPr>
        <p:blipFill>
          <a:blip r:embed="rId7" cstate="print">
            <a:lum bright="-20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-1" y="457200"/>
            <a:ext cx="9906001" cy="610235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" name="Group 12"/>
          <p:cNvGrpSpPr/>
          <p:nvPr userDrawn="1"/>
        </p:nvGrpSpPr>
        <p:grpSpPr>
          <a:xfrm>
            <a:off x="6" y="0"/>
            <a:ext cx="9906003" cy="6858000"/>
            <a:chOff x="0" y="0"/>
            <a:chExt cx="9144003" cy="6858000"/>
          </a:xfrm>
        </p:grpSpPr>
        <p:grpSp>
          <p:nvGrpSpPr>
            <p:cNvPr id="3" name="Group 15"/>
            <p:cNvGrpSpPr/>
            <p:nvPr userDrawn="1"/>
          </p:nvGrpSpPr>
          <p:grpSpPr>
            <a:xfrm>
              <a:off x="0" y="0"/>
              <a:ext cx="9144003" cy="1404524"/>
              <a:chOff x="1219200" y="3352800"/>
              <a:chExt cx="9144003" cy="1404524"/>
            </a:xfrm>
          </p:grpSpPr>
          <p:grpSp>
            <p:nvGrpSpPr>
              <p:cNvPr id="4" name="Group 16"/>
              <p:cNvGrpSpPr/>
              <p:nvPr userDrawn="1"/>
            </p:nvGrpSpPr>
            <p:grpSpPr>
              <a:xfrm>
                <a:off x="1219200" y="3352800"/>
                <a:ext cx="9144000" cy="1398896"/>
                <a:chOff x="0" y="0"/>
                <a:chExt cx="9144000" cy="1398896"/>
              </a:xfrm>
            </p:grpSpPr>
            <p:pic>
              <p:nvPicPr>
                <p:cNvPr id="20" name="Picture 19" descr="Header_Title Slide_PPT Template_3.png"/>
                <p:cNvPicPr>
                  <a:picLocks noChangeAspect="1"/>
                </p:cNvPicPr>
                <p:nvPr userDrawn="1"/>
              </p:nvPicPr>
              <p:blipFill>
                <a:blip r:embed="rId8" cstate="email"/>
                <a:srcRect l="2081" r="-1029"/>
                <a:stretch>
                  <a:fillRect/>
                </a:stretch>
              </p:blipFill>
              <p:spPr>
                <a:xfrm>
                  <a:off x="0" y="0"/>
                  <a:ext cx="5029200" cy="1398896"/>
                </a:xfrm>
                <a:prstGeom prst="rect">
                  <a:avLst/>
                </a:prstGeom>
              </p:spPr>
            </p:pic>
            <p:pic>
              <p:nvPicPr>
                <p:cNvPr id="21" name="Picture 20" descr="Header_Title Slide_PPT Template_3.png"/>
                <p:cNvPicPr>
                  <a:picLocks noChangeAspect="1"/>
                </p:cNvPicPr>
                <p:nvPr userDrawn="1"/>
              </p:nvPicPr>
              <p:blipFill>
                <a:blip r:embed="rId8" cstate="email"/>
                <a:srcRect b="29091"/>
                <a:stretch>
                  <a:fillRect/>
                </a:stretch>
              </p:blipFill>
              <p:spPr>
                <a:xfrm>
                  <a:off x="3879273" y="0"/>
                  <a:ext cx="5264727" cy="1026625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</p:grpSp>
          <p:sp>
            <p:nvSpPr>
              <p:cNvPr id="19" name="Freeform 4"/>
              <p:cNvSpPr>
                <a:spLocks/>
              </p:cNvSpPr>
              <p:nvPr userDrawn="1">
                <p:custDataLst>
                  <p:tags r:id="rId5"/>
                </p:custDataLst>
              </p:nvPr>
            </p:nvSpPr>
            <p:spPr bwMode="auto">
              <a:xfrm>
                <a:off x="1219204" y="4029202"/>
                <a:ext cx="9143999" cy="728122"/>
              </a:xfrm>
              <a:custGeom>
                <a:avLst/>
                <a:gdLst/>
                <a:ahLst/>
                <a:cxnLst>
                  <a:cxn ang="0">
                    <a:pos x="2965" y="93"/>
                  </a:cxn>
                  <a:cxn ang="0">
                    <a:pos x="303" y="93"/>
                  </a:cxn>
                  <a:cxn ang="0">
                    <a:pos x="151" y="187"/>
                  </a:cxn>
                  <a:cxn ang="0">
                    <a:pos x="0" y="93"/>
                  </a:cxn>
                  <a:cxn ang="0">
                    <a:pos x="0" y="112"/>
                  </a:cxn>
                  <a:cxn ang="0">
                    <a:pos x="151" y="205"/>
                  </a:cxn>
                  <a:cxn ang="0">
                    <a:pos x="303" y="112"/>
                  </a:cxn>
                  <a:cxn ang="0">
                    <a:pos x="2965" y="112"/>
                  </a:cxn>
                  <a:cxn ang="0">
                    <a:pos x="3118" y="19"/>
                  </a:cxn>
                  <a:cxn ang="0">
                    <a:pos x="3118" y="0"/>
                  </a:cxn>
                  <a:cxn ang="0">
                    <a:pos x="2965" y="93"/>
                  </a:cxn>
                </a:cxnLst>
                <a:rect l="0" t="0" r="r" b="b"/>
                <a:pathLst>
                  <a:path w="3118" h="205">
                    <a:moveTo>
                      <a:pt x="2965" y="93"/>
                    </a:moveTo>
                    <a:cubicBezTo>
                      <a:pt x="303" y="93"/>
                      <a:pt x="303" y="93"/>
                      <a:pt x="303" y="93"/>
                    </a:cubicBezTo>
                    <a:cubicBezTo>
                      <a:pt x="183" y="93"/>
                      <a:pt x="151" y="187"/>
                      <a:pt x="151" y="187"/>
                    </a:cubicBezTo>
                    <a:cubicBezTo>
                      <a:pt x="151" y="187"/>
                      <a:pt x="119" y="93"/>
                      <a:pt x="0" y="93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119" y="112"/>
                      <a:pt x="151" y="205"/>
                      <a:pt x="151" y="205"/>
                    </a:cubicBezTo>
                    <a:cubicBezTo>
                      <a:pt x="151" y="205"/>
                      <a:pt x="183" y="112"/>
                      <a:pt x="303" y="112"/>
                    </a:cubicBezTo>
                    <a:cubicBezTo>
                      <a:pt x="2965" y="112"/>
                      <a:pt x="2965" y="112"/>
                      <a:pt x="2965" y="112"/>
                    </a:cubicBezTo>
                    <a:cubicBezTo>
                      <a:pt x="3085" y="112"/>
                      <a:pt x="3118" y="19"/>
                      <a:pt x="3118" y="19"/>
                    </a:cubicBezTo>
                    <a:cubicBezTo>
                      <a:pt x="3118" y="0"/>
                      <a:pt x="3118" y="0"/>
                      <a:pt x="3118" y="0"/>
                    </a:cubicBezTo>
                    <a:cubicBezTo>
                      <a:pt x="3118" y="0"/>
                      <a:pt x="3085" y="93"/>
                      <a:pt x="2965" y="93"/>
                    </a:cubicBezTo>
                    <a:close/>
                  </a:path>
                </a:pathLst>
              </a:custGeom>
              <a:solidFill>
                <a:schemeClr val="accent5"/>
              </a:solidFill>
              <a:ln w="9525">
                <a:noFill/>
                <a:round/>
                <a:headEnd/>
                <a:tailEnd/>
              </a:ln>
              <a:effectLst>
                <a:outerShdw blurRad="50800" dist="25400" dir="5400000" algn="t" rotWithShape="0">
                  <a:prstClr val="black">
                    <a:alpha val="31000"/>
                  </a:prstClr>
                </a:outerShdw>
              </a:effectLst>
            </p:spPr>
            <p:txBody>
              <a:bodyPr vert="horz" wrap="square" lIns="99563" tIns="49782" rIns="99563" bIns="49782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solidFill>
                    <a:srgbClr val="263147"/>
                  </a:solidFill>
                </a:endParaRPr>
              </a:p>
            </p:txBody>
          </p:sp>
        </p:grpSp>
        <p:sp>
          <p:nvSpPr>
            <p:cNvPr id="17" name="Rectangle 16"/>
            <p:cNvSpPr/>
            <p:nvPr userDrawn="1"/>
          </p:nvSpPr>
          <p:spPr>
            <a:xfrm>
              <a:off x="0" y="6355080"/>
              <a:ext cx="9144000" cy="5029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2400" dirty="0" err="1" smtClean="0">
                <a:solidFill>
                  <a:srgbClr val="1F497D">
                    <a:lumMod val="50000"/>
                  </a:srgbClr>
                </a:solidFill>
              </a:endParaRPr>
            </a:p>
          </p:txBody>
        </p:sp>
      </p:grpSp>
      <p:sp>
        <p:nvSpPr>
          <p:cNvPr id="24" name="Rectangle 23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741834" y="6623419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apgemini 2016. </a:t>
            </a: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All Rights Reserved</a:t>
            </a:r>
          </a:p>
        </p:txBody>
      </p:sp>
      <p:sp>
        <p:nvSpPr>
          <p:cNvPr id="28" name="Rectangle 27"/>
          <p:cNvSpPr/>
          <p:nvPr userDrawn="1">
            <p:custDataLst>
              <p:tags r:id="rId2"/>
            </p:custDataLst>
          </p:nvPr>
        </p:nvSpPr>
        <p:spPr>
          <a:xfrm>
            <a:off x="7487926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1F497D"/>
                </a:solidFill>
              </a:rPr>
              <a:t>Comerica Card Services SOA Solution </a:t>
            </a:r>
            <a:r>
              <a:rPr lang="en-US" sz="700" dirty="0" smtClean="0">
                <a:solidFill>
                  <a:srgbClr val="998C85"/>
                </a:solidFill>
              </a:rPr>
              <a:t>| February 2016 </a:t>
            </a:r>
            <a:r>
              <a:rPr lang="en-US" sz="700" dirty="0">
                <a:solidFill>
                  <a:srgbClr val="998C85"/>
                </a:solidFill>
              </a:rPr>
              <a:t>| Financial Services</a:t>
            </a:r>
          </a:p>
        </p:txBody>
      </p:sp>
      <p:pic>
        <p:nvPicPr>
          <p:cNvPr id="29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30" name="Straight Connector 5"/>
          <p:cNvCxnSpPr/>
          <p:nvPr userDrawn="1">
            <p:custDataLst>
              <p:tags r:id="rId4"/>
            </p:custDataLst>
          </p:nvPr>
        </p:nvCxnSpPr>
        <p:spPr>
          <a:xfrm flipH="1">
            <a:off x="10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861365275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108994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113090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114114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15138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116162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117186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18210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19234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test1.jpg"/>
          <p:cNvPicPr>
            <a:picLocks noChangeAspect="1"/>
          </p:cNvPicPr>
          <p:nvPr userDrawn="1"/>
        </p:nvPicPr>
        <p:blipFill>
          <a:blip r:embed="rId9" cstate="print"/>
          <a:srcRect l="240" t="25" r="260" b="533"/>
          <a:stretch>
            <a:fillRect/>
          </a:stretch>
        </p:blipFill>
        <p:spPr>
          <a:xfrm>
            <a:off x="0" y="1324099"/>
            <a:ext cx="9906000" cy="5533901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49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65218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702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4540683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4" y="4551798"/>
            <a:ext cx="4541230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tx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120258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124354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125378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26402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12742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128450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29474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30498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66242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49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702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131522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252354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253378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54402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25542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256450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57474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58498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4" y="1"/>
          <a:ext cx="147061" cy="143985"/>
        </p:xfrm>
        <a:graphic>
          <a:graphicData uri="http://schemas.openxmlformats.org/presentationml/2006/ole">
            <p:oleObj spid="_x0000_s26726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259522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263618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264642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65666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266690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267714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68738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69762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4" y="1"/>
          <a:ext cx="147061" cy="143985"/>
        </p:xfrm>
        <a:graphic>
          <a:graphicData uri="http://schemas.openxmlformats.org/presentationml/2006/ole">
            <p:oleObj spid="_x0000_s268290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91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270786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2" name="Picture 2" descr="D:\Users\sbandyop\Downloads\ACE VI_FINAL_woman with mobile.png"/>
          <p:cNvPicPr>
            <a:picLocks noChangeAspect="1" noChangeArrowheads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3302000" y="1905005"/>
            <a:ext cx="6438900" cy="2960117"/>
          </a:xfrm>
          <a:prstGeom prst="rect">
            <a:avLst/>
          </a:prstGeom>
          <a:noFill/>
        </p:spPr>
      </p:pic>
      <p:pic>
        <p:nvPicPr>
          <p:cNvPr id="12" name="Picture 11" descr="Header_Title Slide_PPT Template_3.png"/>
          <p:cNvPicPr>
            <a:picLocks noChangeAspect="1"/>
          </p:cNvPicPr>
          <p:nvPr/>
        </p:nvPicPr>
        <p:blipFill>
          <a:blip r:embed="rId5" cstate="email"/>
          <a:stretch>
            <a:fillRect/>
          </a:stretch>
        </p:blipFill>
        <p:spPr>
          <a:xfrm>
            <a:off x="0" y="6"/>
            <a:ext cx="9906000" cy="2516697"/>
          </a:xfrm>
          <a:prstGeom prst="rect">
            <a:avLst/>
          </a:prstGeom>
        </p:spPr>
      </p:pic>
      <p:pic>
        <p:nvPicPr>
          <p:cNvPr id="22" name="Picture 21" descr="Header_PPT Template.png"/>
          <p:cNvPicPr>
            <a:picLocks noChangeAspect="1"/>
          </p:cNvPicPr>
          <p:nvPr/>
        </p:nvPicPr>
        <p:blipFill>
          <a:blip r:embed="rId6" cstate="email"/>
          <a:stretch>
            <a:fillRect/>
          </a:stretch>
        </p:blipFill>
        <p:spPr>
          <a:xfrm>
            <a:off x="0" y="0"/>
            <a:ext cx="9906000" cy="2516696"/>
          </a:xfrm>
          <a:prstGeom prst="rect">
            <a:avLst/>
          </a:prstGeom>
        </p:spPr>
      </p:pic>
      <p:pic>
        <p:nvPicPr>
          <p:cNvPr id="23" name="Picture 22" descr="capgemini logo.png"/>
          <p:cNvPicPr>
            <a:picLocks noChangeAspect="1"/>
          </p:cNvPicPr>
          <p:nvPr/>
        </p:nvPicPr>
        <p:blipFill>
          <a:blip r:embed="rId7" cstate="email">
            <a:lum bright="100000"/>
          </a:blip>
          <a:stretch>
            <a:fillRect/>
          </a:stretch>
        </p:blipFill>
        <p:spPr>
          <a:xfrm>
            <a:off x="428497" y="625237"/>
            <a:ext cx="2995200" cy="643531"/>
          </a:xfrm>
          <a:prstGeom prst="rect">
            <a:avLst/>
          </a:prstGeom>
        </p:spPr>
      </p:pic>
      <p:pic>
        <p:nvPicPr>
          <p:cNvPr id="26" name="Picture 25" descr="Footer_PPT Template_2.png"/>
          <p:cNvPicPr preferRelativeResize="0">
            <a:picLocks/>
          </p:cNvPicPr>
          <p:nvPr/>
        </p:nvPicPr>
        <p:blipFill>
          <a:blip r:embed="rId8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7" name="Image 7" descr="Capgemini_Slogan_RGB.png"/>
          <p:cNvPicPr>
            <a:picLocks noChangeAspect="1"/>
          </p:cNvPicPr>
          <p:nvPr/>
        </p:nvPicPr>
        <p:blipFill>
          <a:blip r:embed="rId9" cstate="email">
            <a:lum bright="100000"/>
          </a:blip>
          <a:stretch>
            <a:fillRect/>
          </a:stretch>
        </p:blipFill>
        <p:spPr>
          <a:xfrm>
            <a:off x="6747199" y="6390281"/>
            <a:ext cx="2925000" cy="27908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4" y="4202089"/>
            <a:ext cx="9905999" cy="1512168"/>
          </a:xfrm>
        </p:spPr>
        <p:txBody>
          <a:bodyPr anchor="b">
            <a:noAutofit/>
          </a:bodyPr>
          <a:lstStyle>
            <a:lvl1pPr algn="l">
              <a:defRPr sz="4800" b="0" spc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-2746" y="5672400"/>
            <a:ext cx="9910389" cy="576000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11" name="Picture 10" descr="logo.png"/>
          <p:cNvPicPr>
            <a:picLocks noChangeAspect="1"/>
          </p:cNvPicPr>
          <p:nvPr userDrawn="1"/>
        </p:nvPicPr>
        <p:blipFill>
          <a:blip r:embed="rId10" cstate="email">
            <a:lum bright="100000"/>
          </a:blip>
          <a:stretch>
            <a:fillRect/>
          </a:stretch>
        </p:blipFill>
        <p:spPr>
          <a:xfrm>
            <a:off x="7800511" y="260649"/>
            <a:ext cx="1755000" cy="122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861365275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222" cy="158750"/>
        </p:xfrm>
        <a:graphic>
          <a:graphicData uri="http://schemas.openxmlformats.org/presentationml/2006/ole">
            <p:oleObj spid="_x0000_s1382402" name="think-cell Slide" r:id="rId4" imgW="360" imgH="360" progId="">
              <p:embed/>
            </p:oleObj>
          </a:graphicData>
        </a:graphic>
      </p:graphicFrame>
      <p:grpSp>
        <p:nvGrpSpPr>
          <p:cNvPr id="4" name="Group 18"/>
          <p:cNvGrpSpPr>
            <a:grpSpLocks/>
          </p:cNvGrpSpPr>
          <p:nvPr/>
        </p:nvGrpSpPr>
        <p:grpSpPr bwMode="auto">
          <a:xfrm>
            <a:off x="0" y="1"/>
            <a:ext cx="9906000" cy="4854575"/>
            <a:chOff x="0" y="1801907"/>
            <a:chExt cx="9906000" cy="4854387"/>
          </a:xfrm>
        </p:grpSpPr>
        <p:pic>
          <p:nvPicPr>
            <p:cNvPr id="5" name="Picture 3" descr="Cover_03.jpg"/>
            <p:cNvPicPr>
              <a:picLocks noChangeAspect="1"/>
            </p:cNvPicPr>
            <p:nvPr userDrawn="1"/>
          </p:nvPicPr>
          <p:blipFill>
            <a:blip r:embed="rId5" cstate="email"/>
            <a:srcRect/>
            <a:stretch>
              <a:fillRect/>
            </a:stretch>
          </p:blipFill>
          <p:spPr bwMode="auto">
            <a:xfrm>
              <a:off x="0" y="1801907"/>
              <a:ext cx="9906000" cy="48543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6" name="Groupe 709"/>
            <p:cNvGrpSpPr>
              <a:grpSpLocks/>
            </p:cNvGrpSpPr>
            <p:nvPr userDrawn="1"/>
          </p:nvGrpSpPr>
          <p:grpSpPr bwMode="auto">
            <a:xfrm>
              <a:off x="8084783" y="2883520"/>
              <a:ext cx="386117" cy="518177"/>
              <a:chOff x="2344714" y="4924226"/>
              <a:chExt cx="184150" cy="252413"/>
            </a:xfrm>
          </p:grpSpPr>
          <p:sp>
            <p:nvSpPr>
              <p:cNvPr id="40" name="Freeform 449"/>
              <p:cNvSpPr>
                <a:spLocks/>
              </p:cNvSpPr>
              <p:nvPr/>
            </p:nvSpPr>
            <p:spPr bwMode="auto">
              <a:xfrm>
                <a:off x="2344694" y="4923950"/>
                <a:ext cx="184548" cy="252859"/>
              </a:xfrm>
              <a:custGeom>
                <a:avLst/>
                <a:gdLst/>
                <a:ahLst/>
                <a:cxnLst>
                  <a:cxn ang="0">
                    <a:pos x="97" y="159"/>
                  </a:cxn>
                  <a:cxn ang="0">
                    <a:pos x="20" y="159"/>
                  </a:cxn>
                  <a:cxn ang="0">
                    <a:pos x="20" y="159"/>
                  </a:cxn>
                  <a:cxn ang="0">
                    <a:pos x="15" y="159"/>
                  </a:cxn>
                  <a:cxn ang="0">
                    <a:pos x="13" y="157"/>
                  </a:cxn>
                  <a:cxn ang="0">
                    <a:pos x="6" y="154"/>
                  </a:cxn>
                  <a:cxn ang="0">
                    <a:pos x="1" y="147"/>
                  </a:cxn>
                  <a:cxn ang="0">
                    <a:pos x="0" y="143"/>
                  </a:cxn>
                  <a:cxn ang="0">
                    <a:pos x="0" y="140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15"/>
                  </a:cxn>
                  <a:cxn ang="0">
                    <a:pos x="1" y="12"/>
                  </a:cxn>
                  <a:cxn ang="0">
                    <a:pos x="6" y="5"/>
                  </a:cxn>
                  <a:cxn ang="0">
                    <a:pos x="13" y="2"/>
                  </a:cxn>
                  <a:cxn ang="0">
                    <a:pos x="15" y="0"/>
                  </a:cxn>
                  <a:cxn ang="0">
                    <a:pos x="20" y="0"/>
                  </a:cxn>
                  <a:cxn ang="0">
                    <a:pos x="97" y="0"/>
                  </a:cxn>
                  <a:cxn ang="0">
                    <a:pos x="97" y="0"/>
                  </a:cxn>
                  <a:cxn ang="0">
                    <a:pos x="101" y="0"/>
                  </a:cxn>
                  <a:cxn ang="0">
                    <a:pos x="105" y="2"/>
                  </a:cxn>
                  <a:cxn ang="0">
                    <a:pos x="111" y="5"/>
                  </a:cxn>
                  <a:cxn ang="0">
                    <a:pos x="115" y="12"/>
                  </a:cxn>
                  <a:cxn ang="0">
                    <a:pos x="116" y="15"/>
                  </a:cxn>
                  <a:cxn ang="0">
                    <a:pos x="116" y="19"/>
                  </a:cxn>
                  <a:cxn ang="0">
                    <a:pos x="116" y="159"/>
                  </a:cxn>
                </a:cxnLst>
                <a:rect l="0" t="0" r="r" b="b"/>
                <a:pathLst>
                  <a:path w="116" h="159">
                    <a:moveTo>
                      <a:pt x="97" y="159"/>
                    </a:moveTo>
                    <a:lnTo>
                      <a:pt x="20" y="159"/>
                    </a:lnTo>
                    <a:lnTo>
                      <a:pt x="20" y="159"/>
                    </a:lnTo>
                    <a:lnTo>
                      <a:pt x="15" y="159"/>
                    </a:lnTo>
                    <a:lnTo>
                      <a:pt x="13" y="157"/>
                    </a:lnTo>
                    <a:lnTo>
                      <a:pt x="6" y="154"/>
                    </a:lnTo>
                    <a:lnTo>
                      <a:pt x="1" y="147"/>
                    </a:lnTo>
                    <a:lnTo>
                      <a:pt x="0" y="143"/>
                    </a:lnTo>
                    <a:lnTo>
                      <a:pt x="0" y="140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5"/>
                    </a:lnTo>
                    <a:lnTo>
                      <a:pt x="1" y="12"/>
                    </a:lnTo>
                    <a:lnTo>
                      <a:pt x="6" y="5"/>
                    </a:lnTo>
                    <a:lnTo>
                      <a:pt x="13" y="2"/>
                    </a:lnTo>
                    <a:lnTo>
                      <a:pt x="15" y="0"/>
                    </a:lnTo>
                    <a:lnTo>
                      <a:pt x="20" y="0"/>
                    </a:lnTo>
                    <a:lnTo>
                      <a:pt x="97" y="0"/>
                    </a:lnTo>
                    <a:lnTo>
                      <a:pt x="97" y="0"/>
                    </a:lnTo>
                    <a:lnTo>
                      <a:pt x="101" y="0"/>
                    </a:lnTo>
                    <a:lnTo>
                      <a:pt x="105" y="2"/>
                    </a:lnTo>
                    <a:lnTo>
                      <a:pt x="111" y="5"/>
                    </a:lnTo>
                    <a:lnTo>
                      <a:pt x="115" y="12"/>
                    </a:lnTo>
                    <a:lnTo>
                      <a:pt x="116" y="15"/>
                    </a:lnTo>
                    <a:lnTo>
                      <a:pt x="116" y="19"/>
                    </a:lnTo>
                    <a:lnTo>
                      <a:pt x="116" y="15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41" name="Freeform 450"/>
              <p:cNvSpPr>
                <a:spLocks/>
              </p:cNvSpPr>
              <p:nvPr/>
            </p:nvSpPr>
            <p:spPr bwMode="auto">
              <a:xfrm>
                <a:off x="2365199" y="4944828"/>
                <a:ext cx="145178" cy="231981"/>
              </a:xfrm>
              <a:custGeom>
                <a:avLst/>
                <a:gdLst/>
                <a:ahLst/>
                <a:cxnLst>
                  <a:cxn ang="0">
                    <a:pos x="32" y="129"/>
                  </a:cxn>
                  <a:cxn ang="0">
                    <a:pos x="32" y="129"/>
                  </a:cxn>
                  <a:cxn ang="0">
                    <a:pos x="34" y="133"/>
                  </a:cxn>
                  <a:cxn ang="0">
                    <a:pos x="35" y="136"/>
                  </a:cxn>
                  <a:cxn ang="0">
                    <a:pos x="39" y="137"/>
                  </a:cxn>
                  <a:cxn ang="0">
                    <a:pos x="41" y="138"/>
                  </a:cxn>
                  <a:cxn ang="0">
                    <a:pos x="41" y="138"/>
                  </a:cxn>
                  <a:cxn ang="0">
                    <a:pos x="45" y="137"/>
                  </a:cxn>
                  <a:cxn ang="0">
                    <a:pos x="48" y="136"/>
                  </a:cxn>
                  <a:cxn ang="0">
                    <a:pos x="49" y="133"/>
                  </a:cxn>
                  <a:cxn ang="0">
                    <a:pos x="50" y="129"/>
                  </a:cxn>
                  <a:cxn ang="0">
                    <a:pos x="50" y="129"/>
                  </a:cxn>
                  <a:cxn ang="0">
                    <a:pos x="49" y="125"/>
                  </a:cxn>
                  <a:cxn ang="0">
                    <a:pos x="48" y="123"/>
                  </a:cxn>
                  <a:cxn ang="0">
                    <a:pos x="45" y="122"/>
                  </a:cxn>
                  <a:cxn ang="0">
                    <a:pos x="41" y="120"/>
                  </a:cxn>
                  <a:cxn ang="0">
                    <a:pos x="7" y="120"/>
                  </a:cxn>
                  <a:cxn ang="0">
                    <a:pos x="7" y="120"/>
                  </a:cxn>
                  <a:cxn ang="0">
                    <a:pos x="5" y="120"/>
                  </a:cxn>
                  <a:cxn ang="0">
                    <a:pos x="2" y="119"/>
                  </a:cxn>
                  <a:cxn ang="0">
                    <a:pos x="1" y="117"/>
                  </a:cxn>
                  <a:cxn ang="0">
                    <a:pos x="0" y="11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1" y="4"/>
                  </a:cxn>
                  <a:cxn ang="0">
                    <a:pos x="2" y="2"/>
                  </a:cxn>
                  <a:cxn ang="0">
                    <a:pos x="5" y="1"/>
                  </a:cxn>
                  <a:cxn ang="0">
                    <a:pos x="7" y="0"/>
                  </a:cxn>
                  <a:cxn ang="0">
                    <a:pos x="84" y="0"/>
                  </a:cxn>
                  <a:cxn ang="0">
                    <a:pos x="84" y="0"/>
                  </a:cxn>
                  <a:cxn ang="0">
                    <a:pos x="87" y="1"/>
                  </a:cxn>
                  <a:cxn ang="0">
                    <a:pos x="88" y="2"/>
                  </a:cxn>
                  <a:cxn ang="0">
                    <a:pos x="89" y="4"/>
                  </a:cxn>
                  <a:cxn ang="0">
                    <a:pos x="91" y="6"/>
                  </a:cxn>
                  <a:cxn ang="0">
                    <a:pos x="91" y="139"/>
                  </a:cxn>
                  <a:cxn ang="0">
                    <a:pos x="91" y="139"/>
                  </a:cxn>
                  <a:cxn ang="0">
                    <a:pos x="89" y="142"/>
                  </a:cxn>
                  <a:cxn ang="0">
                    <a:pos x="88" y="144"/>
                  </a:cxn>
                  <a:cxn ang="0">
                    <a:pos x="87" y="146"/>
                  </a:cxn>
                  <a:cxn ang="0">
                    <a:pos x="84" y="146"/>
                  </a:cxn>
                </a:cxnLst>
                <a:rect l="0" t="0" r="r" b="b"/>
                <a:pathLst>
                  <a:path w="91" h="146">
                    <a:moveTo>
                      <a:pt x="32" y="129"/>
                    </a:moveTo>
                    <a:lnTo>
                      <a:pt x="32" y="129"/>
                    </a:lnTo>
                    <a:lnTo>
                      <a:pt x="34" y="133"/>
                    </a:lnTo>
                    <a:lnTo>
                      <a:pt x="35" y="136"/>
                    </a:lnTo>
                    <a:lnTo>
                      <a:pt x="39" y="137"/>
                    </a:lnTo>
                    <a:lnTo>
                      <a:pt x="41" y="138"/>
                    </a:lnTo>
                    <a:lnTo>
                      <a:pt x="41" y="138"/>
                    </a:lnTo>
                    <a:lnTo>
                      <a:pt x="45" y="137"/>
                    </a:lnTo>
                    <a:lnTo>
                      <a:pt x="48" y="136"/>
                    </a:lnTo>
                    <a:lnTo>
                      <a:pt x="49" y="133"/>
                    </a:lnTo>
                    <a:lnTo>
                      <a:pt x="50" y="129"/>
                    </a:lnTo>
                    <a:lnTo>
                      <a:pt x="50" y="129"/>
                    </a:lnTo>
                    <a:lnTo>
                      <a:pt x="49" y="125"/>
                    </a:lnTo>
                    <a:lnTo>
                      <a:pt x="48" y="123"/>
                    </a:lnTo>
                    <a:lnTo>
                      <a:pt x="45" y="122"/>
                    </a:lnTo>
                    <a:lnTo>
                      <a:pt x="41" y="120"/>
                    </a:lnTo>
                    <a:lnTo>
                      <a:pt x="7" y="120"/>
                    </a:lnTo>
                    <a:lnTo>
                      <a:pt x="7" y="120"/>
                    </a:lnTo>
                    <a:lnTo>
                      <a:pt x="5" y="120"/>
                    </a:lnTo>
                    <a:lnTo>
                      <a:pt x="2" y="119"/>
                    </a:lnTo>
                    <a:lnTo>
                      <a:pt x="1" y="117"/>
                    </a:lnTo>
                    <a:lnTo>
                      <a:pt x="0" y="11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5" y="1"/>
                    </a:lnTo>
                    <a:lnTo>
                      <a:pt x="7" y="0"/>
                    </a:lnTo>
                    <a:lnTo>
                      <a:pt x="84" y="0"/>
                    </a:lnTo>
                    <a:lnTo>
                      <a:pt x="84" y="0"/>
                    </a:lnTo>
                    <a:lnTo>
                      <a:pt x="87" y="1"/>
                    </a:lnTo>
                    <a:lnTo>
                      <a:pt x="88" y="2"/>
                    </a:lnTo>
                    <a:lnTo>
                      <a:pt x="89" y="4"/>
                    </a:lnTo>
                    <a:lnTo>
                      <a:pt x="91" y="6"/>
                    </a:lnTo>
                    <a:lnTo>
                      <a:pt x="91" y="139"/>
                    </a:lnTo>
                    <a:lnTo>
                      <a:pt x="91" y="139"/>
                    </a:lnTo>
                    <a:lnTo>
                      <a:pt x="89" y="142"/>
                    </a:lnTo>
                    <a:lnTo>
                      <a:pt x="88" y="144"/>
                    </a:lnTo>
                    <a:lnTo>
                      <a:pt x="87" y="146"/>
                    </a:lnTo>
                    <a:lnTo>
                      <a:pt x="84" y="146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7" name="Groupe 836"/>
            <p:cNvGrpSpPr>
              <a:grpSpLocks/>
            </p:cNvGrpSpPr>
            <p:nvPr userDrawn="1"/>
          </p:nvGrpSpPr>
          <p:grpSpPr bwMode="auto">
            <a:xfrm>
              <a:off x="6165033" y="2867225"/>
              <a:ext cx="722304" cy="534472"/>
              <a:chOff x="1163614" y="7062589"/>
              <a:chExt cx="344488" cy="260350"/>
            </a:xfrm>
          </p:grpSpPr>
          <p:sp>
            <p:nvSpPr>
              <p:cNvPr id="26" name="Freeform 578"/>
              <p:cNvSpPr>
                <a:spLocks/>
              </p:cNvSpPr>
              <p:nvPr/>
            </p:nvSpPr>
            <p:spPr bwMode="auto">
              <a:xfrm>
                <a:off x="1477958" y="7108914"/>
                <a:ext cx="30348" cy="166252"/>
              </a:xfrm>
              <a:custGeom>
                <a:avLst/>
                <a:gdLst/>
                <a:ahLst/>
                <a:cxnLst>
                  <a:cxn ang="0">
                    <a:pos x="0" y="105"/>
                  </a:cxn>
                  <a:cxn ang="0">
                    <a:pos x="0" y="105"/>
                  </a:cxn>
                  <a:cxn ang="0">
                    <a:pos x="7" y="94"/>
                  </a:cxn>
                  <a:cxn ang="0">
                    <a:pos x="14" y="81"/>
                  </a:cxn>
                  <a:cxn ang="0">
                    <a:pos x="17" y="67"/>
                  </a:cxn>
                  <a:cxn ang="0">
                    <a:pos x="19" y="52"/>
                  </a:cxn>
                  <a:cxn ang="0">
                    <a:pos x="19" y="52"/>
                  </a:cxn>
                  <a:cxn ang="0">
                    <a:pos x="17" y="38"/>
                  </a:cxn>
                  <a:cxn ang="0">
                    <a:pos x="14" y="24"/>
                  </a:cxn>
                  <a:cxn ang="0">
                    <a:pos x="7" y="12"/>
                  </a:cxn>
                  <a:cxn ang="0">
                    <a:pos x="0" y="0"/>
                  </a:cxn>
                </a:cxnLst>
                <a:rect l="0" t="0" r="r" b="b"/>
                <a:pathLst>
                  <a:path w="19" h="105">
                    <a:moveTo>
                      <a:pt x="0" y="105"/>
                    </a:moveTo>
                    <a:lnTo>
                      <a:pt x="0" y="105"/>
                    </a:lnTo>
                    <a:lnTo>
                      <a:pt x="7" y="94"/>
                    </a:lnTo>
                    <a:lnTo>
                      <a:pt x="14" y="81"/>
                    </a:lnTo>
                    <a:lnTo>
                      <a:pt x="17" y="67"/>
                    </a:lnTo>
                    <a:lnTo>
                      <a:pt x="19" y="52"/>
                    </a:lnTo>
                    <a:lnTo>
                      <a:pt x="19" y="52"/>
                    </a:lnTo>
                    <a:lnTo>
                      <a:pt x="17" y="38"/>
                    </a:lnTo>
                    <a:lnTo>
                      <a:pt x="14" y="24"/>
                    </a:lnTo>
                    <a:lnTo>
                      <a:pt x="7" y="12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7" name="Freeform 579"/>
              <p:cNvSpPr>
                <a:spLocks/>
              </p:cNvSpPr>
              <p:nvPr/>
            </p:nvSpPr>
            <p:spPr bwMode="auto">
              <a:xfrm>
                <a:off x="1277825" y="7273619"/>
                <a:ext cx="10170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7" y="7"/>
                  </a:cxn>
                  <a:cxn ang="0">
                    <a:pos x="13" y="13"/>
                  </a:cxn>
                  <a:cxn ang="0">
                    <a:pos x="21" y="18"/>
                  </a:cxn>
                  <a:cxn ang="0">
                    <a:pos x="28" y="22"/>
                  </a:cxn>
                  <a:cxn ang="0">
                    <a:pos x="36" y="26"/>
                  </a:cxn>
                  <a:cxn ang="0">
                    <a:pos x="45" y="28"/>
                  </a:cxn>
                  <a:cxn ang="0">
                    <a:pos x="54" y="29"/>
                  </a:cxn>
                  <a:cxn ang="0">
                    <a:pos x="64" y="31"/>
                  </a:cxn>
                </a:cxnLst>
                <a:rect l="0" t="0" r="r" b="b"/>
                <a:pathLst>
                  <a:path w="64" h="31">
                    <a:moveTo>
                      <a:pt x="0" y="0"/>
                    </a:moveTo>
                    <a:lnTo>
                      <a:pt x="0" y="0"/>
                    </a:lnTo>
                    <a:lnTo>
                      <a:pt x="7" y="7"/>
                    </a:lnTo>
                    <a:lnTo>
                      <a:pt x="13" y="13"/>
                    </a:lnTo>
                    <a:lnTo>
                      <a:pt x="21" y="18"/>
                    </a:lnTo>
                    <a:lnTo>
                      <a:pt x="28" y="22"/>
                    </a:lnTo>
                    <a:lnTo>
                      <a:pt x="36" y="26"/>
                    </a:lnTo>
                    <a:lnTo>
                      <a:pt x="45" y="28"/>
                    </a:lnTo>
                    <a:lnTo>
                      <a:pt x="54" y="29"/>
                    </a:lnTo>
                    <a:lnTo>
                      <a:pt x="64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8" name="Line 580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9" name="Line 581"/>
              <p:cNvSpPr>
                <a:spLocks noChangeShapeType="1"/>
              </p:cNvSpPr>
              <p:nvPr/>
            </p:nvSpPr>
            <p:spPr bwMode="auto">
              <a:xfrm>
                <a:off x="1277825" y="7108914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0" name="Freeform 582"/>
              <p:cNvSpPr>
                <a:spLocks/>
              </p:cNvSpPr>
              <p:nvPr/>
            </p:nvSpPr>
            <p:spPr bwMode="auto">
              <a:xfrm>
                <a:off x="1277825" y="7062518"/>
                <a:ext cx="200134" cy="46396"/>
              </a:xfrm>
              <a:custGeom>
                <a:avLst/>
                <a:gdLst/>
                <a:ahLst/>
                <a:cxnLst>
                  <a:cxn ang="0">
                    <a:pos x="0" y="29"/>
                  </a:cxn>
                  <a:cxn ang="0">
                    <a:pos x="0" y="29"/>
                  </a:cxn>
                  <a:cxn ang="0">
                    <a:pos x="7" y="23"/>
                  </a:cxn>
                  <a:cxn ang="0">
                    <a:pos x="13" y="17"/>
                  </a:cxn>
                  <a:cxn ang="0">
                    <a:pos x="21" y="12"/>
                  </a:cxn>
                  <a:cxn ang="0">
                    <a:pos x="28" y="8"/>
                  </a:cxn>
                  <a:cxn ang="0">
                    <a:pos x="37" y="4"/>
                  </a:cxn>
                  <a:cxn ang="0">
                    <a:pos x="45" y="3"/>
                  </a:cxn>
                  <a:cxn ang="0">
                    <a:pos x="54" y="0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73" y="0"/>
                  </a:cxn>
                  <a:cxn ang="0">
                    <a:pos x="81" y="3"/>
                  </a:cxn>
                  <a:cxn ang="0">
                    <a:pos x="90" y="4"/>
                  </a:cxn>
                  <a:cxn ang="0">
                    <a:pos x="98" y="8"/>
                  </a:cxn>
                  <a:cxn ang="0">
                    <a:pos x="105" y="12"/>
                  </a:cxn>
                  <a:cxn ang="0">
                    <a:pos x="113" y="17"/>
                  </a:cxn>
                  <a:cxn ang="0">
                    <a:pos x="119" y="23"/>
                  </a:cxn>
                  <a:cxn ang="0">
                    <a:pos x="126" y="29"/>
                  </a:cxn>
                </a:cxnLst>
                <a:rect l="0" t="0" r="r" b="b"/>
                <a:pathLst>
                  <a:path w="126" h="29">
                    <a:moveTo>
                      <a:pt x="0" y="29"/>
                    </a:moveTo>
                    <a:lnTo>
                      <a:pt x="0" y="29"/>
                    </a:lnTo>
                    <a:lnTo>
                      <a:pt x="7" y="23"/>
                    </a:lnTo>
                    <a:lnTo>
                      <a:pt x="13" y="17"/>
                    </a:lnTo>
                    <a:lnTo>
                      <a:pt x="21" y="12"/>
                    </a:lnTo>
                    <a:lnTo>
                      <a:pt x="28" y="8"/>
                    </a:lnTo>
                    <a:lnTo>
                      <a:pt x="37" y="4"/>
                    </a:lnTo>
                    <a:lnTo>
                      <a:pt x="45" y="3"/>
                    </a:lnTo>
                    <a:lnTo>
                      <a:pt x="5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73" y="0"/>
                    </a:lnTo>
                    <a:lnTo>
                      <a:pt x="81" y="3"/>
                    </a:lnTo>
                    <a:lnTo>
                      <a:pt x="90" y="4"/>
                    </a:lnTo>
                    <a:lnTo>
                      <a:pt x="98" y="8"/>
                    </a:lnTo>
                    <a:lnTo>
                      <a:pt x="105" y="12"/>
                    </a:lnTo>
                    <a:lnTo>
                      <a:pt x="113" y="17"/>
                    </a:lnTo>
                    <a:lnTo>
                      <a:pt x="119" y="23"/>
                    </a:lnTo>
                    <a:lnTo>
                      <a:pt x="126" y="2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1" name="Freeform 583"/>
              <p:cNvSpPr>
                <a:spLocks/>
              </p:cNvSpPr>
              <p:nvPr/>
            </p:nvSpPr>
            <p:spPr bwMode="auto">
              <a:xfrm>
                <a:off x="1277825" y="7108914"/>
                <a:ext cx="200134" cy="2165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3" y="7"/>
                  </a:cxn>
                  <a:cxn ang="0">
                    <a:pos x="28" y="10"/>
                  </a:cxn>
                  <a:cxn ang="0">
                    <a:pos x="45" y="13"/>
                  </a:cxn>
                  <a:cxn ang="0">
                    <a:pos x="62" y="14"/>
                  </a:cxn>
                  <a:cxn ang="0">
                    <a:pos x="62" y="14"/>
                  </a:cxn>
                  <a:cxn ang="0">
                    <a:pos x="81" y="13"/>
                  </a:cxn>
                  <a:cxn ang="0">
                    <a:pos x="98" y="10"/>
                  </a:cxn>
                  <a:cxn ang="0">
                    <a:pos x="113" y="5"/>
                  </a:cxn>
                  <a:cxn ang="0">
                    <a:pos x="126" y="0"/>
                  </a:cxn>
                </a:cxnLst>
                <a:rect l="0" t="0" r="r" b="b"/>
                <a:pathLst>
                  <a:path w="126" h="14">
                    <a:moveTo>
                      <a:pt x="0" y="0"/>
                    </a:moveTo>
                    <a:lnTo>
                      <a:pt x="0" y="0"/>
                    </a:lnTo>
                    <a:lnTo>
                      <a:pt x="13" y="7"/>
                    </a:lnTo>
                    <a:lnTo>
                      <a:pt x="28" y="10"/>
                    </a:lnTo>
                    <a:lnTo>
                      <a:pt x="45" y="13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1" y="13"/>
                    </a:lnTo>
                    <a:lnTo>
                      <a:pt x="98" y="10"/>
                    </a:lnTo>
                    <a:lnTo>
                      <a:pt x="113" y="5"/>
                    </a:lnTo>
                    <a:lnTo>
                      <a:pt x="126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2" name="Freeform 584"/>
              <p:cNvSpPr>
                <a:spLocks/>
              </p:cNvSpPr>
              <p:nvPr/>
            </p:nvSpPr>
            <p:spPr bwMode="auto">
              <a:xfrm>
                <a:off x="1277825" y="7251968"/>
                <a:ext cx="200134" cy="23198"/>
              </a:xfrm>
              <a:custGeom>
                <a:avLst/>
                <a:gdLst/>
                <a:ahLst/>
                <a:cxnLst>
                  <a:cxn ang="0">
                    <a:pos x="126" y="14"/>
                  </a:cxn>
                  <a:cxn ang="0">
                    <a:pos x="126" y="14"/>
                  </a:cxn>
                  <a:cxn ang="0">
                    <a:pos x="113" y="9"/>
                  </a:cxn>
                  <a:cxn ang="0">
                    <a:pos x="98" y="4"/>
                  </a:cxn>
                  <a:cxn ang="0">
                    <a:pos x="81" y="2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45" y="2"/>
                  </a:cxn>
                  <a:cxn ang="0">
                    <a:pos x="28" y="4"/>
                  </a:cxn>
                  <a:cxn ang="0">
                    <a:pos x="13" y="9"/>
                  </a:cxn>
                  <a:cxn ang="0">
                    <a:pos x="0" y="15"/>
                  </a:cxn>
                </a:cxnLst>
                <a:rect l="0" t="0" r="r" b="b"/>
                <a:pathLst>
                  <a:path w="126" h="15">
                    <a:moveTo>
                      <a:pt x="126" y="14"/>
                    </a:moveTo>
                    <a:lnTo>
                      <a:pt x="126" y="14"/>
                    </a:lnTo>
                    <a:lnTo>
                      <a:pt x="113" y="9"/>
                    </a:lnTo>
                    <a:lnTo>
                      <a:pt x="98" y="4"/>
                    </a:lnTo>
                    <a:lnTo>
                      <a:pt x="81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45" y="2"/>
                    </a:lnTo>
                    <a:lnTo>
                      <a:pt x="28" y="4"/>
                    </a:lnTo>
                    <a:lnTo>
                      <a:pt x="13" y="9"/>
                    </a:lnTo>
                    <a:lnTo>
                      <a:pt x="0" y="1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3" name="Freeform 585"/>
              <p:cNvSpPr>
                <a:spLocks/>
              </p:cNvSpPr>
              <p:nvPr/>
            </p:nvSpPr>
            <p:spPr bwMode="auto">
              <a:xfrm>
                <a:off x="1308173" y="7062518"/>
                <a:ext cx="141078" cy="260591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81"/>
                  </a:cxn>
                  <a:cxn ang="0">
                    <a:pos x="2" y="65"/>
                  </a:cxn>
                  <a:cxn ang="0">
                    <a:pos x="4" y="50"/>
                  </a:cxn>
                  <a:cxn ang="0">
                    <a:pos x="8" y="36"/>
                  </a:cxn>
                  <a:cxn ang="0">
                    <a:pos x="13" y="24"/>
                  </a:cxn>
                  <a:cxn ang="0">
                    <a:pos x="19" y="14"/>
                  </a:cxn>
                  <a:cxn ang="0">
                    <a:pos x="27" y="7"/>
                  </a:cxn>
                  <a:cxn ang="0">
                    <a:pos x="36" y="1"/>
                  </a:cxn>
                  <a:cxn ang="0">
                    <a:pos x="40" y="0"/>
                  </a:cxn>
                  <a:cxn ang="0">
                    <a:pos x="45" y="0"/>
                  </a:cxn>
                  <a:cxn ang="0">
                    <a:pos x="45" y="0"/>
                  </a:cxn>
                  <a:cxn ang="0">
                    <a:pos x="48" y="0"/>
                  </a:cxn>
                  <a:cxn ang="0">
                    <a:pos x="54" y="1"/>
                  </a:cxn>
                  <a:cxn ang="0">
                    <a:pos x="61" y="7"/>
                  </a:cxn>
                  <a:cxn ang="0">
                    <a:pos x="69" y="14"/>
                  </a:cxn>
                  <a:cxn ang="0">
                    <a:pos x="75" y="24"/>
                  </a:cxn>
                  <a:cxn ang="0">
                    <a:pos x="81" y="36"/>
                  </a:cxn>
                  <a:cxn ang="0">
                    <a:pos x="85" y="50"/>
                  </a:cxn>
                  <a:cxn ang="0">
                    <a:pos x="88" y="65"/>
                  </a:cxn>
                  <a:cxn ang="0">
                    <a:pos x="89" y="81"/>
                  </a:cxn>
                  <a:cxn ang="0">
                    <a:pos x="89" y="81"/>
                  </a:cxn>
                  <a:cxn ang="0">
                    <a:pos x="88" y="98"/>
                  </a:cxn>
                  <a:cxn ang="0">
                    <a:pos x="85" y="113"/>
                  </a:cxn>
                  <a:cxn ang="0">
                    <a:pos x="81" y="127"/>
                  </a:cxn>
                  <a:cxn ang="0">
                    <a:pos x="75" y="140"/>
                  </a:cxn>
                  <a:cxn ang="0">
                    <a:pos x="69" y="150"/>
                  </a:cxn>
                  <a:cxn ang="0">
                    <a:pos x="61" y="157"/>
                  </a:cxn>
                  <a:cxn ang="0">
                    <a:pos x="54" y="161"/>
                  </a:cxn>
                  <a:cxn ang="0">
                    <a:pos x="48" y="162"/>
                  </a:cxn>
                  <a:cxn ang="0">
                    <a:pos x="45" y="164"/>
                  </a:cxn>
                  <a:cxn ang="0">
                    <a:pos x="45" y="164"/>
                  </a:cxn>
                  <a:cxn ang="0">
                    <a:pos x="38" y="162"/>
                  </a:cxn>
                  <a:cxn ang="0">
                    <a:pos x="33" y="160"/>
                  </a:cxn>
                  <a:cxn ang="0">
                    <a:pos x="27" y="157"/>
                  </a:cxn>
                  <a:cxn ang="0">
                    <a:pos x="22" y="152"/>
                  </a:cxn>
                  <a:cxn ang="0">
                    <a:pos x="18" y="147"/>
                  </a:cxn>
                  <a:cxn ang="0">
                    <a:pos x="13" y="140"/>
                  </a:cxn>
                  <a:cxn ang="0">
                    <a:pos x="9" y="132"/>
                  </a:cxn>
                  <a:cxn ang="0">
                    <a:pos x="7" y="124"/>
                  </a:cxn>
                </a:cxnLst>
                <a:rect l="0" t="0" r="r" b="b"/>
                <a:pathLst>
                  <a:path w="89" h="164">
                    <a:moveTo>
                      <a:pt x="0" y="81"/>
                    </a:moveTo>
                    <a:lnTo>
                      <a:pt x="0" y="81"/>
                    </a:lnTo>
                    <a:lnTo>
                      <a:pt x="2" y="65"/>
                    </a:lnTo>
                    <a:lnTo>
                      <a:pt x="4" y="50"/>
                    </a:lnTo>
                    <a:lnTo>
                      <a:pt x="8" y="36"/>
                    </a:lnTo>
                    <a:lnTo>
                      <a:pt x="13" y="24"/>
                    </a:lnTo>
                    <a:lnTo>
                      <a:pt x="19" y="14"/>
                    </a:lnTo>
                    <a:lnTo>
                      <a:pt x="27" y="7"/>
                    </a:lnTo>
                    <a:lnTo>
                      <a:pt x="36" y="1"/>
                    </a:lnTo>
                    <a:lnTo>
                      <a:pt x="40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8" y="0"/>
                    </a:lnTo>
                    <a:lnTo>
                      <a:pt x="54" y="1"/>
                    </a:lnTo>
                    <a:lnTo>
                      <a:pt x="61" y="7"/>
                    </a:lnTo>
                    <a:lnTo>
                      <a:pt x="69" y="14"/>
                    </a:lnTo>
                    <a:lnTo>
                      <a:pt x="75" y="24"/>
                    </a:lnTo>
                    <a:lnTo>
                      <a:pt x="81" y="36"/>
                    </a:lnTo>
                    <a:lnTo>
                      <a:pt x="85" y="50"/>
                    </a:lnTo>
                    <a:lnTo>
                      <a:pt x="88" y="65"/>
                    </a:lnTo>
                    <a:lnTo>
                      <a:pt x="89" y="81"/>
                    </a:lnTo>
                    <a:lnTo>
                      <a:pt x="89" y="81"/>
                    </a:lnTo>
                    <a:lnTo>
                      <a:pt x="88" y="98"/>
                    </a:lnTo>
                    <a:lnTo>
                      <a:pt x="85" y="113"/>
                    </a:lnTo>
                    <a:lnTo>
                      <a:pt x="81" y="127"/>
                    </a:lnTo>
                    <a:lnTo>
                      <a:pt x="75" y="140"/>
                    </a:lnTo>
                    <a:lnTo>
                      <a:pt x="69" y="150"/>
                    </a:lnTo>
                    <a:lnTo>
                      <a:pt x="61" y="157"/>
                    </a:lnTo>
                    <a:lnTo>
                      <a:pt x="54" y="161"/>
                    </a:lnTo>
                    <a:lnTo>
                      <a:pt x="48" y="162"/>
                    </a:lnTo>
                    <a:lnTo>
                      <a:pt x="45" y="164"/>
                    </a:lnTo>
                    <a:lnTo>
                      <a:pt x="45" y="164"/>
                    </a:lnTo>
                    <a:lnTo>
                      <a:pt x="38" y="162"/>
                    </a:lnTo>
                    <a:lnTo>
                      <a:pt x="33" y="160"/>
                    </a:lnTo>
                    <a:lnTo>
                      <a:pt x="27" y="157"/>
                    </a:lnTo>
                    <a:lnTo>
                      <a:pt x="22" y="152"/>
                    </a:lnTo>
                    <a:lnTo>
                      <a:pt x="18" y="147"/>
                    </a:lnTo>
                    <a:lnTo>
                      <a:pt x="13" y="140"/>
                    </a:lnTo>
                    <a:lnTo>
                      <a:pt x="9" y="132"/>
                    </a:lnTo>
                    <a:lnTo>
                      <a:pt x="7" y="124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4" name="Line 586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26083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5" name="Line 587"/>
              <p:cNvSpPr>
                <a:spLocks noChangeShapeType="1"/>
              </p:cNvSpPr>
              <p:nvPr/>
            </p:nvSpPr>
            <p:spPr bwMode="auto">
              <a:xfrm flipV="1">
                <a:off x="1379532" y="7062518"/>
                <a:ext cx="820" cy="260591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6" name="Line 588"/>
              <p:cNvSpPr>
                <a:spLocks noChangeShapeType="1"/>
              </p:cNvSpPr>
              <p:nvPr/>
            </p:nvSpPr>
            <p:spPr bwMode="auto">
              <a:xfrm>
                <a:off x="1163814" y="7167682"/>
                <a:ext cx="83662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7" name="Freeform 589"/>
              <p:cNvSpPr>
                <a:spLocks/>
              </p:cNvSpPr>
              <p:nvPr/>
            </p:nvSpPr>
            <p:spPr bwMode="auto">
              <a:xfrm>
                <a:off x="1247477" y="7143711"/>
                <a:ext cx="25427" cy="4717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" y="15"/>
                  </a:cxn>
                  <a:cxn ang="0">
                    <a:pos x="0" y="30"/>
                  </a:cxn>
                </a:cxnLst>
                <a:rect l="0" t="0" r="r" b="b"/>
                <a:pathLst>
                  <a:path w="16" h="30">
                    <a:moveTo>
                      <a:pt x="0" y="0"/>
                    </a:moveTo>
                    <a:lnTo>
                      <a:pt x="16" y="15"/>
                    </a:lnTo>
                    <a:lnTo>
                      <a:pt x="0" y="3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8" name="Line 590"/>
              <p:cNvSpPr>
                <a:spLocks noChangeShapeType="1"/>
              </p:cNvSpPr>
              <p:nvPr/>
            </p:nvSpPr>
            <p:spPr bwMode="auto">
              <a:xfrm>
                <a:off x="1231892" y="7235730"/>
                <a:ext cx="86943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9" name="Freeform 591"/>
              <p:cNvSpPr>
                <a:spLocks/>
              </p:cNvSpPr>
              <p:nvPr/>
            </p:nvSpPr>
            <p:spPr bwMode="auto">
              <a:xfrm>
                <a:off x="1318836" y="7210212"/>
                <a:ext cx="2378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" y="16"/>
                  </a:cxn>
                  <a:cxn ang="0">
                    <a:pos x="0" y="31"/>
                  </a:cxn>
                </a:cxnLst>
                <a:rect l="0" t="0" r="r" b="b"/>
                <a:pathLst>
                  <a:path w="15" h="31">
                    <a:moveTo>
                      <a:pt x="0" y="0"/>
                    </a:moveTo>
                    <a:lnTo>
                      <a:pt x="15" y="16"/>
                    </a:lnTo>
                    <a:lnTo>
                      <a:pt x="0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8" name="Groupe 320"/>
            <p:cNvGrpSpPr>
              <a:grpSpLocks/>
            </p:cNvGrpSpPr>
            <p:nvPr userDrawn="1"/>
          </p:nvGrpSpPr>
          <p:grpSpPr bwMode="auto">
            <a:xfrm>
              <a:off x="4610305" y="2502608"/>
              <a:ext cx="442816" cy="482367"/>
              <a:chOff x="4430703" y="4715239"/>
              <a:chExt cx="374626" cy="416805"/>
            </a:xfrm>
          </p:grpSpPr>
          <p:sp>
            <p:nvSpPr>
              <p:cNvPr id="21" name="Freeform 897"/>
              <p:cNvSpPr>
                <a:spLocks/>
              </p:cNvSpPr>
              <p:nvPr/>
            </p:nvSpPr>
            <p:spPr bwMode="auto">
              <a:xfrm>
                <a:off x="4649334" y="4788757"/>
                <a:ext cx="155680" cy="256503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4912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0" fmla="*/ 4737 w 9825"/>
                  <a:gd name="connsiteY0" fmla="*/ 10000 h 10000"/>
                  <a:gd name="connsiteX1" fmla="*/ 4737 w 9825"/>
                  <a:gd name="connsiteY1" fmla="*/ 10000 h 10000"/>
                  <a:gd name="connsiteX2" fmla="*/ 6579 w 9825"/>
                  <a:gd name="connsiteY2" fmla="*/ 10000 h 10000"/>
                  <a:gd name="connsiteX3" fmla="*/ 8246 w 9825"/>
                  <a:gd name="connsiteY3" fmla="*/ 9938 h 10000"/>
                  <a:gd name="connsiteX4" fmla="*/ 9386 w 9825"/>
                  <a:gd name="connsiteY4" fmla="*/ 9814 h 10000"/>
                  <a:gd name="connsiteX5" fmla="*/ 9737 w 9825"/>
                  <a:gd name="connsiteY5" fmla="*/ 9752 h 10000"/>
                  <a:gd name="connsiteX6" fmla="*/ 9825 w 9825"/>
                  <a:gd name="connsiteY6" fmla="*/ 9689 h 10000"/>
                  <a:gd name="connsiteX7" fmla="*/ 9825 w 9825"/>
                  <a:gd name="connsiteY7" fmla="*/ 9689 h 10000"/>
                  <a:gd name="connsiteX8" fmla="*/ 9825 w 9825"/>
                  <a:gd name="connsiteY8" fmla="*/ 8634 h 10000"/>
                  <a:gd name="connsiteX9" fmla="*/ 9737 w 9825"/>
                  <a:gd name="connsiteY9" fmla="*/ 7702 h 10000"/>
                  <a:gd name="connsiteX10" fmla="*/ 9386 w 9825"/>
                  <a:gd name="connsiteY10" fmla="*/ 6832 h 10000"/>
                  <a:gd name="connsiteX11" fmla="*/ 9036 w 9825"/>
                  <a:gd name="connsiteY11" fmla="*/ 6087 h 10000"/>
                  <a:gd name="connsiteX12" fmla="*/ 8509 w 9825"/>
                  <a:gd name="connsiteY12" fmla="*/ 5342 h 10000"/>
                  <a:gd name="connsiteX13" fmla="*/ 7807 w 9825"/>
                  <a:gd name="connsiteY13" fmla="*/ 4783 h 10000"/>
                  <a:gd name="connsiteX14" fmla="*/ 6930 w 9825"/>
                  <a:gd name="connsiteY14" fmla="*/ 4410 h 10000"/>
                  <a:gd name="connsiteX15" fmla="*/ 5965 w 9825"/>
                  <a:gd name="connsiteY15" fmla="*/ 4099 h 10000"/>
                  <a:gd name="connsiteX16" fmla="*/ 5965 w 9825"/>
                  <a:gd name="connsiteY16" fmla="*/ 4099 h 10000"/>
                  <a:gd name="connsiteX17" fmla="*/ 6492 w 9825"/>
                  <a:gd name="connsiteY17" fmla="*/ 3727 h 10000"/>
                  <a:gd name="connsiteX18" fmla="*/ 6843 w 9825"/>
                  <a:gd name="connsiteY18" fmla="*/ 3230 h 10000"/>
                  <a:gd name="connsiteX19" fmla="*/ 7106 w 9825"/>
                  <a:gd name="connsiteY19" fmla="*/ 2671 h 10000"/>
                  <a:gd name="connsiteX20" fmla="*/ 7369 w 9825"/>
                  <a:gd name="connsiteY20" fmla="*/ 2112 h 10000"/>
                  <a:gd name="connsiteX21" fmla="*/ 7369 w 9825"/>
                  <a:gd name="connsiteY21" fmla="*/ 2112 h 10000"/>
                  <a:gd name="connsiteX22" fmla="*/ 7281 w 9825"/>
                  <a:gd name="connsiteY22" fmla="*/ 1677 h 10000"/>
                  <a:gd name="connsiteX23" fmla="*/ 7106 w 9825"/>
                  <a:gd name="connsiteY23" fmla="*/ 1242 h 10000"/>
                  <a:gd name="connsiteX24" fmla="*/ 6930 w 9825"/>
                  <a:gd name="connsiteY24" fmla="*/ 870 h 10000"/>
                  <a:gd name="connsiteX25" fmla="*/ 6579 w 9825"/>
                  <a:gd name="connsiteY25" fmla="*/ 559 h 10000"/>
                  <a:gd name="connsiteX26" fmla="*/ 6229 w 9825"/>
                  <a:gd name="connsiteY26" fmla="*/ 311 h 10000"/>
                  <a:gd name="connsiteX27" fmla="*/ 5790 w 9825"/>
                  <a:gd name="connsiteY27" fmla="*/ 186 h 10000"/>
                  <a:gd name="connsiteX28" fmla="*/ 5351 w 9825"/>
                  <a:gd name="connsiteY28" fmla="*/ 0 h 10000"/>
                  <a:gd name="connsiteX29" fmla="*/ 4825 w 9825"/>
                  <a:gd name="connsiteY29" fmla="*/ 0 h 10000"/>
                  <a:gd name="connsiteX30" fmla="*/ 4825 w 9825"/>
                  <a:gd name="connsiteY30" fmla="*/ 0 h 10000"/>
                  <a:gd name="connsiteX31" fmla="*/ 4386 w 9825"/>
                  <a:gd name="connsiteY31" fmla="*/ 0 h 10000"/>
                  <a:gd name="connsiteX32" fmla="*/ 3948 w 9825"/>
                  <a:gd name="connsiteY32" fmla="*/ 186 h 10000"/>
                  <a:gd name="connsiteX33" fmla="*/ 3509 w 9825"/>
                  <a:gd name="connsiteY33" fmla="*/ 311 h 10000"/>
                  <a:gd name="connsiteX34" fmla="*/ 3071 w 9825"/>
                  <a:gd name="connsiteY34" fmla="*/ 559 h 10000"/>
                  <a:gd name="connsiteX35" fmla="*/ 2807 w 9825"/>
                  <a:gd name="connsiteY35" fmla="*/ 870 h 10000"/>
                  <a:gd name="connsiteX36" fmla="*/ 2544 w 9825"/>
                  <a:gd name="connsiteY36" fmla="*/ 1242 h 10000"/>
                  <a:gd name="connsiteX37" fmla="*/ 2369 w 9825"/>
                  <a:gd name="connsiteY37" fmla="*/ 1677 h 10000"/>
                  <a:gd name="connsiteX38" fmla="*/ 2369 w 9825"/>
                  <a:gd name="connsiteY38" fmla="*/ 2112 h 10000"/>
                  <a:gd name="connsiteX39" fmla="*/ 2369 w 9825"/>
                  <a:gd name="connsiteY39" fmla="*/ 2112 h 10000"/>
                  <a:gd name="connsiteX40" fmla="*/ 2457 w 9825"/>
                  <a:gd name="connsiteY40" fmla="*/ 2671 h 10000"/>
                  <a:gd name="connsiteX41" fmla="*/ 2807 w 9825"/>
                  <a:gd name="connsiteY41" fmla="*/ 3230 h 10000"/>
                  <a:gd name="connsiteX42" fmla="*/ 3246 w 9825"/>
                  <a:gd name="connsiteY42" fmla="*/ 3727 h 10000"/>
                  <a:gd name="connsiteX43" fmla="*/ 3685 w 9825"/>
                  <a:gd name="connsiteY43" fmla="*/ 4099 h 10000"/>
                  <a:gd name="connsiteX44" fmla="*/ 3685 w 9825"/>
                  <a:gd name="connsiteY44" fmla="*/ 4099 h 10000"/>
                  <a:gd name="connsiteX45" fmla="*/ 2720 w 9825"/>
                  <a:gd name="connsiteY45" fmla="*/ 4410 h 10000"/>
                  <a:gd name="connsiteX46" fmla="*/ 1930 w 9825"/>
                  <a:gd name="connsiteY46" fmla="*/ 4783 h 10000"/>
                  <a:gd name="connsiteX47" fmla="*/ 1229 w 9825"/>
                  <a:gd name="connsiteY47" fmla="*/ 5342 h 10000"/>
                  <a:gd name="connsiteX48" fmla="*/ 702 w 9825"/>
                  <a:gd name="connsiteY48" fmla="*/ 6087 h 10000"/>
                  <a:gd name="connsiteX49" fmla="*/ 264 w 9825"/>
                  <a:gd name="connsiteY49" fmla="*/ 6832 h 10000"/>
                  <a:gd name="connsiteX50" fmla="*/ 0 w 9825"/>
                  <a:gd name="connsiteY50" fmla="*/ 7702 h 10000"/>
                  <a:gd name="connsiteX0" fmla="*/ 4552 w 9731"/>
                  <a:gd name="connsiteY0" fmla="*/ 10000 h 10000"/>
                  <a:gd name="connsiteX1" fmla="*/ 4552 w 9731"/>
                  <a:gd name="connsiteY1" fmla="*/ 10000 h 10000"/>
                  <a:gd name="connsiteX2" fmla="*/ 6427 w 9731"/>
                  <a:gd name="connsiteY2" fmla="*/ 10000 h 10000"/>
                  <a:gd name="connsiteX3" fmla="*/ 8124 w 9731"/>
                  <a:gd name="connsiteY3" fmla="*/ 9938 h 10000"/>
                  <a:gd name="connsiteX4" fmla="*/ 9284 w 9731"/>
                  <a:gd name="connsiteY4" fmla="*/ 9814 h 10000"/>
                  <a:gd name="connsiteX5" fmla="*/ 9641 w 9731"/>
                  <a:gd name="connsiteY5" fmla="*/ 9752 h 10000"/>
                  <a:gd name="connsiteX6" fmla="*/ 9731 w 9731"/>
                  <a:gd name="connsiteY6" fmla="*/ 9689 h 10000"/>
                  <a:gd name="connsiteX7" fmla="*/ 9731 w 9731"/>
                  <a:gd name="connsiteY7" fmla="*/ 9689 h 10000"/>
                  <a:gd name="connsiteX8" fmla="*/ 9731 w 9731"/>
                  <a:gd name="connsiteY8" fmla="*/ 8634 h 10000"/>
                  <a:gd name="connsiteX9" fmla="*/ 9641 w 9731"/>
                  <a:gd name="connsiteY9" fmla="*/ 7702 h 10000"/>
                  <a:gd name="connsiteX10" fmla="*/ 9284 w 9731"/>
                  <a:gd name="connsiteY10" fmla="*/ 6832 h 10000"/>
                  <a:gd name="connsiteX11" fmla="*/ 8928 w 9731"/>
                  <a:gd name="connsiteY11" fmla="*/ 6087 h 10000"/>
                  <a:gd name="connsiteX12" fmla="*/ 8392 w 9731"/>
                  <a:gd name="connsiteY12" fmla="*/ 5342 h 10000"/>
                  <a:gd name="connsiteX13" fmla="*/ 7677 w 9731"/>
                  <a:gd name="connsiteY13" fmla="*/ 4783 h 10000"/>
                  <a:gd name="connsiteX14" fmla="*/ 6784 w 9731"/>
                  <a:gd name="connsiteY14" fmla="*/ 4410 h 10000"/>
                  <a:gd name="connsiteX15" fmla="*/ 5802 w 9731"/>
                  <a:gd name="connsiteY15" fmla="*/ 4099 h 10000"/>
                  <a:gd name="connsiteX16" fmla="*/ 5802 w 9731"/>
                  <a:gd name="connsiteY16" fmla="*/ 4099 h 10000"/>
                  <a:gd name="connsiteX17" fmla="*/ 6339 w 9731"/>
                  <a:gd name="connsiteY17" fmla="*/ 3727 h 10000"/>
                  <a:gd name="connsiteX18" fmla="*/ 6696 w 9731"/>
                  <a:gd name="connsiteY18" fmla="*/ 3230 h 10000"/>
                  <a:gd name="connsiteX19" fmla="*/ 6964 w 9731"/>
                  <a:gd name="connsiteY19" fmla="*/ 2671 h 10000"/>
                  <a:gd name="connsiteX20" fmla="*/ 7231 w 9731"/>
                  <a:gd name="connsiteY20" fmla="*/ 2112 h 10000"/>
                  <a:gd name="connsiteX21" fmla="*/ 7231 w 9731"/>
                  <a:gd name="connsiteY21" fmla="*/ 2112 h 10000"/>
                  <a:gd name="connsiteX22" fmla="*/ 7142 w 9731"/>
                  <a:gd name="connsiteY22" fmla="*/ 1677 h 10000"/>
                  <a:gd name="connsiteX23" fmla="*/ 6964 w 9731"/>
                  <a:gd name="connsiteY23" fmla="*/ 1242 h 10000"/>
                  <a:gd name="connsiteX24" fmla="*/ 6784 w 9731"/>
                  <a:gd name="connsiteY24" fmla="*/ 870 h 10000"/>
                  <a:gd name="connsiteX25" fmla="*/ 6427 w 9731"/>
                  <a:gd name="connsiteY25" fmla="*/ 559 h 10000"/>
                  <a:gd name="connsiteX26" fmla="*/ 6071 w 9731"/>
                  <a:gd name="connsiteY26" fmla="*/ 311 h 10000"/>
                  <a:gd name="connsiteX27" fmla="*/ 5624 w 9731"/>
                  <a:gd name="connsiteY27" fmla="*/ 186 h 10000"/>
                  <a:gd name="connsiteX28" fmla="*/ 5177 w 9731"/>
                  <a:gd name="connsiteY28" fmla="*/ 0 h 10000"/>
                  <a:gd name="connsiteX29" fmla="*/ 4642 w 9731"/>
                  <a:gd name="connsiteY29" fmla="*/ 0 h 10000"/>
                  <a:gd name="connsiteX30" fmla="*/ 4642 w 9731"/>
                  <a:gd name="connsiteY30" fmla="*/ 0 h 10000"/>
                  <a:gd name="connsiteX31" fmla="*/ 4195 w 9731"/>
                  <a:gd name="connsiteY31" fmla="*/ 0 h 10000"/>
                  <a:gd name="connsiteX32" fmla="*/ 3749 w 9731"/>
                  <a:gd name="connsiteY32" fmla="*/ 186 h 10000"/>
                  <a:gd name="connsiteX33" fmla="*/ 3303 w 9731"/>
                  <a:gd name="connsiteY33" fmla="*/ 311 h 10000"/>
                  <a:gd name="connsiteX34" fmla="*/ 2857 w 9731"/>
                  <a:gd name="connsiteY34" fmla="*/ 559 h 10000"/>
                  <a:gd name="connsiteX35" fmla="*/ 2588 w 9731"/>
                  <a:gd name="connsiteY35" fmla="*/ 870 h 10000"/>
                  <a:gd name="connsiteX36" fmla="*/ 2320 w 9731"/>
                  <a:gd name="connsiteY36" fmla="*/ 1242 h 10000"/>
                  <a:gd name="connsiteX37" fmla="*/ 2142 w 9731"/>
                  <a:gd name="connsiteY37" fmla="*/ 1677 h 10000"/>
                  <a:gd name="connsiteX38" fmla="*/ 2142 w 9731"/>
                  <a:gd name="connsiteY38" fmla="*/ 2112 h 10000"/>
                  <a:gd name="connsiteX39" fmla="*/ 2142 w 9731"/>
                  <a:gd name="connsiteY39" fmla="*/ 2112 h 10000"/>
                  <a:gd name="connsiteX40" fmla="*/ 2232 w 9731"/>
                  <a:gd name="connsiteY40" fmla="*/ 2671 h 10000"/>
                  <a:gd name="connsiteX41" fmla="*/ 2588 w 9731"/>
                  <a:gd name="connsiteY41" fmla="*/ 3230 h 10000"/>
                  <a:gd name="connsiteX42" fmla="*/ 3035 w 9731"/>
                  <a:gd name="connsiteY42" fmla="*/ 3727 h 10000"/>
                  <a:gd name="connsiteX43" fmla="*/ 3482 w 9731"/>
                  <a:gd name="connsiteY43" fmla="*/ 4099 h 10000"/>
                  <a:gd name="connsiteX44" fmla="*/ 3482 w 9731"/>
                  <a:gd name="connsiteY44" fmla="*/ 4099 h 10000"/>
                  <a:gd name="connsiteX45" fmla="*/ 2499 w 9731"/>
                  <a:gd name="connsiteY45" fmla="*/ 4410 h 10000"/>
                  <a:gd name="connsiteX46" fmla="*/ 1695 w 9731"/>
                  <a:gd name="connsiteY46" fmla="*/ 4783 h 10000"/>
                  <a:gd name="connsiteX47" fmla="*/ 982 w 9731"/>
                  <a:gd name="connsiteY47" fmla="*/ 5342 h 10000"/>
                  <a:gd name="connsiteX48" fmla="*/ 446 w 9731"/>
                  <a:gd name="connsiteY48" fmla="*/ 6087 h 10000"/>
                  <a:gd name="connsiteX49" fmla="*/ 0 w 9731"/>
                  <a:gd name="connsiteY49" fmla="*/ 6832 h 10000"/>
                  <a:gd name="connsiteX0" fmla="*/ 4220 w 9542"/>
                  <a:gd name="connsiteY0" fmla="*/ 10000 h 10000"/>
                  <a:gd name="connsiteX1" fmla="*/ 4220 w 9542"/>
                  <a:gd name="connsiteY1" fmla="*/ 10000 h 10000"/>
                  <a:gd name="connsiteX2" fmla="*/ 6147 w 9542"/>
                  <a:gd name="connsiteY2" fmla="*/ 10000 h 10000"/>
                  <a:gd name="connsiteX3" fmla="*/ 7891 w 9542"/>
                  <a:gd name="connsiteY3" fmla="*/ 9938 h 10000"/>
                  <a:gd name="connsiteX4" fmla="*/ 9083 w 9542"/>
                  <a:gd name="connsiteY4" fmla="*/ 9814 h 10000"/>
                  <a:gd name="connsiteX5" fmla="*/ 9450 w 9542"/>
                  <a:gd name="connsiteY5" fmla="*/ 9752 h 10000"/>
                  <a:gd name="connsiteX6" fmla="*/ 9542 w 9542"/>
                  <a:gd name="connsiteY6" fmla="*/ 9689 h 10000"/>
                  <a:gd name="connsiteX7" fmla="*/ 9542 w 9542"/>
                  <a:gd name="connsiteY7" fmla="*/ 9689 h 10000"/>
                  <a:gd name="connsiteX8" fmla="*/ 9542 w 9542"/>
                  <a:gd name="connsiteY8" fmla="*/ 8634 h 10000"/>
                  <a:gd name="connsiteX9" fmla="*/ 9450 w 9542"/>
                  <a:gd name="connsiteY9" fmla="*/ 7702 h 10000"/>
                  <a:gd name="connsiteX10" fmla="*/ 9083 w 9542"/>
                  <a:gd name="connsiteY10" fmla="*/ 6832 h 10000"/>
                  <a:gd name="connsiteX11" fmla="*/ 8717 w 9542"/>
                  <a:gd name="connsiteY11" fmla="*/ 6087 h 10000"/>
                  <a:gd name="connsiteX12" fmla="*/ 8166 w 9542"/>
                  <a:gd name="connsiteY12" fmla="*/ 5342 h 10000"/>
                  <a:gd name="connsiteX13" fmla="*/ 7431 w 9542"/>
                  <a:gd name="connsiteY13" fmla="*/ 4783 h 10000"/>
                  <a:gd name="connsiteX14" fmla="*/ 6514 w 9542"/>
                  <a:gd name="connsiteY14" fmla="*/ 4410 h 10000"/>
                  <a:gd name="connsiteX15" fmla="*/ 5504 w 9542"/>
                  <a:gd name="connsiteY15" fmla="*/ 4099 h 10000"/>
                  <a:gd name="connsiteX16" fmla="*/ 5504 w 9542"/>
                  <a:gd name="connsiteY16" fmla="*/ 4099 h 10000"/>
                  <a:gd name="connsiteX17" fmla="*/ 6056 w 9542"/>
                  <a:gd name="connsiteY17" fmla="*/ 3727 h 10000"/>
                  <a:gd name="connsiteX18" fmla="*/ 6423 w 9542"/>
                  <a:gd name="connsiteY18" fmla="*/ 3230 h 10000"/>
                  <a:gd name="connsiteX19" fmla="*/ 6699 w 9542"/>
                  <a:gd name="connsiteY19" fmla="*/ 2671 h 10000"/>
                  <a:gd name="connsiteX20" fmla="*/ 6973 w 9542"/>
                  <a:gd name="connsiteY20" fmla="*/ 2112 h 10000"/>
                  <a:gd name="connsiteX21" fmla="*/ 6973 w 9542"/>
                  <a:gd name="connsiteY21" fmla="*/ 2112 h 10000"/>
                  <a:gd name="connsiteX22" fmla="*/ 6881 w 9542"/>
                  <a:gd name="connsiteY22" fmla="*/ 1677 h 10000"/>
                  <a:gd name="connsiteX23" fmla="*/ 6699 w 9542"/>
                  <a:gd name="connsiteY23" fmla="*/ 1242 h 10000"/>
                  <a:gd name="connsiteX24" fmla="*/ 6514 w 9542"/>
                  <a:gd name="connsiteY24" fmla="*/ 870 h 10000"/>
                  <a:gd name="connsiteX25" fmla="*/ 6147 w 9542"/>
                  <a:gd name="connsiteY25" fmla="*/ 559 h 10000"/>
                  <a:gd name="connsiteX26" fmla="*/ 5781 w 9542"/>
                  <a:gd name="connsiteY26" fmla="*/ 311 h 10000"/>
                  <a:gd name="connsiteX27" fmla="*/ 5321 w 9542"/>
                  <a:gd name="connsiteY27" fmla="*/ 186 h 10000"/>
                  <a:gd name="connsiteX28" fmla="*/ 4862 w 9542"/>
                  <a:gd name="connsiteY28" fmla="*/ 0 h 10000"/>
                  <a:gd name="connsiteX29" fmla="*/ 4312 w 9542"/>
                  <a:gd name="connsiteY29" fmla="*/ 0 h 10000"/>
                  <a:gd name="connsiteX30" fmla="*/ 4312 w 9542"/>
                  <a:gd name="connsiteY30" fmla="*/ 0 h 10000"/>
                  <a:gd name="connsiteX31" fmla="*/ 3853 w 9542"/>
                  <a:gd name="connsiteY31" fmla="*/ 0 h 10000"/>
                  <a:gd name="connsiteX32" fmla="*/ 3395 w 9542"/>
                  <a:gd name="connsiteY32" fmla="*/ 186 h 10000"/>
                  <a:gd name="connsiteX33" fmla="*/ 2936 w 9542"/>
                  <a:gd name="connsiteY33" fmla="*/ 311 h 10000"/>
                  <a:gd name="connsiteX34" fmla="*/ 2478 w 9542"/>
                  <a:gd name="connsiteY34" fmla="*/ 559 h 10000"/>
                  <a:gd name="connsiteX35" fmla="*/ 2202 w 9542"/>
                  <a:gd name="connsiteY35" fmla="*/ 870 h 10000"/>
                  <a:gd name="connsiteX36" fmla="*/ 1926 w 9542"/>
                  <a:gd name="connsiteY36" fmla="*/ 1242 h 10000"/>
                  <a:gd name="connsiteX37" fmla="*/ 1743 w 9542"/>
                  <a:gd name="connsiteY37" fmla="*/ 1677 h 10000"/>
                  <a:gd name="connsiteX38" fmla="*/ 1743 w 9542"/>
                  <a:gd name="connsiteY38" fmla="*/ 2112 h 10000"/>
                  <a:gd name="connsiteX39" fmla="*/ 1743 w 9542"/>
                  <a:gd name="connsiteY39" fmla="*/ 2112 h 10000"/>
                  <a:gd name="connsiteX40" fmla="*/ 1836 w 9542"/>
                  <a:gd name="connsiteY40" fmla="*/ 2671 h 10000"/>
                  <a:gd name="connsiteX41" fmla="*/ 2202 w 9542"/>
                  <a:gd name="connsiteY41" fmla="*/ 3230 h 10000"/>
                  <a:gd name="connsiteX42" fmla="*/ 2661 w 9542"/>
                  <a:gd name="connsiteY42" fmla="*/ 3727 h 10000"/>
                  <a:gd name="connsiteX43" fmla="*/ 3120 w 9542"/>
                  <a:gd name="connsiteY43" fmla="*/ 4099 h 10000"/>
                  <a:gd name="connsiteX44" fmla="*/ 3120 w 9542"/>
                  <a:gd name="connsiteY44" fmla="*/ 4099 h 10000"/>
                  <a:gd name="connsiteX45" fmla="*/ 2110 w 9542"/>
                  <a:gd name="connsiteY45" fmla="*/ 4410 h 10000"/>
                  <a:gd name="connsiteX46" fmla="*/ 1284 w 9542"/>
                  <a:gd name="connsiteY46" fmla="*/ 4783 h 10000"/>
                  <a:gd name="connsiteX47" fmla="*/ 551 w 9542"/>
                  <a:gd name="connsiteY47" fmla="*/ 5342 h 10000"/>
                  <a:gd name="connsiteX48" fmla="*/ 0 w 9542"/>
                  <a:gd name="connsiteY48" fmla="*/ 6087 h 10000"/>
                  <a:gd name="connsiteX0" fmla="*/ 3846 w 9423"/>
                  <a:gd name="connsiteY0" fmla="*/ 10000 h 10000"/>
                  <a:gd name="connsiteX1" fmla="*/ 3846 w 9423"/>
                  <a:gd name="connsiteY1" fmla="*/ 10000 h 10000"/>
                  <a:gd name="connsiteX2" fmla="*/ 5865 w 9423"/>
                  <a:gd name="connsiteY2" fmla="*/ 10000 h 10000"/>
                  <a:gd name="connsiteX3" fmla="*/ 7693 w 9423"/>
                  <a:gd name="connsiteY3" fmla="*/ 9938 h 10000"/>
                  <a:gd name="connsiteX4" fmla="*/ 8942 w 9423"/>
                  <a:gd name="connsiteY4" fmla="*/ 9814 h 10000"/>
                  <a:gd name="connsiteX5" fmla="*/ 9327 w 9423"/>
                  <a:gd name="connsiteY5" fmla="*/ 9752 h 10000"/>
                  <a:gd name="connsiteX6" fmla="*/ 9423 w 9423"/>
                  <a:gd name="connsiteY6" fmla="*/ 9689 h 10000"/>
                  <a:gd name="connsiteX7" fmla="*/ 9423 w 9423"/>
                  <a:gd name="connsiteY7" fmla="*/ 9689 h 10000"/>
                  <a:gd name="connsiteX8" fmla="*/ 9423 w 9423"/>
                  <a:gd name="connsiteY8" fmla="*/ 8634 h 10000"/>
                  <a:gd name="connsiteX9" fmla="*/ 9327 w 9423"/>
                  <a:gd name="connsiteY9" fmla="*/ 7702 h 10000"/>
                  <a:gd name="connsiteX10" fmla="*/ 8942 w 9423"/>
                  <a:gd name="connsiteY10" fmla="*/ 6832 h 10000"/>
                  <a:gd name="connsiteX11" fmla="*/ 8558 w 9423"/>
                  <a:gd name="connsiteY11" fmla="*/ 6087 h 10000"/>
                  <a:gd name="connsiteX12" fmla="*/ 7981 w 9423"/>
                  <a:gd name="connsiteY12" fmla="*/ 5342 h 10000"/>
                  <a:gd name="connsiteX13" fmla="*/ 7211 w 9423"/>
                  <a:gd name="connsiteY13" fmla="*/ 4783 h 10000"/>
                  <a:gd name="connsiteX14" fmla="*/ 6250 w 9423"/>
                  <a:gd name="connsiteY14" fmla="*/ 4410 h 10000"/>
                  <a:gd name="connsiteX15" fmla="*/ 5191 w 9423"/>
                  <a:gd name="connsiteY15" fmla="*/ 4099 h 10000"/>
                  <a:gd name="connsiteX16" fmla="*/ 5191 w 9423"/>
                  <a:gd name="connsiteY16" fmla="*/ 4099 h 10000"/>
                  <a:gd name="connsiteX17" fmla="*/ 5770 w 9423"/>
                  <a:gd name="connsiteY17" fmla="*/ 3727 h 10000"/>
                  <a:gd name="connsiteX18" fmla="*/ 6154 w 9423"/>
                  <a:gd name="connsiteY18" fmla="*/ 3230 h 10000"/>
                  <a:gd name="connsiteX19" fmla="*/ 6444 w 9423"/>
                  <a:gd name="connsiteY19" fmla="*/ 2671 h 10000"/>
                  <a:gd name="connsiteX20" fmla="*/ 6731 w 9423"/>
                  <a:gd name="connsiteY20" fmla="*/ 2112 h 10000"/>
                  <a:gd name="connsiteX21" fmla="*/ 6731 w 9423"/>
                  <a:gd name="connsiteY21" fmla="*/ 2112 h 10000"/>
                  <a:gd name="connsiteX22" fmla="*/ 6634 w 9423"/>
                  <a:gd name="connsiteY22" fmla="*/ 1677 h 10000"/>
                  <a:gd name="connsiteX23" fmla="*/ 6444 w 9423"/>
                  <a:gd name="connsiteY23" fmla="*/ 1242 h 10000"/>
                  <a:gd name="connsiteX24" fmla="*/ 6250 w 9423"/>
                  <a:gd name="connsiteY24" fmla="*/ 870 h 10000"/>
                  <a:gd name="connsiteX25" fmla="*/ 5865 w 9423"/>
                  <a:gd name="connsiteY25" fmla="*/ 559 h 10000"/>
                  <a:gd name="connsiteX26" fmla="*/ 5481 w 9423"/>
                  <a:gd name="connsiteY26" fmla="*/ 311 h 10000"/>
                  <a:gd name="connsiteX27" fmla="*/ 4999 w 9423"/>
                  <a:gd name="connsiteY27" fmla="*/ 186 h 10000"/>
                  <a:gd name="connsiteX28" fmla="*/ 4518 w 9423"/>
                  <a:gd name="connsiteY28" fmla="*/ 0 h 10000"/>
                  <a:gd name="connsiteX29" fmla="*/ 3942 w 9423"/>
                  <a:gd name="connsiteY29" fmla="*/ 0 h 10000"/>
                  <a:gd name="connsiteX30" fmla="*/ 3942 w 9423"/>
                  <a:gd name="connsiteY30" fmla="*/ 0 h 10000"/>
                  <a:gd name="connsiteX31" fmla="*/ 3461 w 9423"/>
                  <a:gd name="connsiteY31" fmla="*/ 0 h 10000"/>
                  <a:gd name="connsiteX32" fmla="*/ 2981 w 9423"/>
                  <a:gd name="connsiteY32" fmla="*/ 186 h 10000"/>
                  <a:gd name="connsiteX33" fmla="*/ 2500 w 9423"/>
                  <a:gd name="connsiteY33" fmla="*/ 311 h 10000"/>
                  <a:gd name="connsiteX34" fmla="*/ 2020 w 9423"/>
                  <a:gd name="connsiteY34" fmla="*/ 559 h 10000"/>
                  <a:gd name="connsiteX35" fmla="*/ 1731 w 9423"/>
                  <a:gd name="connsiteY35" fmla="*/ 870 h 10000"/>
                  <a:gd name="connsiteX36" fmla="*/ 1441 w 9423"/>
                  <a:gd name="connsiteY36" fmla="*/ 1242 h 10000"/>
                  <a:gd name="connsiteX37" fmla="*/ 1250 w 9423"/>
                  <a:gd name="connsiteY37" fmla="*/ 1677 h 10000"/>
                  <a:gd name="connsiteX38" fmla="*/ 1250 w 9423"/>
                  <a:gd name="connsiteY38" fmla="*/ 2112 h 10000"/>
                  <a:gd name="connsiteX39" fmla="*/ 1250 w 9423"/>
                  <a:gd name="connsiteY39" fmla="*/ 2112 h 10000"/>
                  <a:gd name="connsiteX40" fmla="*/ 1347 w 9423"/>
                  <a:gd name="connsiteY40" fmla="*/ 2671 h 10000"/>
                  <a:gd name="connsiteX41" fmla="*/ 1731 w 9423"/>
                  <a:gd name="connsiteY41" fmla="*/ 3230 h 10000"/>
                  <a:gd name="connsiteX42" fmla="*/ 2212 w 9423"/>
                  <a:gd name="connsiteY42" fmla="*/ 3727 h 10000"/>
                  <a:gd name="connsiteX43" fmla="*/ 2693 w 9423"/>
                  <a:gd name="connsiteY43" fmla="*/ 4099 h 10000"/>
                  <a:gd name="connsiteX44" fmla="*/ 2693 w 9423"/>
                  <a:gd name="connsiteY44" fmla="*/ 4099 h 10000"/>
                  <a:gd name="connsiteX45" fmla="*/ 1634 w 9423"/>
                  <a:gd name="connsiteY45" fmla="*/ 4410 h 10000"/>
                  <a:gd name="connsiteX46" fmla="*/ 769 w 9423"/>
                  <a:gd name="connsiteY46" fmla="*/ 4783 h 10000"/>
                  <a:gd name="connsiteX47" fmla="*/ 0 w 9423"/>
                  <a:gd name="connsiteY47" fmla="*/ 5342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9423" h="10000">
                    <a:moveTo>
                      <a:pt x="3846" y="10000"/>
                    </a:moveTo>
                    <a:lnTo>
                      <a:pt x="3846" y="10000"/>
                    </a:lnTo>
                    <a:lnTo>
                      <a:pt x="5865" y="10000"/>
                    </a:lnTo>
                    <a:lnTo>
                      <a:pt x="7693" y="9938"/>
                    </a:lnTo>
                    <a:lnTo>
                      <a:pt x="8942" y="9814"/>
                    </a:lnTo>
                    <a:lnTo>
                      <a:pt x="9327" y="9752"/>
                    </a:lnTo>
                    <a:lnTo>
                      <a:pt x="9423" y="9689"/>
                    </a:lnTo>
                    <a:lnTo>
                      <a:pt x="9423" y="9689"/>
                    </a:lnTo>
                    <a:lnTo>
                      <a:pt x="9423" y="8634"/>
                    </a:lnTo>
                    <a:cubicBezTo>
                      <a:pt x="9391" y="8323"/>
                      <a:pt x="9358" y="8013"/>
                      <a:pt x="9327" y="7702"/>
                    </a:cubicBezTo>
                    <a:lnTo>
                      <a:pt x="8942" y="6832"/>
                    </a:lnTo>
                    <a:lnTo>
                      <a:pt x="8558" y="6087"/>
                    </a:lnTo>
                    <a:lnTo>
                      <a:pt x="7981" y="5342"/>
                    </a:lnTo>
                    <a:lnTo>
                      <a:pt x="7211" y="4783"/>
                    </a:lnTo>
                    <a:lnTo>
                      <a:pt x="6250" y="4410"/>
                    </a:lnTo>
                    <a:lnTo>
                      <a:pt x="5191" y="4099"/>
                    </a:lnTo>
                    <a:lnTo>
                      <a:pt x="5191" y="4099"/>
                    </a:lnTo>
                    <a:lnTo>
                      <a:pt x="5770" y="3727"/>
                    </a:lnTo>
                    <a:lnTo>
                      <a:pt x="6154" y="3230"/>
                    </a:lnTo>
                    <a:cubicBezTo>
                      <a:pt x="6251" y="3044"/>
                      <a:pt x="6347" y="2857"/>
                      <a:pt x="6444" y="2671"/>
                    </a:cubicBezTo>
                    <a:cubicBezTo>
                      <a:pt x="6540" y="2485"/>
                      <a:pt x="6635" y="2298"/>
                      <a:pt x="6731" y="2112"/>
                    </a:cubicBezTo>
                    <a:lnTo>
                      <a:pt x="6731" y="2112"/>
                    </a:lnTo>
                    <a:cubicBezTo>
                      <a:pt x="6699" y="1967"/>
                      <a:pt x="6666" y="1822"/>
                      <a:pt x="6634" y="1677"/>
                    </a:cubicBezTo>
                    <a:cubicBezTo>
                      <a:pt x="6571" y="1532"/>
                      <a:pt x="6506" y="1387"/>
                      <a:pt x="6444" y="1242"/>
                    </a:cubicBezTo>
                    <a:lnTo>
                      <a:pt x="6250" y="870"/>
                    </a:lnTo>
                    <a:lnTo>
                      <a:pt x="5865" y="559"/>
                    </a:lnTo>
                    <a:lnTo>
                      <a:pt x="5481" y="311"/>
                    </a:lnTo>
                    <a:lnTo>
                      <a:pt x="4999" y="186"/>
                    </a:lnTo>
                    <a:lnTo>
                      <a:pt x="4518" y="0"/>
                    </a:lnTo>
                    <a:lnTo>
                      <a:pt x="3942" y="0"/>
                    </a:lnTo>
                    <a:lnTo>
                      <a:pt x="3942" y="0"/>
                    </a:lnTo>
                    <a:lnTo>
                      <a:pt x="3461" y="0"/>
                    </a:lnTo>
                    <a:lnTo>
                      <a:pt x="2981" y="186"/>
                    </a:lnTo>
                    <a:lnTo>
                      <a:pt x="2500" y="311"/>
                    </a:lnTo>
                    <a:lnTo>
                      <a:pt x="2020" y="559"/>
                    </a:lnTo>
                    <a:lnTo>
                      <a:pt x="1731" y="870"/>
                    </a:lnTo>
                    <a:lnTo>
                      <a:pt x="1441" y="1242"/>
                    </a:lnTo>
                    <a:cubicBezTo>
                      <a:pt x="1379" y="1387"/>
                      <a:pt x="1314" y="1532"/>
                      <a:pt x="1250" y="1677"/>
                    </a:cubicBezTo>
                    <a:lnTo>
                      <a:pt x="1250" y="2112"/>
                    </a:lnTo>
                    <a:lnTo>
                      <a:pt x="1250" y="2112"/>
                    </a:lnTo>
                    <a:cubicBezTo>
                      <a:pt x="1282" y="2298"/>
                      <a:pt x="1315" y="2485"/>
                      <a:pt x="1347" y="2671"/>
                    </a:cubicBezTo>
                    <a:lnTo>
                      <a:pt x="1731" y="3230"/>
                    </a:lnTo>
                    <a:lnTo>
                      <a:pt x="2212" y="3727"/>
                    </a:lnTo>
                    <a:lnTo>
                      <a:pt x="2693" y="4099"/>
                    </a:lnTo>
                    <a:lnTo>
                      <a:pt x="2693" y="4099"/>
                    </a:lnTo>
                    <a:lnTo>
                      <a:pt x="1634" y="4410"/>
                    </a:lnTo>
                    <a:lnTo>
                      <a:pt x="769" y="4783"/>
                    </a:lnTo>
                    <a:lnTo>
                      <a:pt x="0" y="5342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2" name="Freeform 897"/>
              <p:cNvSpPr>
                <a:spLocks/>
              </p:cNvSpPr>
              <p:nvPr/>
            </p:nvSpPr>
            <p:spPr bwMode="auto">
              <a:xfrm>
                <a:off x="4509658" y="4876544"/>
                <a:ext cx="181869" cy="255132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2666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52" fmla="*/ 0 w 10000"/>
                  <a:gd name="connsiteY52" fmla="*/ 9689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10000" h="10000">
                    <a:moveTo>
                      <a:pt x="4912" y="10000"/>
                    </a:moveTo>
                    <a:lnTo>
                      <a:pt x="2666" y="10000"/>
                    </a:lnTo>
                    <a:lnTo>
                      <a:pt x="6754" y="10000"/>
                    </a:lnTo>
                    <a:lnTo>
                      <a:pt x="8421" y="9938"/>
                    </a:lnTo>
                    <a:lnTo>
                      <a:pt x="9561" y="9814"/>
                    </a:lnTo>
                    <a:lnTo>
                      <a:pt x="9912" y="9752"/>
                    </a:lnTo>
                    <a:lnTo>
                      <a:pt x="10000" y="9689"/>
                    </a:lnTo>
                    <a:lnTo>
                      <a:pt x="10000" y="9689"/>
                    </a:lnTo>
                    <a:lnTo>
                      <a:pt x="10000" y="8634"/>
                    </a:lnTo>
                    <a:cubicBezTo>
                      <a:pt x="9971" y="8323"/>
                      <a:pt x="9941" y="8013"/>
                      <a:pt x="9912" y="7702"/>
                    </a:cubicBezTo>
                    <a:lnTo>
                      <a:pt x="9561" y="6832"/>
                    </a:lnTo>
                    <a:lnTo>
                      <a:pt x="9211" y="6087"/>
                    </a:lnTo>
                    <a:lnTo>
                      <a:pt x="8684" y="5342"/>
                    </a:lnTo>
                    <a:lnTo>
                      <a:pt x="7982" y="4783"/>
                    </a:lnTo>
                    <a:lnTo>
                      <a:pt x="7105" y="4410"/>
                    </a:lnTo>
                    <a:lnTo>
                      <a:pt x="6140" y="4099"/>
                    </a:lnTo>
                    <a:lnTo>
                      <a:pt x="6140" y="4099"/>
                    </a:lnTo>
                    <a:lnTo>
                      <a:pt x="6667" y="3727"/>
                    </a:lnTo>
                    <a:lnTo>
                      <a:pt x="7018" y="3230"/>
                    </a:lnTo>
                    <a:cubicBezTo>
                      <a:pt x="7106" y="3044"/>
                      <a:pt x="7193" y="2857"/>
                      <a:pt x="7281" y="2671"/>
                    </a:cubicBezTo>
                    <a:cubicBezTo>
                      <a:pt x="7369" y="2485"/>
                      <a:pt x="7456" y="2298"/>
                      <a:pt x="7544" y="2112"/>
                    </a:cubicBezTo>
                    <a:lnTo>
                      <a:pt x="7544" y="2112"/>
                    </a:lnTo>
                    <a:cubicBezTo>
                      <a:pt x="7515" y="1967"/>
                      <a:pt x="7485" y="1822"/>
                      <a:pt x="7456" y="1677"/>
                    </a:cubicBezTo>
                    <a:cubicBezTo>
                      <a:pt x="7398" y="1532"/>
                      <a:pt x="7339" y="1387"/>
                      <a:pt x="7281" y="1242"/>
                    </a:cubicBezTo>
                    <a:cubicBezTo>
                      <a:pt x="7222" y="1118"/>
                      <a:pt x="7164" y="994"/>
                      <a:pt x="7105" y="870"/>
                    </a:cubicBezTo>
                    <a:lnTo>
                      <a:pt x="6754" y="559"/>
                    </a:lnTo>
                    <a:lnTo>
                      <a:pt x="6404" y="311"/>
                    </a:lnTo>
                    <a:lnTo>
                      <a:pt x="5965" y="186"/>
                    </a:lnTo>
                    <a:lnTo>
                      <a:pt x="5526" y="0"/>
                    </a:lnTo>
                    <a:lnTo>
                      <a:pt x="5000" y="0"/>
                    </a:lnTo>
                    <a:lnTo>
                      <a:pt x="5000" y="0"/>
                    </a:lnTo>
                    <a:lnTo>
                      <a:pt x="4561" y="0"/>
                    </a:lnTo>
                    <a:lnTo>
                      <a:pt x="4123" y="186"/>
                    </a:lnTo>
                    <a:lnTo>
                      <a:pt x="3684" y="311"/>
                    </a:lnTo>
                    <a:lnTo>
                      <a:pt x="3246" y="559"/>
                    </a:lnTo>
                    <a:lnTo>
                      <a:pt x="2982" y="870"/>
                    </a:lnTo>
                    <a:lnTo>
                      <a:pt x="2719" y="1242"/>
                    </a:lnTo>
                    <a:cubicBezTo>
                      <a:pt x="2661" y="1387"/>
                      <a:pt x="2602" y="1532"/>
                      <a:pt x="2544" y="1677"/>
                    </a:cubicBezTo>
                    <a:lnTo>
                      <a:pt x="2544" y="2112"/>
                    </a:lnTo>
                    <a:lnTo>
                      <a:pt x="2544" y="2112"/>
                    </a:lnTo>
                    <a:cubicBezTo>
                      <a:pt x="2573" y="2298"/>
                      <a:pt x="2603" y="2485"/>
                      <a:pt x="2632" y="2671"/>
                    </a:cubicBezTo>
                    <a:lnTo>
                      <a:pt x="2982" y="3230"/>
                    </a:lnTo>
                    <a:lnTo>
                      <a:pt x="3421" y="3727"/>
                    </a:lnTo>
                    <a:lnTo>
                      <a:pt x="3860" y="4099"/>
                    </a:lnTo>
                    <a:lnTo>
                      <a:pt x="3860" y="4099"/>
                    </a:lnTo>
                    <a:lnTo>
                      <a:pt x="2895" y="4410"/>
                    </a:lnTo>
                    <a:lnTo>
                      <a:pt x="2105" y="4783"/>
                    </a:lnTo>
                    <a:lnTo>
                      <a:pt x="1404" y="5342"/>
                    </a:lnTo>
                    <a:lnTo>
                      <a:pt x="877" y="6087"/>
                    </a:lnTo>
                    <a:lnTo>
                      <a:pt x="439" y="6832"/>
                    </a:lnTo>
                    <a:lnTo>
                      <a:pt x="175" y="7702"/>
                    </a:lnTo>
                    <a:cubicBezTo>
                      <a:pt x="117" y="8013"/>
                      <a:pt x="58" y="8323"/>
                      <a:pt x="0" y="8634"/>
                    </a:cubicBezTo>
                    <a:lnTo>
                      <a:pt x="0" y="968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grpSp>
            <p:nvGrpSpPr>
              <p:cNvPr id="9" name="Groupe 78"/>
              <p:cNvGrpSpPr>
                <a:grpSpLocks/>
              </p:cNvGrpSpPr>
              <p:nvPr/>
            </p:nvGrpSpPr>
            <p:grpSpPr bwMode="auto">
              <a:xfrm>
                <a:off x="4430703" y="4715239"/>
                <a:ext cx="166698" cy="247657"/>
                <a:chOff x="4430703" y="4715239"/>
                <a:chExt cx="166698" cy="247657"/>
              </a:xfrm>
            </p:grpSpPr>
            <p:sp>
              <p:nvSpPr>
                <p:cNvPr id="24" name="Freeform 897"/>
                <p:cNvSpPr>
                  <a:spLocks/>
                </p:cNvSpPr>
                <p:nvPr/>
              </p:nvSpPr>
              <p:spPr bwMode="auto">
                <a:xfrm>
                  <a:off x="4431090" y="4714686"/>
                  <a:ext cx="165865" cy="248273"/>
                </a:xfrm>
                <a:custGeom>
                  <a:avLst/>
                  <a:gdLst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6754 w 10000"/>
                    <a:gd name="connsiteY2" fmla="*/ 10000 h 10000"/>
                    <a:gd name="connsiteX3" fmla="*/ 8421 w 10000"/>
                    <a:gd name="connsiteY3" fmla="*/ 9938 h 10000"/>
                    <a:gd name="connsiteX4" fmla="*/ 9561 w 10000"/>
                    <a:gd name="connsiteY4" fmla="*/ 9814 h 10000"/>
                    <a:gd name="connsiteX5" fmla="*/ 9912 w 10000"/>
                    <a:gd name="connsiteY5" fmla="*/ 9752 h 10000"/>
                    <a:gd name="connsiteX6" fmla="*/ 10000 w 10000"/>
                    <a:gd name="connsiteY6" fmla="*/ 9689 h 10000"/>
                    <a:gd name="connsiteX7" fmla="*/ 10000 w 10000"/>
                    <a:gd name="connsiteY7" fmla="*/ 9689 h 10000"/>
                    <a:gd name="connsiteX8" fmla="*/ 10000 w 10000"/>
                    <a:gd name="connsiteY8" fmla="*/ 8634 h 10000"/>
                    <a:gd name="connsiteX9" fmla="*/ 9912 w 10000"/>
                    <a:gd name="connsiteY9" fmla="*/ 7702 h 10000"/>
                    <a:gd name="connsiteX10" fmla="*/ 9561 w 10000"/>
                    <a:gd name="connsiteY10" fmla="*/ 6832 h 10000"/>
                    <a:gd name="connsiteX11" fmla="*/ 9211 w 10000"/>
                    <a:gd name="connsiteY11" fmla="*/ 6087 h 10000"/>
                    <a:gd name="connsiteX12" fmla="*/ 8684 w 10000"/>
                    <a:gd name="connsiteY12" fmla="*/ 5342 h 10000"/>
                    <a:gd name="connsiteX13" fmla="*/ 7982 w 10000"/>
                    <a:gd name="connsiteY13" fmla="*/ 4783 h 10000"/>
                    <a:gd name="connsiteX14" fmla="*/ 7105 w 10000"/>
                    <a:gd name="connsiteY14" fmla="*/ 4410 h 10000"/>
                    <a:gd name="connsiteX15" fmla="*/ 6140 w 10000"/>
                    <a:gd name="connsiteY15" fmla="*/ 4099 h 10000"/>
                    <a:gd name="connsiteX16" fmla="*/ 6140 w 10000"/>
                    <a:gd name="connsiteY16" fmla="*/ 4099 h 10000"/>
                    <a:gd name="connsiteX17" fmla="*/ 6667 w 10000"/>
                    <a:gd name="connsiteY17" fmla="*/ 3727 h 10000"/>
                    <a:gd name="connsiteX18" fmla="*/ 7018 w 10000"/>
                    <a:gd name="connsiteY18" fmla="*/ 3230 h 10000"/>
                    <a:gd name="connsiteX19" fmla="*/ 7281 w 10000"/>
                    <a:gd name="connsiteY19" fmla="*/ 2671 h 10000"/>
                    <a:gd name="connsiteX20" fmla="*/ 7544 w 10000"/>
                    <a:gd name="connsiteY20" fmla="*/ 2112 h 10000"/>
                    <a:gd name="connsiteX21" fmla="*/ 7544 w 10000"/>
                    <a:gd name="connsiteY21" fmla="*/ 2112 h 10000"/>
                    <a:gd name="connsiteX22" fmla="*/ 7456 w 10000"/>
                    <a:gd name="connsiteY22" fmla="*/ 1677 h 10000"/>
                    <a:gd name="connsiteX23" fmla="*/ 7281 w 10000"/>
                    <a:gd name="connsiteY23" fmla="*/ 1242 h 10000"/>
                    <a:gd name="connsiteX24" fmla="*/ 7105 w 10000"/>
                    <a:gd name="connsiteY24" fmla="*/ 870 h 10000"/>
                    <a:gd name="connsiteX25" fmla="*/ 6754 w 10000"/>
                    <a:gd name="connsiteY25" fmla="*/ 559 h 10000"/>
                    <a:gd name="connsiteX26" fmla="*/ 6404 w 10000"/>
                    <a:gd name="connsiteY26" fmla="*/ 311 h 10000"/>
                    <a:gd name="connsiteX27" fmla="*/ 5965 w 10000"/>
                    <a:gd name="connsiteY27" fmla="*/ 186 h 10000"/>
                    <a:gd name="connsiteX28" fmla="*/ 5526 w 10000"/>
                    <a:gd name="connsiteY28" fmla="*/ 0 h 10000"/>
                    <a:gd name="connsiteX29" fmla="*/ 5000 w 10000"/>
                    <a:gd name="connsiteY29" fmla="*/ 0 h 10000"/>
                    <a:gd name="connsiteX30" fmla="*/ 5000 w 10000"/>
                    <a:gd name="connsiteY30" fmla="*/ 0 h 10000"/>
                    <a:gd name="connsiteX31" fmla="*/ 4561 w 10000"/>
                    <a:gd name="connsiteY31" fmla="*/ 0 h 10000"/>
                    <a:gd name="connsiteX32" fmla="*/ 4123 w 10000"/>
                    <a:gd name="connsiteY32" fmla="*/ 186 h 10000"/>
                    <a:gd name="connsiteX33" fmla="*/ 3684 w 10000"/>
                    <a:gd name="connsiteY33" fmla="*/ 311 h 10000"/>
                    <a:gd name="connsiteX34" fmla="*/ 3246 w 10000"/>
                    <a:gd name="connsiteY34" fmla="*/ 559 h 10000"/>
                    <a:gd name="connsiteX35" fmla="*/ 2982 w 10000"/>
                    <a:gd name="connsiteY35" fmla="*/ 870 h 10000"/>
                    <a:gd name="connsiteX36" fmla="*/ 2719 w 10000"/>
                    <a:gd name="connsiteY36" fmla="*/ 1242 h 10000"/>
                    <a:gd name="connsiteX37" fmla="*/ 2544 w 10000"/>
                    <a:gd name="connsiteY37" fmla="*/ 1677 h 10000"/>
                    <a:gd name="connsiteX38" fmla="*/ 2544 w 10000"/>
                    <a:gd name="connsiteY38" fmla="*/ 2112 h 10000"/>
                    <a:gd name="connsiteX39" fmla="*/ 2544 w 10000"/>
                    <a:gd name="connsiteY39" fmla="*/ 2112 h 10000"/>
                    <a:gd name="connsiteX40" fmla="*/ 2632 w 10000"/>
                    <a:gd name="connsiteY40" fmla="*/ 2671 h 10000"/>
                    <a:gd name="connsiteX41" fmla="*/ 2982 w 10000"/>
                    <a:gd name="connsiteY41" fmla="*/ 3230 h 10000"/>
                    <a:gd name="connsiteX42" fmla="*/ 3421 w 10000"/>
                    <a:gd name="connsiteY42" fmla="*/ 3727 h 10000"/>
                    <a:gd name="connsiteX43" fmla="*/ 3860 w 10000"/>
                    <a:gd name="connsiteY43" fmla="*/ 4099 h 10000"/>
                    <a:gd name="connsiteX44" fmla="*/ 3860 w 10000"/>
                    <a:gd name="connsiteY44" fmla="*/ 4099 h 10000"/>
                    <a:gd name="connsiteX45" fmla="*/ 2895 w 10000"/>
                    <a:gd name="connsiteY45" fmla="*/ 4410 h 10000"/>
                    <a:gd name="connsiteX46" fmla="*/ 2105 w 10000"/>
                    <a:gd name="connsiteY46" fmla="*/ 4783 h 10000"/>
                    <a:gd name="connsiteX47" fmla="*/ 1404 w 10000"/>
                    <a:gd name="connsiteY47" fmla="*/ 5342 h 10000"/>
                    <a:gd name="connsiteX48" fmla="*/ 877 w 10000"/>
                    <a:gd name="connsiteY48" fmla="*/ 6087 h 10000"/>
                    <a:gd name="connsiteX49" fmla="*/ 439 w 10000"/>
                    <a:gd name="connsiteY49" fmla="*/ 6832 h 10000"/>
                    <a:gd name="connsiteX50" fmla="*/ 175 w 10000"/>
                    <a:gd name="connsiteY50" fmla="*/ 7702 h 10000"/>
                    <a:gd name="connsiteX51" fmla="*/ 0 w 10000"/>
                    <a:gd name="connsiteY51" fmla="*/ 8634 h 10000"/>
                    <a:gd name="connsiteX52" fmla="*/ 0 w 10000"/>
                    <a:gd name="connsiteY52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8421 w 10000"/>
                    <a:gd name="connsiteY2" fmla="*/ 9938 h 10000"/>
                    <a:gd name="connsiteX3" fmla="*/ 9561 w 10000"/>
                    <a:gd name="connsiteY3" fmla="*/ 9814 h 10000"/>
                    <a:gd name="connsiteX4" fmla="*/ 9912 w 10000"/>
                    <a:gd name="connsiteY4" fmla="*/ 9752 h 10000"/>
                    <a:gd name="connsiteX5" fmla="*/ 10000 w 10000"/>
                    <a:gd name="connsiteY5" fmla="*/ 9689 h 10000"/>
                    <a:gd name="connsiteX6" fmla="*/ 10000 w 10000"/>
                    <a:gd name="connsiteY6" fmla="*/ 9689 h 10000"/>
                    <a:gd name="connsiteX7" fmla="*/ 10000 w 10000"/>
                    <a:gd name="connsiteY7" fmla="*/ 8634 h 10000"/>
                    <a:gd name="connsiteX8" fmla="*/ 9912 w 10000"/>
                    <a:gd name="connsiteY8" fmla="*/ 7702 h 10000"/>
                    <a:gd name="connsiteX9" fmla="*/ 9561 w 10000"/>
                    <a:gd name="connsiteY9" fmla="*/ 6832 h 10000"/>
                    <a:gd name="connsiteX10" fmla="*/ 9211 w 10000"/>
                    <a:gd name="connsiteY10" fmla="*/ 6087 h 10000"/>
                    <a:gd name="connsiteX11" fmla="*/ 8684 w 10000"/>
                    <a:gd name="connsiteY11" fmla="*/ 5342 h 10000"/>
                    <a:gd name="connsiteX12" fmla="*/ 7982 w 10000"/>
                    <a:gd name="connsiteY12" fmla="*/ 4783 h 10000"/>
                    <a:gd name="connsiteX13" fmla="*/ 7105 w 10000"/>
                    <a:gd name="connsiteY13" fmla="*/ 4410 h 10000"/>
                    <a:gd name="connsiteX14" fmla="*/ 6140 w 10000"/>
                    <a:gd name="connsiteY14" fmla="*/ 4099 h 10000"/>
                    <a:gd name="connsiteX15" fmla="*/ 6140 w 10000"/>
                    <a:gd name="connsiteY15" fmla="*/ 4099 h 10000"/>
                    <a:gd name="connsiteX16" fmla="*/ 6667 w 10000"/>
                    <a:gd name="connsiteY16" fmla="*/ 3727 h 10000"/>
                    <a:gd name="connsiteX17" fmla="*/ 7018 w 10000"/>
                    <a:gd name="connsiteY17" fmla="*/ 3230 h 10000"/>
                    <a:gd name="connsiteX18" fmla="*/ 7281 w 10000"/>
                    <a:gd name="connsiteY18" fmla="*/ 2671 h 10000"/>
                    <a:gd name="connsiteX19" fmla="*/ 7544 w 10000"/>
                    <a:gd name="connsiteY19" fmla="*/ 2112 h 10000"/>
                    <a:gd name="connsiteX20" fmla="*/ 7544 w 10000"/>
                    <a:gd name="connsiteY20" fmla="*/ 2112 h 10000"/>
                    <a:gd name="connsiteX21" fmla="*/ 7456 w 10000"/>
                    <a:gd name="connsiteY21" fmla="*/ 1677 h 10000"/>
                    <a:gd name="connsiteX22" fmla="*/ 7281 w 10000"/>
                    <a:gd name="connsiteY22" fmla="*/ 1242 h 10000"/>
                    <a:gd name="connsiteX23" fmla="*/ 7105 w 10000"/>
                    <a:gd name="connsiteY23" fmla="*/ 870 h 10000"/>
                    <a:gd name="connsiteX24" fmla="*/ 6754 w 10000"/>
                    <a:gd name="connsiteY24" fmla="*/ 559 h 10000"/>
                    <a:gd name="connsiteX25" fmla="*/ 6404 w 10000"/>
                    <a:gd name="connsiteY25" fmla="*/ 311 h 10000"/>
                    <a:gd name="connsiteX26" fmla="*/ 5965 w 10000"/>
                    <a:gd name="connsiteY26" fmla="*/ 186 h 10000"/>
                    <a:gd name="connsiteX27" fmla="*/ 5526 w 10000"/>
                    <a:gd name="connsiteY27" fmla="*/ 0 h 10000"/>
                    <a:gd name="connsiteX28" fmla="*/ 5000 w 10000"/>
                    <a:gd name="connsiteY28" fmla="*/ 0 h 10000"/>
                    <a:gd name="connsiteX29" fmla="*/ 5000 w 10000"/>
                    <a:gd name="connsiteY29" fmla="*/ 0 h 10000"/>
                    <a:gd name="connsiteX30" fmla="*/ 4561 w 10000"/>
                    <a:gd name="connsiteY30" fmla="*/ 0 h 10000"/>
                    <a:gd name="connsiteX31" fmla="*/ 4123 w 10000"/>
                    <a:gd name="connsiteY31" fmla="*/ 186 h 10000"/>
                    <a:gd name="connsiteX32" fmla="*/ 3684 w 10000"/>
                    <a:gd name="connsiteY32" fmla="*/ 311 h 10000"/>
                    <a:gd name="connsiteX33" fmla="*/ 3246 w 10000"/>
                    <a:gd name="connsiteY33" fmla="*/ 559 h 10000"/>
                    <a:gd name="connsiteX34" fmla="*/ 2982 w 10000"/>
                    <a:gd name="connsiteY34" fmla="*/ 870 h 10000"/>
                    <a:gd name="connsiteX35" fmla="*/ 2719 w 10000"/>
                    <a:gd name="connsiteY35" fmla="*/ 1242 h 10000"/>
                    <a:gd name="connsiteX36" fmla="*/ 2544 w 10000"/>
                    <a:gd name="connsiteY36" fmla="*/ 1677 h 10000"/>
                    <a:gd name="connsiteX37" fmla="*/ 2544 w 10000"/>
                    <a:gd name="connsiteY37" fmla="*/ 2112 h 10000"/>
                    <a:gd name="connsiteX38" fmla="*/ 2544 w 10000"/>
                    <a:gd name="connsiteY38" fmla="*/ 2112 h 10000"/>
                    <a:gd name="connsiteX39" fmla="*/ 2632 w 10000"/>
                    <a:gd name="connsiteY39" fmla="*/ 2671 h 10000"/>
                    <a:gd name="connsiteX40" fmla="*/ 2982 w 10000"/>
                    <a:gd name="connsiteY40" fmla="*/ 3230 h 10000"/>
                    <a:gd name="connsiteX41" fmla="*/ 3421 w 10000"/>
                    <a:gd name="connsiteY41" fmla="*/ 3727 h 10000"/>
                    <a:gd name="connsiteX42" fmla="*/ 3860 w 10000"/>
                    <a:gd name="connsiteY42" fmla="*/ 4099 h 10000"/>
                    <a:gd name="connsiteX43" fmla="*/ 3860 w 10000"/>
                    <a:gd name="connsiteY43" fmla="*/ 4099 h 10000"/>
                    <a:gd name="connsiteX44" fmla="*/ 2895 w 10000"/>
                    <a:gd name="connsiteY44" fmla="*/ 4410 h 10000"/>
                    <a:gd name="connsiteX45" fmla="*/ 2105 w 10000"/>
                    <a:gd name="connsiteY45" fmla="*/ 4783 h 10000"/>
                    <a:gd name="connsiteX46" fmla="*/ 1404 w 10000"/>
                    <a:gd name="connsiteY46" fmla="*/ 5342 h 10000"/>
                    <a:gd name="connsiteX47" fmla="*/ 877 w 10000"/>
                    <a:gd name="connsiteY47" fmla="*/ 6087 h 10000"/>
                    <a:gd name="connsiteX48" fmla="*/ 439 w 10000"/>
                    <a:gd name="connsiteY48" fmla="*/ 6832 h 10000"/>
                    <a:gd name="connsiteX49" fmla="*/ 175 w 10000"/>
                    <a:gd name="connsiteY49" fmla="*/ 7702 h 10000"/>
                    <a:gd name="connsiteX50" fmla="*/ 0 w 10000"/>
                    <a:gd name="connsiteY50" fmla="*/ 8634 h 10000"/>
                    <a:gd name="connsiteX51" fmla="*/ 0 w 10000"/>
                    <a:gd name="connsiteY51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9561 w 10000"/>
                    <a:gd name="connsiteY2" fmla="*/ 9814 h 10000"/>
                    <a:gd name="connsiteX3" fmla="*/ 9912 w 10000"/>
                    <a:gd name="connsiteY3" fmla="*/ 9752 h 10000"/>
                    <a:gd name="connsiteX4" fmla="*/ 10000 w 10000"/>
                    <a:gd name="connsiteY4" fmla="*/ 9689 h 10000"/>
                    <a:gd name="connsiteX5" fmla="*/ 10000 w 10000"/>
                    <a:gd name="connsiteY5" fmla="*/ 9689 h 10000"/>
                    <a:gd name="connsiteX6" fmla="*/ 10000 w 10000"/>
                    <a:gd name="connsiteY6" fmla="*/ 8634 h 10000"/>
                    <a:gd name="connsiteX7" fmla="*/ 9912 w 10000"/>
                    <a:gd name="connsiteY7" fmla="*/ 7702 h 10000"/>
                    <a:gd name="connsiteX8" fmla="*/ 9561 w 10000"/>
                    <a:gd name="connsiteY8" fmla="*/ 6832 h 10000"/>
                    <a:gd name="connsiteX9" fmla="*/ 9211 w 10000"/>
                    <a:gd name="connsiteY9" fmla="*/ 6087 h 10000"/>
                    <a:gd name="connsiteX10" fmla="*/ 8684 w 10000"/>
                    <a:gd name="connsiteY10" fmla="*/ 5342 h 10000"/>
                    <a:gd name="connsiteX11" fmla="*/ 7982 w 10000"/>
                    <a:gd name="connsiteY11" fmla="*/ 4783 h 10000"/>
                    <a:gd name="connsiteX12" fmla="*/ 7105 w 10000"/>
                    <a:gd name="connsiteY12" fmla="*/ 4410 h 10000"/>
                    <a:gd name="connsiteX13" fmla="*/ 6140 w 10000"/>
                    <a:gd name="connsiteY13" fmla="*/ 4099 h 10000"/>
                    <a:gd name="connsiteX14" fmla="*/ 6140 w 10000"/>
                    <a:gd name="connsiteY14" fmla="*/ 4099 h 10000"/>
                    <a:gd name="connsiteX15" fmla="*/ 6667 w 10000"/>
                    <a:gd name="connsiteY15" fmla="*/ 3727 h 10000"/>
                    <a:gd name="connsiteX16" fmla="*/ 7018 w 10000"/>
                    <a:gd name="connsiteY16" fmla="*/ 3230 h 10000"/>
                    <a:gd name="connsiteX17" fmla="*/ 7281 w 10000"/>
                    <a:gd name="connsiteY17" fmla="*/ 2671 h 10000"/>
                    <a:gd name="connsiteX18" fmla="*/ 7544 w 10000"/>
                    <a:gd name="connsiteY18" fmla="*/ 2112 h 10000"/>
                    <a:gd name="connsiteX19" fmla="*/ 7544 w 10000"/>
                    <a:gd name="connsiteY19" fmla="*/ 2112 h 10000"/>
                    <a:gd name="connsiteX20" fmla="*/ 7456 w 10000"/>
                    <a:gd name="connsiteY20" fmla="*/ 1677 h 10000"/>
                    <a:gd name="connsiteX21" fmla="*/ 7281 w 10000"/>
                    <a:gd name="connsiteY21" fmla="*/ 1242 h 10000"/>
                    <a:gd name="connsiteX22" fmla="*/ 7105 w 10000"/>
                    <a:gd name="connsiteY22" fmla="*/ 870 h 10000"/>
                    <a:gd name="connsiteX23" fmla="*/ 6754 w 10000"/>
                    <a:gd name="connsiteY23" fmla="*/ 559 h 10000"/>
                    <a:gd name="connsiteX24" fmla="*/ 6404 w 10000"/>
                    <a:gd name="connsiteY24" fmla="*/ 311 h 10000"/>
                    <a:gd name="connsiteX25" fmla="*/ 5965 w 10000"/>
                    <a:gd name="connsiteY25" fmla="*/ 186 h 10000"/>
                    <a:gd name="connsiteX26" fmla="*/ 5526 w 10000"/>
                    <a:gd name="connsiteY26" fmla="*/ 0 h 10000"/>
                    <a:gd name="connsiteX27" fmla="*/ 5000 w 10000"/>
                    <a:gd name="connsiteY27" fmla="*/ 0 h 10000"/>
                    <a:gd name="connsiteX28" fmla="*/ 5000 w 10000"/>
                    <a:gd name="connsiteY28" fmla="*/ 0 h 10000"/>
                    <a:gd name="connsiteX29" fmla="*/ 4561 w 10000"/>
                    <a:gd name="connsiteY29" fmla="*/ 0 h 10000"/>
                    <a:gd name="connsiteX30" fmla="*/ 4123 w 10000"/>
                    <a:gd name="connsiteY30" fmla="*/ 186 h 10000"/>
                    <a:gd name="connsiteX31" fmla="*/ 3684 w 10000"/>
                    <a:gd name="connsiteY31" fmla="*/ 311 h 10000"/>
                    <a:gd name="connsiteX32" fmla="*/ 3246 w 10000"/>
                    <a:gd name="connsiteY32" fmla="*/ 559 h 10000"/>
                    <a:gd name="connsiteX33" fmla="*/ 2982 w 10000"/>
                    <a:gd name="connsiteY33" fmla="*/ 870 h 10000"/>
                    <a:gd name="connsiteX34" fmla="*/ 2719 w 10000"/>
                    <a:gd name="connsiteY34" fmla="*/ 1242 h 10000"/>
                    <a:gd name="connsiteX35" fmla="*/ 2544 w 10000"/>
                    <a:gd name="connsiteY35" fmla="*/ 1677 h 10000"/>
                    <a:gd name="connsiteX36" fmla="*/ 2544 w 10000"/>
                    <a:gd name="connsiteY36" fmla="*/ 2112 h 10000"/>
                    <a:gd name="connsiteX37" fmla="*/ 2544 w 10000"/>
                    <a:gd name="connsiteY37" fmla="*/ 2112 h 10000"/>
                    <a:gd name="connsiteX38" fmla="*/ 2632 w 10000"/>
                    <a:gd name="connsiteY38" fmla="*/ 2671 h 10000"/>
                    <a:gd name="connsiteX39" fmla="*/ 2982 w 10000"/>
                    <a:gd name="connsiteY39" fmla="*/ 3230 h 10000"/>
                    <a:gd name="connsiteX40" fmla="*/ 3421 w 10000"/>
                    <a:gd name="connsiteY40" fmla="*/ 3727 h 10000"/>
                    <a:gd name="connsiteX41" fmla="*/ 3860 w 10000"/>
                    <a:gd name="connsiteY41" fmla="*/ 4099 h 10000"/>
                    <a:gd name="connsiteX42" fmla="*/ 3860 w 10000"/>
                    <a:gd name="connsiteY42" fmla="*/ 4099 h 10000"/>
                    <a:gd name="connsiteX43" fmla="*/ 2895 w 10000"/>
                    <a:gd name="connsiteY43" fmla="*/ 4410 h 10000"/>
                    <a:gd name="connsiteX44" fmla="*/ 2105 w 10000"/>
                    <a:gd name="connsiteY44" fmla="*/ 4783 h 10000"/>
                    <a:gd name="connsiteX45" fmla="*/ 1404 w 10000"/>
                    <a:gd name="connsiteY45" fmla="*/ 5342 h 10000"/>
                    <a:gd name="connsiteX46" fmla="*/ 877 w 10000"/>
                    <a:gd name="connsiteY46" fmla="*/ 6087 h 10000"/>
                    <a:gd name="connsiteX47" fmla="*/ 439 w 10000"/>
                    <a:gd name="connsiteY47" fmla="*/ 6832 h 10000"/>
                    <a:gd name="connsiteX48" fmla="*/ 175 w 10000"/>
                    <a:gd name="connsiteY48" fmla="*/ 7702 h 10000"/>
                    <a:gd name="connsiteX49" fmla="*/ 0 w 10000"/>
                    <a:gd name="connsiteY49" fmla="*/ 8634 h 10000"/>
                    <a:gd name="connsiteX50" fmla="*/ 0 w 10000"/>
                    <a:gd name="connsiteY50" fmla="*/ 9689 h 10000"/>
                    <a:gd name="connsiteX0" fmla="*/ 4912 w 10000"/>
                    <a:gd name="connsiteY0" fmla="*/ 10000 h 10000"/>
                    <a:gd name="connsiteX1" fmla="*/ 9561 w 10000"/>
                    <a:gd name="connsiteY1" fmla="*/ 9814 h 10000"/>
                    <a:gd name="connsiteX2" fmla="*/ 9912 w 10000"/>
                    <a:gd name="connsiteY2" fmla="*/ 9752 h 10000"/>
                    <a:gd name="connsiteX3" fmla="*/ 10000 w 10000"/>
                    <a:gd name="connsiteY3" fmla="*/ 9689 h 10000"/>
                    <a:gd name="connsiteX4" fmla="*/ 10000 w 10000"/>
                    <a:gd name="connsiteY4" fmla="*/ 9689 h 10000"/>
                    <a:gd name="connsiteX5" fmla="*/ 10000 w 10000"/>
                    <a:gd name="connsiteY5" fmla="*/ 8634 h 10000"/>
                    <a:gd name="connsiteX6" fmla="*/ 9912 w 10000"/>
                    <a:gd name="connsiteY6" fmla="*/ 7702 h 10000"/>
                    <a:gd name="connsiteX7" fmla="*/ 9561 w 10000"/>
                    <a:gd name="connsiteY7" fmla="*/ 6832 h 10000"/>
                    <a:gd name="connsiteX8" fmla="*/ 9211 w 10000"/>
                    <a:gd name="connsiteY8" fmla="*/ 6087 h 10000"/>
                    <a:gd name="connsiteX9" fmla="*/ 8684 w 10000"/>
                    <a:gd name="connsiteY9" fmla="*/ 5342 h 10000"/>
                    <a:gd name="connsiteX10" fmla="*/ 7982 w 10000"/>
                    <a:gd name="connsiteY10" fmla="*/ 4783 h 10000"/>
                    <a:gd name="connsiteX11" fmla="*/ 7105 w 10000"/>
                    <a:gd name="connsiteY11" fmla="*/ 4410 h 10000"/>
                    <a:gd name="connsiteX12" fmla="*/ 6140 w 10000"/>
                    <a:gd name="connsiteY12" fmla="*/ 4099 h 10000"/>
                    <a:gd name="connsiteX13" fmla="*/ 6140 w 10000"/>
                    <a:gd name="connsiteY13" fmla="*/ 4099 h 10000"/>
                    <a:gd name="connsiteX14" fmla="*/ 6667 w 10000"/>
                    <a:gd name="connsiteY14" fmla="*/ 3727 h 10000"/>
                    <a:gd name="connsiteX15" fmla="*/ 7018 w 10000"/>
                    <a:gd name="connsiteY15" fmla="*/ 3230 h 10000"/>
                    <a:gd name="connsiteX16" fmla="*/ 7281 w 10000"/>
                    <a:gd name="connsiteY16" fmla="*/ 2671 h 10000"/>
                    <a:gd name="connsiteX17" fmla="*/ 7544 w 10000"/>
                    <a:gd name="connsiteY17" fmla="*/ 2112 h 10000"/>
                    <a:gd name="connsiteX18" fmla="*/ 7544 w 10000"/>
                    <a:gd name="connsiteY18" fmla="*/ 2112 h 10000"/>
                    <a:gd name="connsiteX19" fmla="*/ 7456 w 10000"/>
                    <a:gd name="connsiteY19" fmla="*/ 1677 h 10000"/>
                    <a:gd name="connsiteX20" fmla="*/ 7281 w 10000"/>
                    <a:gd name="connsiteY20" fmla="*/ 1242 h 10000"/>
                    <a:gd name="connsiteX21" fmla="*/ 7105 w 10000"/>
                    <a:gd name="connsiteY21" fmla="*/ 870 h 10000"/>
                    <a:gd name="connsiteX22" fmla="*/ 6754 w 10000"/>
                    <a:gd name="connsiteY22" fmla="*/ 559 h 10000"/>
                    <a:gd name="connsiteX23" fmla="*/ 6404 w 10000"/>
                    <a:gd name="connsiteY23" fmla="*/ 311 h 10000"/>
                    <a:gd name="connsiteX24" fmla="*/ 5965 w 10000"/>
                    <a:gd name="connsiteY24" fmla="*/ 186 h 10000"/>
                    <a:gd name="connsiteX25" fmla="*/ 5526 w 10000"/>
                    <a:gd name="connsiteY25" fmla="*/ 0 h 10000"/>
                    <a:gd name="connsiteX26" fmla="*/ 5000 w 10000"/>
                    <a:gd name="connsiteY26" fmla="*/ 0 h 10000"/>
                    <a:gd name="connsiteX27" fmla="*/ 5000 w 10000"/>
                    <a:gd name="connsiteY27" fmla="*/ 0 h 10000"/>
                    <a:gd name="connsiteX28" fmla="*/ 4561 w 10000"/>
                    <a:gd name="connsiteY28" fmla="*/ 0 h 10000"/>
                    <a:gd name="connsiteX29" fmla="*/ 4123 w 10000"/>
                    <a:gd name="connsiteY29" fmla="*/ 186 h 10000"/>
                    <a:gd name="connsiteX30" fmla="*/ 3684 w 10000"/>
                    <a:gd name="connsiteY30" fmla="*/ 311 h 10000"/>
                    <a:gd name="connsiteX31" fmla="*/ 3246 w 10000"/>
                    <a:gd name="connsiteY31" fmla="*/ 559 h 10000"/>
                    <a:gd name="connsiteX32" fmla="*/ 2982 w 10000"/>
                    <a:gd name="connsiteY32" fmla="*/ 870 h 10000"/>
                    <a:gd name="connsiteX33" fmla="*/ 2719 w 10000"/>
                    <a:gd name="connsiteY33" fmla="*/ 1242 h 10000"/>
                    <a:gd name="connsiteX34" fmla="*/ 2544 w 10000"/>
                    <a:gd name="connsiteY34" fmla="*/ 1677 h 10000"/>
                    <a:gd name="connsiteX35" fmla="*/ 2544 w 10000"/>
                    <a:gd name="connsiteY35" fmla="*/ 2112 h 10000"/>
                    <a:gd name="connsiteX36" fmla="*/ 2544 w 10000"/>
                    <a:gd name="connsiteY36" fmla="*/ 2112 h 10000"/>
                    <a:gd name="connsiteX37" fmla="*/ 2632 w 10000"/>
                    <a:gd name="connsiteY37" fmla="*/ 2671 h 10000"/>
                    <a:gd name="connsiteX38" fmla="*/ 2982 w 10000"/>
                    <a:gd name="connsiteY38" fmla="*/ 3230 h 10000"/>
                    <a:gd name="connsiteX39" fmla="*/ 3421 w 10000"/>
                    <a:gd name="connsiteY39" fmla="*/ 3727 h 10000"/>
                    <a:gd name="connsiteX40" fmla="*/ 3860 w 10000"/>
                    <a:gd name="connsiteY40" fmla="*/ 4099 h 10000"/>
                    <a:gd name="connsiteX41" fmla="*/ 3860 w 10000"/>
                    <a:gd name="connsiteY41" fmla="*/ 4099 h 10000"/>
                    <a:gd name="connsiteX42" fmla="*/ 2895 w 10000"/>
                    <a:gd name="connsiteY42" fmla="*/ 4410 h 10000"/>
                    <a:gd name="connsiteX43" fmla="*/ 2105 w 10000"/>
                    <a:gd name="connsiteY43" fmla="*/ 4783 h 10000"/>
                    <a:gd name="connsiteX44" fmla="*/ 1404 w 10000"/>
                    <a:gd name="connsiteY44" fmla="*/ 5342 h 10000"/>
                    <a:gd name="connsiteX45" fmla="*/ 877 w 10000"/>
                    <a:gd name="connsiteY45" fmla="*/ 6087 h 10000"/>
                    <a:gd name="connsiteX46" fmla="*/ 439 w 10000"/>
                    <a:gd name="connsiteY46" fmla="*/ 6832 h 10000"/>
                    <a:gd name="connsiteX47" fmla="*/ 175 w 10000"/>
                    <a:gd name="connsiteY47" fmla="*/ 7702 h 10000"/>
                    <a:gd name="connsiteX48" fmla="*/ 0 w 10000"/>
                    <a:gd name="connsiteY48" fmla="*/ 8634 h 10000"/>
                    <a:gd name="connsiteX49" fmla="*/ 0 w 10000"/>
                    <a:gd name="connsiteY49" fmla="*/ 9689 h 10000"/>
                    <a:gd name="connsiteX0" fmla="*/ 9561 w 10000"/>
                    <a:gd name="connsiteY0" fmla="*/ 9814 h 9814"/>
                    <a:gd name="connsiteX1" fmla="*/ 9912 w 10000"/>
                    <a:gd name="connsiteY1" fmla="*/ 9752 h 9814"/>
                    <a:gd name="connsiteX2" fmla="*/ 10000 w 10000"/>
                    <a:gd name="connsiteY2" fmla="*/ 9689 h 9814"/>
                    <a:gd name="connsiteX3" fmla="*/ 10000 w 10000"/>
                    <a:gd name="connsiteY3" fmla="*/ 9689 h 9814"/>
                    <a:gd name="connsiteX4" fmla="*/ 10000 w 10000"/>
                    <a:gd name="connsiteY4" fmla="*/ 8634 h 9814"/>
                    <a:gd name="connsiteX5" fmla="*/ 9912 w 10000"/>
                    <a:gd name="connsiteY5" fmla="*/ 7702 h 9814"/>
                    <a:gd name="connsiteX6" fmla="*/ 9561 w 10000"/>
                    <a:gd name="connsiteY6" fmla="*/ 6832 h 9814"/>
                    <a:gd name="connsiteX7" fmla="*/ 9211 w 10000"/>
                    <a:gd name="connsiteY7" fmla="*/ 6087 h 9814"/>
                    <a:gd name="connsiteX8" fmla="*/ 8684 w 10000"/>
                    <a:gd name="connsiteY8" fmla="*/ 5342 h 9814"/>
                    <a:gd name="connsiteX9" fmla="*/ 7982 w 10000"/>
                    <a:gd name="connsiteY9" fmla="*/ 4783 h 9814"/>
                    <a:gd name="connsiteX10" fmla="*/ 7105 w 10000"/>
                    <a:gd name="connsiteY10" fmla="*/ 4410 h 9814"/>
                    <a:gd name="connsiteX11" fmla="*/ 6140 w 10000"/>
                    <a:gd name="connsiteY11" fmla="*/ 4099 h 9814"/>
                    <a:gd name="connsiteX12" fmla="*/ 6140 w 10000"/>
                    <a:gd name="connsiteY12" fmla="*/ 4099 h 9814"/>
                    <a:gd name="connsiteX13" fmla="*/ 6667 w 10000"/>
                    <a:gd name="connsiteY13" fmla="*/ 3727 h 9814"/>
                    <a:gd name="connsiteX14" fmla="*/ 7018 w 10000"/>
                    <a:gd name="connsiteY14" fmla="*/ 3230 h 9814"/>
                    <a:gd name="connsiteX15" fmla="*/ 7281 w 10000"/>
                    <a:gd name="connsiteY15" fmla="*/ 2671 h 9814"/>
                    <a:gd name="connsiteX16" fmla="*/ 7544 w 10000"/>
                    <a:gd name="connsiteY16" fmla="*/ 2112 h 9814"/>
                    <a:gd name="connsiteX17" fmla="*/ 7544 w 10000"/>
                    <a:gd name="connsiteY17" fmla="*/ 2112 h 9814"/>
                    <a:gd name="connsiteX18" fmla="*/ 7456 w 10000"/>
                    <a:gd name="connsiteY18" fmla="*/ 1677 h 9814"/>
                    <a:gd name="connsiteX19" fmla="*/ 7281 w 10000"/>
                    <a:gd name="connsiteY19" fmla="*/ 1242 h 9814"/>
                    <a:gd name="connsiteX20" fmla="*/ 7105 w 10000"/>
                    <a:gd name="connsiteY20" fmla="*/ 870 h 9814"/>
                    <a:gd name="connsiteX21" fmla="*/ 6754 w 10000"/>
                    <a:gd name="connsiteY21" fmla="*/ 559 h 9814"/>
                    <a:gd name="connsiteX22" fmla="*/ 6404 w 10000"/>
                    <a:gd name="connsiteY22" fmla="*/ 311 h 9814"/>
                    <a:gd name="connsiteX23" fmla="*/ 5965 w 10000"/>
                    <a:gd name="connsiteY23" fmla="*/ 186 h 9814"/>
                    <a:gd name="connsiteX24" fmla="*/ 5526 w 10000"/>
                    <a:gd name="connsiteY24" fmla="*/ 0 h 9814"/>
                    <a:gd name="connsiteX25" fmla="*/ 5000 w 10000"/>
                    <a:gd name="connsiteY25" fmla="*/ 0 h 9814"/>
                    <a:gd name="connsiteX26" fmla="*/ 5000 w 10000"/>
                    <a:gd name="connsiteY26" fmla="*/ 0 h 9814"/>
                    <a:gd name="connsiteX27" fmla="*/ 4561 w 10000"/>
                    <a:gd name="connsiteY27" fmla="*/ 0 h 9814"/>
                    <a:gd name="connsiteX28" fmla="*/ 4123 w 10000"/>
                    <a:gd name="connsiteY28" fmla="*/ 186 h 9814"/>
                    <a:gd name="connsiteX29" fmla="*/ 3684 w 10000"/>
                    <a:gd name="connsiteY29" fmla="*/ 311 h 9814"/>
                    <a:gd name="connsiteX30" fmla="*/ 3246 w 10000"/>
                    <a:gd name="connsiteY30" fmla="*/ 559 h 9814"/>
                    <a:gd name="connsiteX31" fmla="*/ 2982 w 10000"/>
                    <a:gd name="connsiteY31" fmla="*/ 870 h 9814"/>
                    <a:gd name="connsiteX32" fmla="*/ 2719 w 10000"/>
                    <a:gd name="connsiteY32" fmla="*/ 1242 h 9814"/>
                    <a:gd name="connsiteX33" fmla="*/ 2544 w 10000"/>
                    <a:gd name="connsiteY33" fmla="*/ 1677 h 9814"/>
                    <a:gd name="connsiteX34" fmla="*/ 2544 w 10000"/>
                    <a:gd name="connsiteY34" fmla="*/ 2112 h 9814"/>
                    <a:gd name="connsiteX35" fmla="*/ 2544 w 10000"/>
                    <a:gd name="connsiteY35" fmla="*/ 2112 h 9814"/>
                    <a:gd name="connsiteX36" fmla="*/ 2632 w 10000"/>
                    <a:gd name="connsiteY36" fmla="*/ 2671 h 9814"/>
                    <a:gd name="connsiteX37" fmla="*/ 2982 w 10000"/>
                    <a:gd name="connsiteY37" fmla="*/ 3230 h 9814"/>
                    <a:gd name="connsiteX38" fmla="*/ 3421 w 10000"/>
                    <a:gd name="connsiteY38" fmla="*/ 3727 h 9814"/>
                    <a:gd name="connsiteX39" fmla="*/ 3860 w 10000"/>
                    <a:gd name="connsiteY39" fmla="*/ 4099 h 9814"/>
                    <a:gd name="connsiteX40" fmla="*/ 3860 w 10000"/>
                    <a:gd name="connsiteY40" fmla="*/ 4099 h 9814"/>
                    <a:gd name="connsiteX41" fmla="*/ 2895 w 10000"/>
                    <a:gd name="connsiteY41" fmla="*/ 4410 h 9814"/>
                    <a:gd name="connsiteX42" fmla="*/ 2105 w 10000"/>
                    <a:gd name="connsiteY42" fmla="*/ 4783 h 9814"/>
                    <a:gd name="connsiteX43" fmla="*/ 1404 w 10000"/>
                    <a:gd name="connsiteY43" fmla="*/ 5342 h 9814"/>
                    <a:gd name="connsiteX44" fmla="*/ 877 w 10000"/>
                    <a:gd name="connsiteY44" fmla="*/ 6087 h 9814"/>
                    <a:gd name="connsiteX45" fmla="*/ 439 w 10000"/>
                    <a:gd name="connsiteY45" fmla="*/ 6832 h 9814"/>
                    <a:gd name="connsiteX46" fmla="*/ 175 w 10000"/>
                    <a:gd name="connsiteY46" fmla="*/ 7702 h 9814"/>
                    <a:gd name="connsiteX47" fmla="*/ 0 w 10000"/>
                    <a:gd name="connsiteY47" fmla="*/ 8634 h 9814"/>
                    <a:gd name="connsiteX48" fmla="*/ 0 w 10000"/>
                    <a:gd name="connsiteY48" fmla="*/ 9689 h 9814"/>
                    <a:gd name="connsiteX0" fmla="*/ 9912 w 10000"/>
                    <a:gd name="connsiteY0" fmla="*/ 9937 h 9937"/>
                    <a:gd name="connsiteX1" fmla="*/ 10000 w 10000"/>
                    <a:gd name="connsiteY1" fmla="*/ 9873 h 9937"/>
                    <a:gd name="connsiteX2" fmla="*/ 10000 w 10000"/>
                    <a:gd name="connsiteY2" fmla="*/ 9873 h 9937"/>
                    <a:gd name="connsiteX3" fmla="*/ 10000 w 10000"/>
                    <a:gd name="connsiteY3" fmla="*/ 8798 h 9937"/>
                    <a:gd name="connsiteX4" fmla="*/ 9912 w 10000"/>
                    <a:gd name="connsiteY4" fmla="*/ 7848 h 9937"/>
                    <a:gd name="connsiteX5" fmla="*/ 9561 w 10000"/>
                    <a:gd name="connsiteY5" fmla="*/ 6961 h 9937"/>
                    <a:gd name="connsiteX6" fmla="*/ 9211 w 10000"/>
                    <a:gd name="connsiteY6" fmla="*/ 6202 h 9937"/>
                    <a:gd name="connsiteX7" fmla="*/ 8684 w 10000"/>
                    <a:gd name="connsiteY7" fmla="*/ 5443 h 9937"/>
                    <a:gd name="connsiteX8" fmla="*/ 7982 w 10000"/>
                    <a:gd name="connsiteY8" fmla="*/ 4874 h 9937"/>
                    <a:gd name="connsiteX9" fmla="*/ 7105 w 10000"/>
                    <a:gd name="connsiteY9" fmla="*/ 4494 h 9937"/>
                    <a:gd name="connsiteX10" fmla="*/ 6140 w 10000"/>
                    <a:gd name="connsiteY10" fmla="*/ 4177 h 9937"/>
                    <a:gd name="connsiteX11" fmla="*/ 6140 w 10000"/>
                    <a:gd name="connsiteY11" fmla="*/ 4177 h 9937"/>
                    <a:gd name="connsiteX12" fmla="*/ 6667 w 10000"/>
                    <a:gd name="connsiteY12" fmla="*/ 3798 h 9937"/>
                    <a:gd name="connsiteX13" fmla="*/ 7018 w 10000"/>
                    <a:gd name="connsiteY13" fmla="*/ 3291 h 9937"/>
                    <a:gd name="connsiteX14" fmla="*/ 7281 w 10000"/>
                    <a:gd name="connsiteY14" fmla="*/ 2722 h 9937"/>
                    <a:gd name="connsiteX15" fmla="*/ 7544 w 10000"/>
                    <a:gd name="connsiteY15" fmla="*/ 2152 h 9937"/>
                    <a:gd name="connsiteX16" fmla="*/ 7544 w 10000"/>
                    <a:gd name="connsiteY16" fmla="*/ 2152 h 9937"/>
                    <a:gd name="connsiteX17" fmla="*/ 7456 w 10000"/>
                    <a:gd name="connsiteY17" fmla="*/ 1709 h 9937"/>
                    <a:gd name="connsiteX18" fmla="*/ 7281 w 10000"/>
                    <a:gd name="connsiteY18" fmla="*/ 1266 h 9937"/>
                    <a:gd name="connsiteX19" fmla="*/ 7105 w 10000"/>
                    <a:gd name="connsiteY19" fmla="*/ 886 h 9937"/>
                    <a:gd name="connsiteX20" fmla="*/ 6754 w 10000"/>
                    <a:gd name="connsiteY20" fmla="*/ 570 h 9937"/>
                    <a:gd name="connsiteX21" fmla="*/ 6404 w 10000"/>
                    <a:gd name="connsiteY21" fmla="*/ 317 h 9937"/>
                    <a:gd name="connsiteX22" fmla="*/ 5965 w 10000"/>
                    <a:gd name="connsiteY22" fmla="*/ 190 h 9937"/>
                    <a:gd name="connsiteX23" fmla="*/ 5526 w 10000"/>
                    <a:gd name="connsiteY23" fmla="*/ 0 h 9937"/>
                    <a:gd name="connsiteX24" fmla="*/ 5000 w 10000"/>
                    <a:gd name="connsiteY24" fmla="*/ 0 h 9937"/>
                    <a:gd name="connsiteX25" fmla="*/ 5000 w 10000"/>
                    <a:gd name="connsiteY25" fmla="*/ 0 h 9937"/>
                    <a:gd name="connsiteX26" fmla="*/ 4561 w 10000"/>
                    <a:gd name="connsiteY26" fmla="*/ 0 h 9937"/>
                    <a:gd name="connsiteX27" fmla="*/ 4123 w 10000"/>
                    <a:gd name="connsiteY27" fmla="*/ 190 h 9937"/>
                    <a:gd name="connsiteX28" fmla="*/ 3684 w 10000"/>
                    <a:gd name="connsiteY28" fmla="*/ 317 h 9937"/>
                    <a:gd name="connsiteX29" fmla="*/ 3246 w 10000"/>
                    <a:gd name="connsiteY29" fmla="*/ 570 h 9937"/>
                    <a:gd name="connsiteX30" fmla="*/ 2982 w 10000"/>
                    <a:gd name="connsiteY30" fmla="*/ 886 h 9937"/>
                    <a:gd name="connsiteX31" fmla="*/ 2719 w 10000"/>
                    <a:gd name="connsiteY31" fmla="*/ 1266 h 9937"/>
                    <a:gd name="connsiteX32" fmla="*/ 2544 w 10000"/>
                    <a:gd name="connsiteY32" fmla="*/ 1709 h 9937"/>
                    <a:gd name="connsiteX33" fmla="*/ 2544 w 10000"/>
                    <a:gd name="connsiteY33" fmla="*/ 2152 h 9937"/>
                    <a:gd name="connsiteX34" fmla="*/ 2544 w 10000"/>
                    <a:gd name="connsiteY34" fmla="*/ 2152 h 9937"/>
                    <a:gd name="connsiteX35" fmla="*/ 2632 w 10000"/>
                    <a:gd name="connsiteY35" fmla="*/ 2722 h 9937"/>
                    <a:gd name="connsiteX36" fmla="*/ 2982 w 10000"/>
                    <a:gd name="connsiteY36" fmla="*/ 3291 h 9937"/>
                    <a:gd name="connsiteX37" fmla="*/ 3421 w 10000"/>
                    <a:gd name="connsiteY37" fmla="*/ 3798 h 9937"/>
                    <a:gd name="connsiteX38" fmla="*/ 3860 w 10000"/>
                    <a:gd name="connsiteY38" fmla="*/ 4177 h 9937"/>
                    <a:gd name="connsiteX39" fmla="*/ 3860 w 10000"/>
                    <a:gd name="connsiteY39" fmla="*/ 4177 h 9937"/>
                    <a:gd name="connsiteX40" fmla="*/ 2895 w 10000"/>
                    <a:gd name="connsiteY40" fmla="*/ 4494 h 9937"/>
                    <a:gd name="connsiteX41" fmla="*/ 2105 w 10000"/>
                    <a:gd name="connsiteY41" fmla="*/ 4874 h 9937"/>
                    <a:gd name="connsiteX42" fmla="*/ 1404 w 10000"/>
                    <a:gd name="connsiteY42" fmla="*/ 5443 h 9937"/>
                    <a:gd name="connsiteX43" fmla="*/ 877 w 10000"/>
                    <a:gd name="connsiteY43" fmla="*/ 6202 h 9937"/>
                    <a:gd name="connsiteX44" fmla="*/ 439 w 10000"/>
                    <a:gd name="connsiteY44" fmla="*/ 6961 h 9937"/>
                    <a:gd name="connsiteX45" fmla="*/ 175 w 10000"/>
                    <a:gd name="connsiteY45" fmla="*/ 7848 h 9937"/>
                    <a:gd name="connsiteX46" fmla="*/ 0 w 10000"/>
                    <a:gd name="connsiteY46" fmla="*/ 8798 h 9937"/>
                    <a:gd name="connsiteX47" fmla="*/ 0 w 10000"/>
                    <a:gd name="connsiteY47" fmla="*/ 9873 h 9937"/>
                    <a:gd name="connsiteX0" fmla="*/ 9912 w 10000"/>
                    <a:gd name="connsiteY0" fmla="*/ 10000 h 10000"/>
                    <a:gd name="connsiteX1" fmla="*/ 10000 w 10000"/>
                    <a:gd name="connsiteY1" fmla="*/ 9936 h 10000"/>
                    <a:gd name="connsiteX2" fmla="*/ 10000 w 10000"/>
                    <a:gd name="connsiteY2" fmla="*/ 8854 h 10000"/>
                    <a:gd name="connsiteX3" fmla="*/ 9912 w 10000"/>
                    <a:gd name="connsiteY3" fmla="*/ 7898 h 10000"/>
                    <a:gd name="connsiteX4" fmla="*/ 9561 w 10000"/>
                    <a:gd name="connsiteY4" fmla="*/ 7005 h 10000"/>
                    <a:gd name="connsiteX5" fmla="*/ 9211 w 10000"/>
                    <a:gd name="connsiteY5" fmla="*/ 6241 h 10000"/>
                    <a:gd name="connsiteX6" fmla="*/ 8684 w 10000"/>
                    <a:gd name="connsiteY6" fmla="*/ 5478 h 10000"/>
                    <a:gd name="connsiteX7" fmla="*/ 7982 w 10000"/>
                    <a:gd name="connsiteY7" fmla="*/ 4905 h 10000"/>
                    <a:gd name="connsiteX8" fmla="*/ 7105 w 10000"/>
                    <a:gd name="connsiteY8" fmla="*/ 4522 h 10000"/>
                    <a:gd name="connsiteX9" fmla="*/ 6140 w 10000"/>
                    <a:gd name="connsiteY9" fmla="*/ 4203 h 10000"/>
                    <a:gd name="connsiteX10" fmla="*/ 6140 w 10000"/>
                    <a:gd name="connsiteY10" fmla="*/ 4203 h 10000"/>
                    <a:gd name="connsiteX11" fmla="*/ 6667 w 10000"/>
                    <a:gd name="connsiteY11" fmla="*/ 3822 h 10000"/>
                    <a:gd name="connsiteX12" fmla="*/ 7018 w 10000"/>
                    <a:gd name="connsiteY12" fmla="*/ 3312 h 10000"/>
                    <a:gd name="connsiteX13" fmla="*/ 7281 w 10000"/>
                    <a:gd name="connsiteY13" fmla="*/ 2739 h 10000"/>
                    <a:gd name="connsiteX14" fmla="*/ 7544 w 10000"/>
                    <a:gd name="connsiteY14" fmla="*/ 2166 h 10000"/>
                    <a:gd name="connsiteX15" fmla="*/ 7544 w 10000"/>
                    <a:gd name="connsiteY15" fmla="*/ 2166 h 10000"/>
                    <a:gd name="connsiteX16" fmla="*/ 7456 w 10000"/>
                    <a:gd name="connsiteY16" fmla="*/ 1720 h 10000"/>
                    <a:gd name="connsiteX17" fmla="*/ 7281 w 10000"/>
                    <a:gd name="connsiteY17" fmla="*/ 1274 h 10000"/>
                    <a:gd name="connsiteX18" fmla="*/ 7105 w 10000"/>
                    <a:gd name="connsiteY18" fmla="*/ 892 h 10000"/>
                    <a:gd name="connsiteX19" fmla="*/ 6754 w 10000"/>
                    <a:gd name="connsiteY19" fmla="*/ 574 h 10000"/>
                    <a:gd name="connsiteX20" fmla="*/ 6404 w 10000"/>
                    <a:gd name="connsiteY20" fmla="*/ 319 h 10000"/>
                    <a:gd name="connsiteX21" fmla="*/ 5965 w 10000"/>
                    <a:gd name="connsiteY21" fmla="*/ 191 h 10000"/>
                    <a:gd name="connsiteX22" fmla="*/ 5526 w 10000"/>
                    <a:gd name="connsiteY22" fmla="*/ 0 h 10000"/>
                    <a:gd name="connsiteX23" fmla="*/ 5000 w 10000"/>
                    <a:gd name="connsiteY23" fmla="*/ 0 h 10000"/>
                    <a:gd name="connsiteX24" fmla="*/ 5000 w 10000"/>
                    <a:gd name="connsiteY24" fmla="*/ 0 h 10000"/>
                    <a:gd name="connsiteX25" fmla="*/ 4561 w 10000"/>
                    <a:gd name="connsiteY25" fmla="*/ 0 h 10000"/>
                    <a:gd name="connsiteX26" fmla="*/ 4123 w 10000"/>
                    <a:gd name="connsiteY26" fmla="*/ 191 h 10000"/>
                    <a:gd name="connsiteX27" fmla="*/ 3684 w 10000"/>
                    <a:gd name="connsiteY27" fmla="*/ 319 h 10000"/>
                    <a:gd name="connsiteX28" fmla="*/ 3246 w 10000"/>
                    <a:gd name="connsiteY28" fmla="*/ 574 h 10000"/>
                    <a:gd name="connsiteX29" fmla="*/ 2982 w 10000"/>
                    <a:gd name="connsiteY29" fmla="*/ 892 h 10000"/>
                    <a:gd name="connsiteX30" fmla="*/ 2719 w 10000"/>
                    <a:gd name="connsiteY30" fmla="*/ 1274 h 10000"/>
                    <a:gd name="connsiteX31" fmla="*/ 2544 w 10000"/>
                    <a:gd name="connsiteY31" fmla="*/ 1720 h 10000"/>
                    <a:gd name="connsiteX32" fmla="*/ 2544 w 10000"/>
                    <a:gd name="connsiteY32" fmla="*/ 2166 h 10000"/>
                    <a:gd name="connsiteX33" fmla="*/ 2544 w 10000"/>
                    <a:gd name="connsiteY33" fmla="*/ 2166 h 10000"/>
                    <a:gd name="connsiteX34" fmla="*/ 2632 w 10000"/>
                    <a:gd name="connsiteY34" fmla="*/ 2739 h 10000"/>
                    <a:gd name="connsiteX35" fmla="*/ 2982 w 10000"/>
                    <a:gd name="connsiteY35" fmla="*/ 3312 h 10000"/>
                    <a:gd name="connsiteX36" fmla="*/ 3421 w 10000"/>
                    <a:gd name="connsiteY36" fmla="*/ 3822 h 10000"/>
                    <a:gd name="connsiteX37" fmla="*/ 3860 w 10000"/>
                    <a:gd name="connsiteY37" fmla="*/ 4203 h 10000"/>
                    <a:gd name="connsiteX38" fmla="*/ 3860 w 10000"/>
                    <a:gd name="connsiteY38" fmla="*/ 4203 h 10000"/>
                    <a:gd name="connsiteX39" fmla="*/ 2895 w 10000"/>
                    <a:gd name="connsiteY39" fmla="*/ 4522 h 10000"/>
                    <a:gd name="connsiteX40" fmla="*/ 2105 w 10000"/>
                    <a:gd name="connsiteY40" fmla="*/ 4905 h 10000"/>
                    <a:gd name="connsiteX41" fmla="*/ 1404 w 10000"/>
                    <a:gd name="connsiteY41" fmla="*/ 5478 h 10000"/>
                    <a:gd name="connsiteX42" fmla="*/ 877 w 10000"/>
                    <a:gd name="connsiteY42" fmla="*/ 6241 h 10000"/>
                    <a:gd name="connsiteX43" fmla="*/ 439 w 10000"/>
                    <a:gd name="connsiteY43" fmla="*/ 7005 h 10000"/>
                    <a:gd name="connsiteX44" fmla="*/ 175 w 10000"/>
                    <a:gd name="connsiteY44" fmla="*/ 7898 h 10000"/>
                    <a:gd name="connsiteX45" fmla="*/ 0 w 10000"/>
                    <a:gd name="connsiteY45" fmla="*/ 8854 h 10000"/>
                    <a:gd name="connsiteX46" fmla="*/ 0 w 10000"/>
                    <a:gd name="connsiteY46" fmla="*/ 9936 h 10000"/>
                    <a:gd name="connsiteX0" fmla="*/ 9912 w 10000"/>
                    <a:gd name="connsiteY0" fmla="*/ 10000 h 10000"/>
                    <a:gd name="connsiteX1" fmla="*/ 10000 w 10000"/>
                    <a:gd name="connsiteY1" fmla="*/ 8854 h 10000"/>
                    <a:gd name="connsiteX2" fmla="*/ 9912 w 10000"/>
                    <a:gd name="connsiteY2" fmla="*/ 7898 h 10000"/>
                    <a:gd name="connsiteX3" fmla="*/ 9561 w 10000"/>
                    <a:gd name="connsiteY3" fmla="*/ 7005 h 10000"/>
                    <a:gd name="connsiteX4" fmla="*/ 9211 w 10000"/>
                    <a:gd name="connsiteY4" fmla="*/ 6241 h 10000"/>
                    <a:gd name="connsiteX5" fmla="*/ 8684 w 10000"/>
                    <a:gd name="connsiteY5" fmla="*/ 5478 h 10000"/>
                    <a:gd name="connsiteX6" fmla="*/ 7982 w 10000"/>
                    <a:gd name="connsiteY6" fmla="*/ 4905 h 10000"/>
                    <a:gd name="connsiteX7" fmla="*/ 7105 w 10000"/>
                    <a:gd name="connsiteY7" fmla="*/ 4522 h 10000"/>
                    <a:gd name="connsiteX8" fmla="*/ 6140 w 10000"/>
                    <a:gd name="connsiteY8" fmla="*/ 4203 h 10000"/>
                    <a:gd name="connsiteX9" fmla="*/ 6140 w 10000"/>
                    <a:gd name="connsiteY9" fmla="*/ 4203 h 10000"/>
                    <a:gd name="connsiteX10" fmla="*/ 6667 w 10000"/>
                    <a:gd name="connsiteY10" fmla="*/ 3822 h 10000"/>
                    <a:gd name="connsiteX11" fmla="*/ 7018 w 10000"/>
                    <a:gd name="connsiteY11" fmla="*/ 3312 h 10000"/>
                    <a:gd name="connsiteX12" fmla="*/ 7281 w 10000"/>
                    <a:gd name="connsiteY12" fmla="*/ 2739 h 10000"/>
                    <a:gd name="connsiteX13" fmla="*/ 7544 w 10000"/>
                    <a:gd name="connsiteY13" fmla="*/ 2166 h 10000"/>
                    <a:gd name="connsiteX14" fmla="*/ 7544 w 10000"/>
                    <a:gd name="connsiteY14" fmla="*/ 2166 h 10000"/>
                    <a:gd name="connsiteX15" fmla="*/ 7456 w 10000"/>
                    <a:gd name="connsiteY15" fmla="*/ 1720 h 10000"/>
                    <a:gd name="connsiteX16" fmla="*/ 7281 w 10000"/>
                    <a:gd name="connsiteY16" fmla="*/ 1274 h 10000"/>
                    <a:gd name="connsiteX17" fmla="*/ 7105 w 10000"/>
                    <a:gd name="connsiteY17" fmla="*/ 892 h 10000"/>
                    <a:gd name="connsiteX18" fmla="*/ 6754 w 10000"/>
                    <a:gd name="connsiteY18" fmla="*/ 574 h 10000"/>
                    <a:gd name="connsiteX19" fmla="*/ 6404 w 10000"/>
                    <a:gd name="connsiteY19" fmla="*/ 319 h 10000"/>
                    <a:gd name="connsiteX20" fmla="*/ 5965 w 10000"/>
                    <a:gd name="connsiteY20" fmla="*/ 191 h 10000"/>
                    <a:gd name="connsiteX21" fmla="*/ 5526 w 10000"/>
                    <a:gd name="connsiteY21" fmla="*/ 0 h 10000"/>
                    <a:gd name="connsiteX22" fmla="*/ 5000 w 10000"/>
                    <a:gd name="connsiteY22" fmla="*/ 0 h 10000"/>
                    <a:gd name="connsiteX23" fmla="*/ 5000 w 10000"/>
                    <a:gd name="connsiteY23" fmla="*/ 0 h 10000"/>
                    <a:gd name="connsiteX24" fmla="*/ 4561 w 10000"/>
                    <a:gd name="connsiteY24" fmla="*/ 0 h 10000"/>
                    <a:gd name="connsiteX25" fmla="*/ 4123 w 10000"/>
                    <a:gd name="connsiteY25" fmla="*/ 191 h 10000"/>
                    <a:gd name="connsiteX26" fmla="*/ 3684 w 10000"/>
                    <a:gd name="connsiteY26" fmla="*/ 319 h 10000"/>
                    <a:gd name="connsiteX27" fmla="*/ 3246 w 10000"/>
                    <a:gd name="connsiteY27" fmla="*/ 574 h 10000"/>
                    <a:gd name="connsiteX28" fmla="*/ 2982 w 10000"/>
                    <a:gd name="connsiteY28" fmla="*/ 892 h 10000"/>
                    <a:gd name="connsiteX29" fmla="*/ 2719 w 10000"/>
                    <a:gd name="connsiteY29" fmla="*/ 1274 h 10000"/>
                    <a:gd name="connsiteX30" fmla="*/ 2544 w 10000"/>
                    <a:gd name="connsiteY30" fmla="*/ 1720 h 10000"/>
                    <a:gd name="connsiteX31" fmla="*/ 2544 w 10000"/>
                    <a:gd name="connsiteY31" fmla="*/ 2166 h 10000"/>
                    <a:gd name="connsiteX32" fmla="*/ 2544 w 10000"/>
                    <a:gd name="connsiteY32" fmla="*/ 2166 h 10000"/>
                    <a:gd name="connsiteX33" fmla="*/ 2632 w 10000"/>
                    <a:gd name="connsiteY33" fmla="*/ 2739 h 10000"/>
                    <a:gd name="connsiteX34" fmla="*/ 2982 w 10000"/>
                    <a:gd name="connsiteY34" fmla="*/ 3312 h 10000"/>
                    <a:gd name="connsiteX35" fmla="*/ 3421 w 10000"/>
                    <a:gd name="connsiteY35" fmla="*/ 3822 h 10000"/>
                    <a:gd name="connsiteX36" fmla="*/ 3860 w 10000"/>
                    <a:gd name="connsiteY36" fmla="*/ 4203 h 10000"/>
                    <a:gd name="connsiteX37" fmla="*/ 3860 w 10000"/>
                    <a:gd name="connsiteY37" fmla="*/ 4203 h 10000"/>
                    <a:gd name="connsiteX38" fmla="*/ 2895 w 10000"/>
                    <a:gd name="connsiteY38" fmla="*/ 4522 h 10000"/>
                    <a:gd name="connsiteX39" fmla="*/ 2105 w 10000"/>
                    <a:gd name="connsiteY39" fmla="*/ 4905 h 10000"/>
                    <a:gd name="connsiteX40" fmla="*/ 1404 w 10000"/>
                    <a:gd name="connsiteY40" fmla="*/ 5478 h 10000"/>
                    <a:gd name="connsiteX41" fmla="*/ 877 w 10000"/>
                    <a:gd name="connsiteY41" fmla="*/ 6241 h 10000"/>
                    <a:gd name="connsiteX42" fmla="*/ 439 w 10000"/>
                    <a:gd name="connsiteY42" fmla="*/ 7005 h 10000"/>
                    <a:gd name="connsiteX43" fmla="*/ 175 w 10000"/>
                    <a:gd name="connsiteY43" fmla="*/ 7898 h 10000"/>
                    <a:gd name="connsiteX44" fmla="*/ 0 w 10000"/>
                    <a:gd name="connsiteY44" fmla="*/ 8854 h 10000"/>
                    <a:gd name="connsiteX45" fmla="*/ 0 w 10000"/>
                    <a:gd name="connsiteY45" fmla="*/ 9936 h 10000"/>
                    <a:gd name="connsiteX0" fmla="*/ 10000 w 10000"/>
                    <a:gd name="connsiteY0" fmla="*/ 8854 h 9936"/>
                    <a:gd name="connsiteX1" fmla="*/ 9912 w 10000"/>
                    <a:gd name="connsiteY1" fmla="*/ 7898 h 9936"/>
                    <a:gd name="connsiteX2" fmla="*/ 9561 w 10000"/>
                    <a:gd name="connsiteY2" fmla="*/ 7005 h 9936"/>
                    <a:gd name="connsiteX3" fmla="*/ 9211 w 10000"/>
                    <a:gd name="connsiteY3" fmla="*/ 6241 h 9936"/>
                    <a:gd name="connsiteX4" fmla="*/ 8684 w 10000"/>
                    <a:gd name="connsiteY4" fmla="*/ 5478 h 9936"/>
                    <a:gd name="connsiteX5" fmla="*/ 7982 w 10000"/>
                    <a:gd name="connsiteY5" fmla="*/ 4905 h 9936"/>
                    <a:gd name="connsiteX6" fmla="*/ 7105 w 10000"/>
                    <a:gd name="connsiteY6" fmla="*/ 4522 h 9936"/>
                    <a:gd name="connsiteX7" fmla="*/ 6140 w 10000"/>
                    <a:gd name="connsiteY7" fmla="*/ 4203 h 9936"/>
                    <a:gd name="connsiteX8" fmla="*/ 6140 w 10000"/>
                    <a:gd name="connsiteY8" fmla="*/ 4203 h 9936"/>
                    <a:gd name="connsiteX9" fmla="*/ 6667 w 10000"/>
                    <a:gd name="connsiteY9" fmla="*/ 3822 h 9936"/>
                    <a:gd name="connsiteX10" fmla="*/ 7018 w 10000"/>
                    <a:gd name="connsiteY10" fmla="*/ 3312 h 9936"/>
                    <a:gd name="connsiteX11" fmla="*/ 7281 w 10000"/>
                    <a:gd name="connsiteY11" fmla="*/ 2739 h 9936"/>
                    <a:gd name="connsiteX12" fmla="*/ 7544 w 10000"/>
                    <a:gd name="connsiteY12" fmla="*/ 2166 h 9936"/>
                    <a:gd name="connsiteX13" fmla="*/ 7544 w 10000"/>
                    <a:gd name="connsiteY13" fmla="*/ 2166 h 9936"/>
                    <a:gd name="connsiteX14" fmla="*/ 7456 w 10000"/>
                    <a:gd name="connsiteY14" fmla="*/ 1720 h 9936"/>
                    <a:gd name="connsiteX15" fmla="*/ 7281 w 10000"/>
                    <a:gd name="connsiteY15" fmla="*/ 1274 h 9936"/>
                    <a:gd name="connsiteX16" fmla="*/ 7105 w 10000"/>
                    <a:gd name="connsiteY16" fmla="*/ 892 h 9936"/>
                    <a:gd name="connsiteX17" fmla="*/ 6754 w 10000"/>
                    <a:gd name="connsiteY17" fmla="*/ 574 h 9936"/>
                    <a:gd name="connsiteX18" fmla="*/ 6404 w 10000"/>
                    <a:gd name="connsiteY18" fmla="*/ 319 h 9936"/>
                    <a:gd name="connsiteX19" fmla="*/ 5965 w 10000"/>
                    <a:gd name="connsiteY19" fmla="*/ 191 h 9936"/>
                    <a:gd name="connsiteX20" fmla="*/ 5526 w 10000"/>
                    <a:gd name="connsiteY20" fmla="*/ 0 h 9936"/>
                    <a:gd name="connsiteX21" fmla="*/ 5000 w 10000"/>
                    <a:gd name="connsiteY21" fmla="*/ 0 h 9936"/>
                    <a:gd name="connsiteX22" fmla="*/ 5000 w 10000"/>
                    <a:gd name="connsiteY22" fmla="*/ 0 h 9936"/>
                    <a:gd name="connsiteX23" fmla="*/ 4561 w 10000"/>
                    <a:gd name="connsiteY23" fmla="*/ 0 h 9936"/>
                    <a:gd name="connsiteX24" fmla="*/ 4123 w 10000"/>
                    <a:gd name="connsiteY24" fmla="*/ 191 h 9936"/>
                    <a:gd name="connsiteX25" fmla="*/ 3684 w 10000"/>
                    <a:gd name="connsiteY25" fmla="*/ 319 h 9936"/>
                    <a:gd name="connsiteX26" fmla="*/ 3246 w 10000"/>
                    <a:gd name="connsiteY26" fmla="*/ 574 h 9936"/>
                    <a:gd name="connsiteX27" fmla="*/ 2982 w 10000"/>
                    <a:gd name="connsiteY27" fmla="*/ 892 h 9936"/>
                    <a:gd name="connsiteX28" fmla="*/ 2719 w 10000"/>
                    <a:gd name="connsiteY28" fmla="*/ 1274 h 9936"/>
                    <a:gd name="connsiteX29" fmla="*/ 2544 w 10000"/>
                    <a:gd name="connsiteY29" fmla="*/ 1720 h 9936"/>
                    <a:gd name="connsiteX30" fmla="*/ 2544 w 10000"/>
                    <a:gd name="connsiteY30" fmla="*/ 2166 h 9936"/>
                    <a:gd name="connsiteX31" fmla="*/ 2544 w 10000"/>
                    <a:gd name="connsiteY31" fmla="*/ 2166 h 9936"/>
                    <a:gd name="connsiteX32" fmla="*/ 2632 w 10000"/>
                    <a:gd name="connsiteY32" fmla="*/ 2739 h 9936"/>
                    <a:gd name="connsiteX33" fmla="*/ 2982 w 10000"/>
                    <a:gd name="connsiteY33" fmla="*/ 3312 h 9936"/>
                    <a:gd name="connsiteX34" fmla="*/ 3421 w 10000"/>
                    <a:gd name="connsiteY34" fmla="*/ 3822 h 9936"/>
                    <a:gd name="connsiteX35" fmla="*/ 3860 w 10000"/>
                    <a:gd name="connsiteY35" fmla="*/ 4203 h 9936"/>
                    <a:gd name="connsiteX36" fmla="*/ 3860 w 10000"/>
                    <a:gd name="connsiteY36" fmla="*/ 4203 h 9936"/>
                    <a:gd name="connsiteX37" fmla="*/ 2895 w 10000"/>
                    <a:gd name="connsiteY37" fmla="*/ 4522 h 9936"/>
                    <a:gd name="connsiteX38" fmla="*/ 2105 w 10000"/>
                    <a:gd name="connsiteY38" fmla="*/ 4905 h 9936"/>
                    <a:gd name="connsiteX39" fmla="*/ 1404 w 10000"/>
                    <a:gd name="connsiteY39" fmla="*/ 5478 h 9936"/>
                    <a:gd name="connsiteX40" fmla="*/ 877 w 10000"/>
                    <a:gd name="connsiteY40" fmla="*/ 6241 h 9936"/>
                    <a:gd name="connsiteX41" fmla="*/ 439 w 10000"/>
                    <a:gd name="connsiteY41" fmla="*/ 7005 h 9936"/>
                    <a:gd name="connsiteX42" fmla="*/ 175 w 10000"/>
                    <a:gd name="connsiteY42" fmla="*/ 7898 h 9936"/>
                    <a:gd name="connsiteX43" fmla="*/ 0 w 10000"/>
                    <a:gd name="connsiteY43" fmla="*/ 8854 h 9936"/>
                    <a:gd name="connsiteX44" fmla="*/ 0 w 10000"/>
                    <a:gd name="connsiteY44" fmla="*/ 9936 h 9936"/>
                    <a:gd name="connsiteX0" fmla="*/ 9912 w 9912"/>
                    <a:gd name="connsiteY0" fmla="*/ 7949 h 10000"/>
                    <a:gd name="connsiteX1" fmla="*/ 9561 w 9912"/>
                    <a:gd name="connsiteY1" fmla="*/ 7050 h 10000"/>
                    <a:gd name="connsiteX2" fmla="*/ 9211 w 9912"/>
                    <a:gd name="connsiteY2" fmla="*/ 6281 h 10000"/>
                    <a:gd name="connsiteX3" fmla="*/ 8684 w 9912"/>
                    <a:gd name="connsiteY3" fmla="*/ 5513 h 10000"/>
                    <a:gd name="connsiteX4" fmla="*/ 7982 w 9912"/>
                    <a:gd name="connsiteY4" fmla="*/ 4937 h 10000"/>
                    <a:gd name="connsiteX5" fmla="*/ 7105 w 9912"/>
                    <a:gd name="connsiteY5" fmla="*/ 4551 h 10000"/>
                    <a:gd name="connsiteX6" fmla="*/ 6140 w 9912"/>
                    <a:gd name="connsiteY6" fmla="*/ 4230 h 10000"/>
                    <a:gd name="connsiteX7" fmla="*/ 6140 w 9912"/>
                    <a:gd name="connsiteY7" fmla="*/ 4230 h 10000"/>
                    <a:gd name="connsiteX8" fmla="*/ 6667 w 9912"/>
                    <a:gd name="connsiteY8" fmla="*/ 3847 h 10000"/>
                    <a:gd name="connsiteX9" fmla="*/ 7018 w 9912"/>
                    <a:gd name="connsiteY9" fmla="*/ 3333 h 10000"/>
                    <a:gd name="connsiteX10" fmla="*/ 7281 w 9912"/>
                    <a:gd name="connsiteY10" fmla="*/ 2757 h 10000"/>
                    <a:gd name="connsiteX11" fmla="*/ 7544 w 9912"/>
                    <a:gd name="connsiteY11" fmla="*/ 2180 h 10000"/>
                    <a:gd name="connsiteX12" fmla="*/ 7544 w 9912"/>
                    <a:gd name="connsiteY12" fmla="*/ 2180 h 10000"/>
                    <a:gd name="connsiteX13" fmla="*/ 7456 w 9912"/>
                    <a:gd name="connsiteY13" fmla="*/ 1731 h 10000"/>
                    <a:gd name="connsiteX14" fmla="*/ 7281 w 9912"/>
                    <a:gd name="connsiteY14" fmla="*/ 1282 h 10000"/>
                    <a:gd name="connsiteX15" fmla="*/ 7105 w 9912"/>
                    <a:gd name="connsiteY15" fmla="*/ 898 h 10000"/>
                    <a:gd name="connsiteX16" fmla="*/ 6754 w 9912"/>
                    <a:gd name="connsiteY16" fmla="*/ 578 h 10000"/>
                    <a:gd name="connsiteX17" fmla="*/ 6404 w 9912"/>
                    <a:gd name="connsiteY17" fmla="*/ 321 h 10000"/>
                    <a:gd name="connsiteX18" fmla="*/ 5965 w 9912"/>
                    <a:gd name="connsiteY18" fmla="*/ 192 h 10000"/>
                    <a:gd name="connsiteX19" fmla="*/ 5526 w 9912"/>
                    <a:gd name="connsiteY19" fmla="*/ 0 h 10000"/>
                    <a:gd name="connsiteX20" fmla="*/ 5000 w 9912"/>
                    <a:gd name="connsiteY20" fmla="*/ 0 h 10000"/>
                    <a:gd name="connsiteX21" fmla="*/ 5000 w 9912"/>
                    <a:gd name="connsiteY21" fmla="*/ 0 h 10000"/>
                    <a:gd name="connsiteX22" fmla="*/ 4561 w 9912"/>
                    <a:gd name="connsiteY22" fmla="*/ 0 h 10000"/>
                    <a:gd name="connsiteX23" fmla="*/ 4123 w 9912"/>
                    <a:gd name="connsiteY23" fmla="*/ 192 h 10000"/>
                    <a:gd name="connsiteX24" fmla="*/ 3684 w 9912"/>
                    <a:gd name="connsiteY24" fmla="*/ 321 h 10000"/>
                    <a:gd name="connsiteX25" fmla="*/ 3246 w 9912"/>
                    <a:gd name="connsiteY25" fmla="*/ 578 h 10000"/>
                    <a:gd name="connsiteX26" fmla="*/ 2982 w 9912"/>
                    <a:gd name="connsiteY26" fmla="*/ 898 h 10000"/>
                    <a:gd name="connsiteX27" fmla="*/ 2719 w 9912"/>
                    <a:gd name="connsiteY27" fmla="*/ 1282 h 10000"/>
                    <a:gd name="connsiteX28" fmla="*/ 2544 w 9912"/>
                    <a:gd name="connsiteY28" fmla="*/ 1731 h 10000"/>
                    <a:gd name="connsiteX29" fmla="*/ 2544 w 9912"/>
                    <a:gd name="connsiteY29" fmla="*/ 2180 h 10000"/>
                    <a:gd name="connsiteX30" fmla="*/ 2544 w 9912"/>
                    <a:gd name="connsiteY30" fmla="*/ 2180 h 10000"/>
                    <a:gd name="connsiteX31" fmla="*/ 2632 w 9912"/>
                    <a:gd name="connsiteY31" fmla="*/ 2757 h 10000"/>
                    <a:gd name="connsiteX32" fmla="*/ 2982 w 9912"/>
                    <a:gd name="connsiteY32" fmla="*/ 3333 h 10000"/>
                    <a:gd name="connsiteX33" fmla="*/ 3421 w 9912"/>
                    <a:gd name="connsiteY33" fmla="*/ 3847 h 10000"/>
                    <a:gd name="connsiteX34" fmla="*/ 3860 w 9912"/>
                    <a:gd name="connsiteY34" fmla="*/ 4230 h 10000"/>
                    <a:gd name="connsiteX35" fmla="*/ 3860 w 9912"/>
                    <a:gd name="connsiteY35" fmla="*/ 4230 h 10000"/>
                    <a:gd name="connsiteX36" fmla="*/ 2895 w 9912"/>
                    <a:gd name="connsiteY36" fmla="*/ 4551 h 10000"/>
                    <a:gd name="connsiteX37" fmla="*/ 2105 w 9912"/>
                    <a:gd name="connsiteY37" fmla="*/ 4937 h 10000"/>
                    <a:gd name="connsiteX38" fmla="*/ 1404 w 9912"/>
                    <a:gd name="connsiteY38" fmla="*/ 5513 h 10000"/>
                    <a:gd name="connsiteX39" fmla="*/ 877 w 9912"/>
                    <a:gd name="connsiteY39" fmla="*/ 6281 h 10000"/>
                    <a:gd name="connsiteX40" fmla="*/ 439 w 9912"/>
                    <a:gd name="connsiteY40" fmla="*/ 7050 h 10000"/>
                    <a:gd name="connsiteX41" fmla="*/ 175 w 9912"/>
                    <a:gd name="connsiteY41" fmla="*/ 7949 h 10000"/>
                    <a:gd name="connsiteX42" fmla="*/ 0 w 9912"/>
                    <a:gd name="connsiteY42" fmla="*/ 8911 h 10000"/>
                    <a:gd name="connsiteX43" fmla="*/ 0 w 9912"/>
                    <a:gd name="connsiteY43" fmla="*/ 10000 h 10000"/>
                    <a:gd name="connsiteX0" fmla="*/ 9646 w 9646"/>
                    <a:gd name="connsiteY0" fmla="*/ 7050 h 10000"/>
                    <a:gd name="connsiteX1" fmla="*/ 9293 w 9646"/>
                    <a:gd name="connsiteY1" fmla="*/ 6281 h 10000"/>
                    <a:gd name="connsiteX2" fmla="*/ 8761 w 9646"/>
                    <a:gd name="connsiteY2" fmla="*/ 5513 h 10000"/>
                    <a:gd name="connsiteX3" fmla="*/ 8053 w 9646"/>
                    <a:gd name="connsiteY3" fmla="*/ 4937 h 10000"/>
                    <a:gd name="connsiteX4" fmla="*/ 7168 w 9646"/>
                    <a:gd name="connsiteY4" fmla="*/ 4551 h 10000"/>
                    <a:gd name="connsiteX5" fmla="*/ 6195 w 9646"/>
                    <a:gd name="connsiteY5" fmla="*/ 4230 h 10000"/>
                    <a:gd name="connsiteX6" fmla="*/ 6195 w 9646"/>
                    <a:gd name="connsiteY6" fmla="*/ 4230 h 10000"/>
                    <a:gd name="connsiteX7" fmla="*/ 6726 w 9646"/>
                    <a:gd name="connsiteY7" fmla="*/ 3847 h 10000"/>
                    <a:gd name="connsiteX8" fmla="*/ 7080 w 9646"/>
                    <a:gd name="connsiteY8" fmla="*/ 3333 h 10000"/>
                    <a:gd name="connsiteX9" fmla="*/ 7346 w 9646"/>
                    <a:gd name="connsiteY9" fmla="*/ 2757 h 10000"/>
                    <a:gd name="connsiteX10" fmla="*/ 7611 w 9646"/>
                    <a:gd name="connsiteY10" fmla="*/ 2180 h 10000"/>
                    <a:gd name="connsiteX11" fmla="*/ 7611 w 9646"/>
                    <a:gd name="connsiteY11" fmla="*/ 2180 h 10000"/>
                    <a:gd name="connsiteX12" fmla="*/ 7522 w 9646"/>
                    <a:gd name="connsiteY12" fmla="*/ 1731 h 10000"/>
                    <a:gd name="connsiteX13" fmla="*/ 7346 w 9646"/>
                    <a:gd name="connsiteY13" fmla="*/ 1282 h 10000"/>
                    <a:gd name="connsiteX14" fmla="*/ 7168 w 9646"/>
                    <a:gd name="connsiteY14" fmla="*/ 898 h 10000"/>
                    <a:gd name="connsiteX15" fmla="*/ 6814 w 9646"/>
                    <a:gd name="connsiteY15" fmla="*/ 578 h 10000"/>
                    <a:gd name="connsiteX16" fmla="*/ 6461 w 9646"/>
                    <a:gd name="connsiteY16" fmla="*/ 321 h 10000"/>
                    <a:gd name="connsiteX17" fmla="*/ 6018 w 9646"/>
                    <a:gd name="connsiteY17" fmla="*/ 192 h 10000"/>
                    <a:gd name="connsiteX18" fmla="*/ 5575 w 9646"/>
                    <a:gd name="connsiteY18" fmla="*/ 0 h 10000"/>
                    <a:gd name="connsiteX19" fmla="*/ 5044 w 9646"/>
                    <a:gd name="connsiteY19" fmla="*/ 0 h 10000"/>
                    <a:gd name="connsiteX20" fmla="*/ 5044 w 9646"/>
                    <a:gd name="connsiteY20" fmla="*/ 0 h 10000"/>
                    <a:gd name="connsiteX21" fmla="*/ 4601 w 9646"/>
                    <a:gd name="connsiteY21" fmla="*/ 0 h 10000"/>
                    <a:gd name="connsiteX22" fmla="*/ 4160 w 9646"/>
                    <a:gd name="connsiteY22" fmla="*/ 192 h 10000"/>
                    <a:gd name="connsiteX23" fmla="*/ 3717 w 9646"/>
                    <a:gd name="connsiteY23" fmla="*/ 321 h 10000"/>
                    <a:gd name="connsiteX24" fmla="*/ 3275 w 9646"/>
                    <a:gd name="connsiteY24" fmla="*/ 578 h 10000"/>
                    <a:gd name="connsiteX25" fmla="*/ 3008 w 9646"/>
                    <a:gd name="connsiteY25" fmla="*/ 898 h 10000"/>
                    <a:gd name="connsiteX26" fmla="*/ 2743 w 9646"/>
                    <a:gd name="connsiteY26" fmla="*/ 1282 h 10000"/>
                    <a:gd name="connsiteX27" fmla="*/ 2567 w 9646"/>
                    <a:gd name="connsiteY27" fmla="*/ 1731 h 10000"/>
                    <a:gd name="connsiteX28" fmla="*/ 2567 w 9646"/>
                    <a:gd name="connsiteY28" fmla="*/ 2180 h 10000"/>
                    <a:gd name="connsiteX29" fmla="*/ 2567 w 9646"/>
                    <a:gd name="connsiteY29" fmla="*/ 2180 h 10000"/>
                    <a:gd name="connsiteX30" fmla="*/ 2655 w 9646"/>
                    <a:gd name="connsiteY30" fmla="*/ 2757 h 10000"/>
                    <a:gd name="connsiteX31" fmla="*/ 3008 w 9646"/>
                    <a:gd name="connsiteY31" fmla="*/ 3333 h 10000"/>
                    <a:gd name="connsiteX32" fmla="*/ 3451 w 9646"/>
                    <a:gd name="connsiteY32" fmla="*/ 3847 h 10000"/>
                    <a:gd name="connsiteX33" fmla="*/ 3894 w 9646"/>
                    <a:gd name="connsiteY33" fmla="*/ 4230 h 10000"/>
                    <a:gd name="connsiteX34" fmla="*/ 3894 w 9646"/>
                    <a:gd name="connsiteY34" fmla="*/ 4230 h 10000"/>
                    <a:gd name="connsiteX35" fmla="*/ 2921 w 9646"/>
                    <a:gd name="connsiteY35" fmla="*/ 4551 h 10000"/>
                    <a:gd name="connsiteX36" fmla="*/ 2124 w 9646"/>
                    <a:gd name="connsiteY36" fmla="*/ 4937 h 10000"/>
                    <a:gd name="connsiteX37" fmla="*/ 1416 w 9646"/>
                    <a:gd name="connsiteY37" fmla="*/ 5513 h 10000"/>
                    <a:gd name="connsiteX38" fmla="*/ 885 w 9646"/>
                    <a:gd name="connsiteY38" fmla="*/ 6281 h 10000"/>
                    <a:gd name="connsiteX39" fmla="*/ 443 w 9646"/>
                    <a:gd name="connsiteY39" fmla="*/ 7050 h 10000"/>
                    <a:gd name="connsiteX40" fmla="*/ 177 w 9646"/>
                    <a:gd name="connsiteY40" fmla="*/ 7949 h 10000"/>
                    <a:gd name="connsiteX41" fmla="*/ 0 w 9646"/>
                    <a:gd name="connsiteY41" fmla="*/ 8911 h 10000"/>
                    <a:gd name="connsiteX42" fmla="*/ 0 w 9646"/>
                    <a:gd name="connsiteY42" fmla="*/ 10000 h 10000"/>
                    <a:gd name="connsiteX0" fmla="*/ 9634 w 9634"/>
                    <a:gd name="connsiteY0" fmla="*/ 6281 h 10000"/>
                    <a:gd name="connsiteX1" fmla="*/ 9083 w 9634"/>
                    <a:gd name="connsiteY1" fmla="*/ 5513 h 10000"/>
                    <a:gd name="connsiteX2" fmla="*/ 8349 w 9634"/>
                    <a:gd name="connsiteY2" fmla="*/ 4937 h 10000"/>
                    <a:gd name="connsiteX3" fmla="*/ 7431 w 9634"/>
                    <a:gd name="connsiteY3" fmla="*/ 4551 h 10000"/>
                    <a:gd name="connsiteX4" fmla="*/ 6422 w 9634"/>
                    <a:gd name="connsiteY4" fmla="*/ 4230 h 10000"/>
                    <a:gd name="connsiteX5" fmla="*/ 6422 w 9634"/>
                    <a:gd name="connsiteY5" fmla="*/ 4230 h 10000"/>
                    <a:gd name="connsiteX6" fmla="*/ 6973 w 9634"/>
                    <a:gd name="connsiteY6" fmla="*/ 3847 h 10000"/>
                    <a:gd name="connsiteX7" fmla="*/ 7340 w 9634"/>
                    <a:gd name="connsiteY7" fmla="*/ 3333 h 10000"/>
                    <a:gd name="connsiteX8" fmla="*/ 7616 w 9634"/>
                    <a:gd name="connsiteY8" fmla="*/ 2757 h 10000"/>
                    <a:gd name="connsiteX9" fmla="*/ 7890 w 9634"/>
                    <a:gd name="connsiteY9" fmla="*/ 2180 h 10000"/>
                    <a:gd name="connsiteX10" fmla="*/ 7890 w 9634"/>
                    <a:gd name="connsiteY10" fmla="*/ 2180 h 10000"/>
                    <a:gd name="connsiteX11" fmla="*/ 7798 w 9634"/>
                    <a:gd name="connsiteY11" fmla="*/ 1731 h 10000"/>
                    <a:gd name="connsiteX12" fmla="*/ 7616 w 9634"/>
                    <a:gd name="connsiteY12" fmla="*/ 1282 h 10000"/>
                    <a:gd name="connsiteX13" fmla="*/ 7431 w 9634"/>
                    <a:gd name="connsiteY13" fmla="*/ 898 h 10000"/>
                    <a:gd name="connsiteX14" fmla="*/ 7064 w 9634"/>
                    <a:gd name="connsiteY14" fmla="*/ 578 h 10000"/>
                    <a:gd name="connsiteX15" fmla="*/ 6698 w 9634"/>
                    <a:gd name="connsiteY15" fmla="*/ 321 h 10000"/>
                    <a:gd name="connsiteX16" fmla="*/ 6239 w 9634"/>
                    <a:gd name="connsiteY16" fmla="*/ 192 h 10000"/>
                    <a:gd name="connsiteX17" fmla="*/ 5780 w 9634"/>
                    <a:gd name="connsiteY17" fmla="*/ 0 h 10000"/>
                    <a:gd name="connsiteX18" fmla="*/ 5229 w 9634"/>
                    <a:gd name="connsiteY18" fmla="*/ 0 h 10000"/>
                    <a:gd name="connsiteX19" fmla="*/ 5229 w 9634"/>
                    <a:gd name="connsiteY19" fmla="*/ 0 h 10000"/>
                    <a:gd name="connsiteX20" fmla="*/ 4770 w 9634"/>
                    <a:gd name="connsiteY20" fmla="*/ 0 h 10000"/>
                    <a:gd name="connsiteX21" fmla="*/ 4313 w 9634"/>
                    <a:gd name="connsiteY21" fmla="*/ 192 h 10000"/>
                    <a:gd name="connsiteX22" fmla="*/ 3853 w 9634"/>
                    <a:gd name="connsiteY22" fmla="*/ 321 h 10000"/>
                    <a:gd name="connsiteX23" fmla="*/ 3395 w 9634"/>
                    <a:gd name="connsiteY23" fmla="*/ 578 h 10000"/>
                    <a:gd name="connsiteX24" fmla="*/ 3118 w 9634"/>
                    <a:gd name="connsiteY24" fmla="*/ 898 h 10000"/>
                    <a:gd name="connsiteX25" fmla="*/ 2844 w 9634"/>
                    <a:gd name="connsiteY25" fmla="*/ 1282 h 10000"/>
                    <a:gd name="connsiteX26" fmla="*/ 2661 w 9634"/>
                    <a:gd name="connsiteY26" fmla="*/ 1731 h 10000"/>
                    <a:gd name="connsiteX27" fmla="*/ 2661 w 9634"/>
                    <a:gd name="connsiteY27" fmla="*/ 2180 h 10000"/>
                    <a:gd name="connsiteX28" fmla="*/ 2661 w 9634"/>
                    <a:gd name="connsiteY28" fmla="*/ 2180 h 10000"/>
                    <a:gd name="connsiteX29" fmla="*/ 2752 w 9634"/>
                    <a:gd name="connsiteY29" fmla="*/ 2757 h 10000"/>
                    <a:gd name="connsiteX30" fmla="*/ 3118 w 9634"/>
                    <a:gd name="connsiteY30" fmla="*/ 3333 h 10000"/>
                    <a:gd name="connsiteX31" fmla="*/ 3578 w 9634"/>
                    <a:gd name="connsiteY31" fmla="*/ 3847 h 10000"/>
                    <a:gd name="connsiteX32" fmla="*/ 4037 w 9634"/>
                    <a:gd name="connsiteY32" fmla="*/ 4230 h 10000"/>
                    <a:gd name="connsiteX33" fmla="*/ 4037 w 9634"/>
                    <a:gd name="connsiteY33" fmla="*/ 4230 h 10000"/>
                    <a:gd name="connsiteX34" fmla="*/ 3028 w 9634"/>
                    <a:gd name="connsiteY34" fmla="*/ 4551 h 10000"/>
                    <a:gd name="connsiteX35" fmla="*/ 2202 w 9634"/>
                    <a:gd name="connsiteY35" fmla="*/ 4937 h 10000"/>
                    <a:gd name="connsiteX36" fmla="*/ 1468 w 9634"/>
                    <a:gd name="connsiteY36" fmla="*/ 5513 h 10000"/>
                    <a:gd name="connsiteX37" fmla="*/ 917 w 9634"/>
                    <a:gd name="connsiteY37" fmla="*/ 6281 h 10000"/>
                    <a:gd name="connsiteX38" fmla="*/ 459 w 9634"/>
                    <a:gd name="connsiteY38" fmla="*/ 7050 h 10000"/>
                    <a:gd name="connsiteX39" fmla="*/ 183 w 9634"/>
                    <a:gd name="connsiteY39" fmla="*/ 7949 h 10000"/>
                    <a:gd name="connsiteX40" fmla="*/ 0 w 9634"/>
                    <a:gd name="connsiteY40" fmla="*/ 8911 h 10000"/>
                    <a:gd name="connsiteX41" fmla="*/ 0 w 9634"/>
                    <a:gd name="connsiteY41" fmla="*/ 1000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9634" h="10000">
                      <a:moveTo>
                        <a:pt x="9634" y="6281"/>
                      </a:moveTo>
                      <a:lnTo>
                        <a:pt x="9083" y="5513"/>
                      </a:lnTo>
                      <a:lnTo>
                        <a:pt x="8349" y="4937"/>
                      </a:lnTo>
                      <a:lnTo>
                        <a:pt x="7431" y="4551"/>
                      </a:lnTo>
                      <a:lnTo>
                        <a:pt x="6422" y="4230"/>
                      </a:lnTo>
                      <a:lnTo>
                        <a:pt x="6422" y="4230"/>
                      </a:lnTo>
                      <a:lnTo>
                        <a:pt x="6973" y="3847"/>
                      </a:lnTo>
                      <a:lnTo>
                        <a:pt x="7340" y="3333"/>
                      </a:lnTo>
                      <a:cubicBezTo>
                        <a:pt x="7432" y="3142"/>
                        <a:pt x="7523" y="2948"/>
                        <a:pt x="7616" y="2757"/>
                      </a:cubicBezTo>
                      <a:lnTo>
                        <a:pt x="7890" y="2180"/>
                      </a:lnTo>
                      <a:lnTo>
                        <a:pt x="7890" y="2180"/>
                      </a:lnTo>
                      <a:cubicBezTo>
                        <a:pt x="7860" y="2030"/>
                        <a:pt x="7828" y="1881"/>
                        <a:pt x="7798" y="1731"/>
                      </a:cubicBezTo>
                      <a:cubicBezTo>
                        <a:pt x="7738" y="1581"/>
                        <a:pt x="7676" y="1431"/>
                        <a:pt x="7616" y="1282"/>
                      </a:cubicBezTo>
                      <a:cubicBezTo>
                        <a:pt x="7553" y="1154"/>
                        <a:pt x="7493" y="1026"/>
                        <a:pt x="7431" y="898"/>
                      </a:cubicBezTo>
                      <a:lnTo>
                        <a:pt x="7064" y="578"/>
                      </a:lnTo>
                      <a:lnTo>
                        <a:pt x="6698" y="321"/>
                      </a:lnTo>
                      <a:lnTo>
                        <a:pt x="6239" y="192"/>
                      </a:lnTo>
                      <a:lnTo>
                        <a:pt x="5780" y="0"/>
                      </a:lnTo>
                      <a:lnTo>
                        <a:pt x="5229" y="0"/>
                      </a:lnTo>
                      <a:lnTo>
                        <a:pt x="5229" y="0"/>
                      </a:lnTo>
                      <a:lnTo>
                        <a:pt x="4770" y="0"/>
                      </a:lnTo>
                      <a:lnTo>
                        <a:pt x="4313" y="192"/>
                      </a:lnTo>
                      <a:lnTo>
                        <a:pt x="3853" y="321"/>
                      </a:lnTo>
                      <a:lnTo>
                        <a:pt x="3395" y="578"/>
                      </a:lnTo>
                      <a:lnTo>
                        <a:pt x="3118" y="898"/>
                      </a:lnTo>
                      <a:lnTo>
                        <a:pt x="2844" y="1282"/>
                      </a:lnTo>
                      <a:cubicBezTo>
                        <a:pt x="2784" y="1431"/>
                        <a:pt x="2721" y="1581"/>
                        <a:pt x="2661" y="1731"/>
                      </a:cubicBezTo>
                      <a:lnTo>
                        <a:pt x="2661" y="2180"/>
                      </a:lnTo>
                      <a:lnTo>
                        <a:pt x="2661" y="2180"/>
                      </a:lnTo>
                      <a:cubicBezTo>
                        <a:pt x="2691" y="2372"/>
                        <a:pt x="2722" y="2564"/>
                        <a:pt x="2752" y="2757"/>
                      </a:cubicBezTo>
                      <a:lnTo>
                        <a:pt x="3118" y="3333"/>
                      </a:lnTo>
                      <a:lnTo>
                        <a:pt x="3578" y="3847"/>
                      </a:lnTo>
                      <a:lnTo>
                        <a:pt x="4037" y="4230"/>
                      </a:lnTo>
                      <a:lnTo>
                        <a:pt x="4037" y="4230"/>
                      </a:lnTo>
                      <a:lnTo>
                        <a:pt x="3028" y="4551"/>
                      </a:lnTo>
                      <a:lnTo>
                        <a:pt x="2202" y="4937"/>
                      </a:lnTo>
                      <a:lnTo>
                        <a:pt x="1468" y="5513"/>
                      </a:lnTo>
                      <a:lnTo>
                        <a:pt x="917" y="6281"/>
                      </a:lnTo>
                      <a:lnTo>
                        <a:pt x="459" y="7050"/>
                      </a:lnTo>
                      <a:lnTo>
                        <a:pt x="183" y="7949"/>
                      </a:lnTo>
                      <a:lnTo>
                        <a:pt x="0" y="8911"/>
                      </a:lnTo>
                      <a:lnTo>
                        <a:pt x="0" y="10000"/>
                      </a:lnTo>
                    </a:path>
                  </a:pathLst>
                </a:custGeom>
                <a:noFill/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>
                    <a:defRPr/>
                  </a:pPr>
                  <a:endParaRPr lang="en-US" sz="1800">
                    <a:solidFill>
                      <a:srgbClr val="263147"/>
                    </a:solidFill>
                    <a:cs typeface="Arial" charset="0"/>
                  </a:endParaRPr>
                </a:p>
              </p:txBody>
            </p:sp>
            <p:cxnSp>
              <p:nvCxnSpPr>
                <p:cNvPr id="25" name="Connecteur droit 325"/>
                <p:cNvCxnSpPr/>
                <p:nvPr/>
              </p:nvCxnSpPr>
              <p:spPr>
                <a:xfrm flipV="1">
                  <a:off x="4476193" y="4957472"/>
                  <a:ext cx="87297" cy="4115"/>
                </a:xfrm>
                <a:prstGeom prst="line">
                  <a:avLst/>
                </a:prstGeom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0" name="Groupe 32"/>
            <p:cNvGrpSpPr>
              <a:grpSpLocks/>
            </p:cNvGrpSpPr>
            <p:nvPr userDrawn="1"/>
          </p:nvGrpSpPr>
          <p:grpSpPr bwMode="auto">
            <a:xfrm>
              <a:off x="8691235" y="2740981"/>
              <a:ext cx="389203" cy="362534"/>
              <a:chOff x="4999013" y="3508177"/>
              <a:chExt cx="228601" cy="217487"/>
            </a:xfrm>
          </p:grpSpPr>
          <p:sp>
            <p:nvSpPr>
              <p:cNvPr id="16" name="Freeform 213"/>
              <p:cNvSpPr>
                <a:spLocks/>
              </p:cNvSpPr>
              <p:nvPr/>
            </p:nvSpPr>
            <p:spPr bwMode="auto">
              <a:xfrm>
                <a:off x="4999361" y="3508591"/>
                <a:ext cx="85862" cy="83804"/>
              </a:xfrm>
              <a:custGeom>
                <a:avLst/>
                <a:gdLst/>
                <a:ahLst/>
                <a:cxnLst>
                  <a:cxn ang="0">
                    <a:pos x="54" y="42"/>
                  </a:cxn>
                  <a:cxn ang="0">
                    <a:pos x="54" y="42"/>
                  </a:cxn>
                  <a:cxn ang="0">
                    <a:pos x="54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2" y="53"/>
                  </a:cxn>
                  <a:cxn ang="0">
                    <a:pos x="12" y="53"/>
                  </a:cxn>
                  <a:cxn ang="0">
                    <a:pos x="7" y="53"/>
                  </a:cxn>
                  <a:cxn ang="0">
                    <a:pos x="3" y="51"/>
                  </a:cxn>
                  <a:cxn ang="0">
                    <a:pos x="0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7"/>
                  </a:cxn>
                  <a:cxn ang="0">
                    <a:pos x="3" y="3"/>
                  </a:cxn>
                  <a:cxn ang="0">
                    <a:pos x="7" y="0"/>
                  </a:cxn>
                  <a:cxn ang="0">
                    <a:pos x="12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4" y="7"/>
                  </a:cxn>
                  <a:cxn ang="0">
                    <a:pos x="54" y="12"/>
                  </a:cxn>
                  <a:cxn ang="0">
                    <a:pos x="54" y="42"/>
                  </a:cxn>
                </a:cxnLst>
                <a:rect l="0" t="0" r="r" b="b"/>
                <a:pathLst>
                  <a:path w="54" h="53">
                    <a:moveTo>
                      <a:pt x="54" y="42"/>
                    </a:moveTo>
                    <a:lnTo>
                      <a:pt x="54" y="42"/>
                    </a:lnTo>
                    <a:lnTo>
                      <a:pt x="54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2" y="53"/>
                    </a:lnTo>
                    <a:lnTo>
                      <a:pt x="12" y="53"/>
                    </a:lnTo>
                    <a:lnTo>
                      <a:pt x="7" y="53"/>
                    </a:lnTo>
                    <a:lnTo>
                      <a:pt x="3" y="51"/>
                    </a:lnTo>
                    <a:lnTo>
                      <a:pt x="0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7" y="0"/>
                    </a:lnTo>
                    <a:lnTo>
                      <a:pt x="1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4" y="7"/>
                    </a:lnTo>
                    <a:lnTo>
                      <a:pt x="54" y="12"/>
                    </a:lnTo>
                    <a:lnTo>
                      <a:pt x="54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7" name="Freeform 214"/>
              <p:cNvSpPr>
                <a:spLocks/>
              </p:cNvSpPr>
              <p:nvPr/>
            </p:nvSpPr>
            <p:spPr bwMode="auto">
              <a:xfrm>
                <a:off x="5139770" y="3508591"/>
                <a:ext cx="87881" cy="83804"/>
              </a:xfrm>
              <a:custGeom>
                <a:avLst/>
                <a:gdLst/>
                <a:ahLst/>
                <a:cxnLst>
                  <a:cxn ang="0">
                    <a:pos x="55" y="42"/>
                  </a:cxn>
                  <a:cxn ang="0">
                    <a:pos x="55" y="42"/>
                  </a:cxn>
                  <a:cxn ang="0">
                    <a:pos x="53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1" y="53"/>
                  </a:cxn>
                  <a:cxn ang="0">
                    <a:pos x="11" y="53"/>
                  </a:cxn>
                  <a:cxn ang="0">
                    <a:pos x="8" y="53"/>
                  </a:cxn>
                  <a:cxn ang="0">
                    <a:pos x="4" y="51"/>
                  </a:cxn>
                  <a:cxn ang="0">
                    <a:pos x="1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4" y="3"/>
                  </a:cxn>
                  <a:cxn ang="0">
                    <a:pos x="8" y="0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3" y="7"/>
                  </a:cxn>
                  <a:cxn ang="0">
                    <a:pos x="55" y="12"/>
                  </a:cxn>
                  <a:cxn ang="0">
                    <a:pos x="55" y="42"/>
                  </a:cxn>
                </a:cxnLst>
                <a:rect l="0" t="0" r="r" b="b"/>
                <a:pathLst>
                  <a:path w="55" h="53">
                    <a:moveTo>
                      <a:pt x="55" y="42"/>
                    </a:moveTo>
                    <a:lnTo>
                      <a:pt x="55" y="42"/>
                    </a:lnTo>
                    <a:lnTo>
                      <a:pt x="53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1" y="53"/>
                    </a:lnTo>
                    <a:lnTo>
                      <a:pt x="11" y="53"/>
                    </a:lnTo>
                    <a:lnTo>
                      <a:pt x="8" y="53"/>
                    </a:lnTo>
                    <a:lnTo>
                      <a:pt x="4" y="51"/>
                    </a:lnTo>
                    <a:lnTo>
                      <a:pt x="1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4" y="3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3" y="7"/>
                    </a:lnTo>
                    <a:lnTo>
                      <a:pt x="55" y="12"/>
                    </a:lnTo>
                    <a:lnTo>
                      <a:pt x="55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8" name="Freeform 215"/>
              <p:cNvSpPr>
                <a:spLocks/>
              </p:cNvSpPr>
              <p:nvPr/>
            </p:nvSpPr>
            <p:spPr bwMode="auto">
              <a:xfrm>
                <a:off x="5071081" y="3640011"/>
                <a:ext cx="84851" cy="85709"/>
              </a:xfrm>
              <a:custGeom>
                <a:avLst/>
                <a:gdLst/>
                <a:ahLst/>
                <a:cxnLst>
                  <a:cxn ang="0">
                    <a:pos x="36" y="54"/>
                  </a:cxn>
                  <a:cxn ang="0">
                    <a:pos x="29" y="54"/>
                  </a:cxn>
                  <a:cxn ang="0">
                    <a:pos x="11" y="54"/>
                  </a:cxn>
                  <a:cxn ang="0">
                    <a:pos x="11" y="54"/>
                  </a:cxn>
                  <a:cxn ang="0">
                    <a:pos x="7" y="53"/>
                  </a:cxn>
                  <a:cxn ang="0">
                    <a:pos x="3" y="50"/>
                  </a:cxn>
                  <a:cxn ang="0">
                    <a:pos x="1" y="46"/>
                  </a:cxn>
                  <a:cxn ang="0">
                    <a:pos x="0" y="43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3" y="3"/>
                  </a:cxn>
                  <a:cxn ang="0">
                    <a:pos x="7" y="1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1"/>
                  </a:cxn>
                  <a:cxn ang="0">
                    <a:pos x="50" y="3"/>
                  </a:cxn>
                  <a:cxn ang="0">
                    <a:pos x="53" y="7"/>
                  </a:cxn>
                  <a:cxn ang="0">
                    <a:pos x="54" y="12"/>
                  </a:cxn>
                  <a:cxn ang="0">
                    <a:pos x="54" y="43"/>
                  </a:cxn>
                </a:cxnLst>
                <a:rect l="0" t="0" r="r" b="b"/>
                <a:pathLst>
                  <a:path w="54" h="54">
                    <a:moveTo>
                      <a:pt x="36" y="54"/>
                    </a:moveTo>
                    <a:lnTo>
                      <a:pt x="29" y="54"/>
                    </a:lnTo>
                    <a:lnTo>
                      <a:pt x="11" y="54"/>
                    </a:lnTo>
                    <a:lnTo>
                      <a:pt x="11" y="54"/>
                    </a:lnTo>
                    <a:lnTo>
                      <a:pt x="7" y="53"/>
                    </a:lnTo>
                    <a:lnTo>
                      <a:pt x="3" y="50"/>
                    </a:lnTo>
                    <a:lnTo>
                      <a:pt x="1" y="46"/>
                    </a:lnTo>
                    <a:lnTo>
                      <a:pt x="0" y="43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3" y="3"/>
                    </a:lnTo>
                    <a:lnTo>
                      <a:pt x="7" y="1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1"/>
                    </a:lnTo>
                    <a:lnTo>
                      <a:pt x="50" y="3"/>
                    </a:lnTo>
                    <a:lnTo>
                      <a:pt x="53" y="7"/>
                    </a:lnTo>
                    <a:lnTo>
                      <a:pt x="54" y="12"/>
                    </a:lnTo>
                    <a:lnTo>
                      <a:pt x="54" y="43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9" name="Freeform 216"/>
              <p:cNvSpPr>
                <a:spLocks/>
              </p:cNvSpPr>
              <p:nvPr/>
            </p:nvSpPr>
            <p:spPr bwMode="auto">
              <a:xfrm>
                <a:off x="5037746" y="3596204"/>
                <a:ext cx="148490" cy="17142"/>
              </a:xfrm>
              <a:custGeom>
                <a:avLst/>
                <a:gdLst/>
                <a:ahLst/>
                <a:cxnLst>
                  <a:cxn ang="0">
                    <a:pos x="94" y="0"/>
                  </a:cxn>
                  <a:cxn ang="0">
                    <a:pos x="94" y="0"/>
                  </a:cxn>
                  <a:cxn ang="0">
                    <a:pos x="94" y="5"/>
                  </a:cxn>
                  <a:cxn ang="0">
                    <a:pos x="92" y="9"/>
                  </a:cxn>
                  <a:cxn ang="0">
                    <a:pos x="88" y="10"/>
                  </a:cxn>
                  <a:cxn ang="0">
                    <a:pos x="83" y="11"/>
                  </a:cxn>
                  <a:cxn ang="0">
                    <a:pos x="47" y="11"/>
                  </a:cxn>
                  <a:cxn ang="0">
                    <a:pos x="12" y="11"/>
                  </a:cxn>
                  <a:cxn ang="0">
                    <a:pos x="12" y="11"/>
                  </a:cxn>
                  <a:cxn ang="0">
                    <a:pos x="8" y="10"/>
                  </a:cxn>
                  <a:cxn ang="0">
                    <a:pos x="4" y="9"/>
                  </a:cxn>
                  <a:cxn ang="0">
                    <a:pos x="2" y="5"/>
                  </a:cxn>
                  <a:cxn ang="0">
                    <a:pos x="0" y="0"/>
                  </a:cxn>
                </a:cxnLst>
                <a:rect l="0" t="0" r="r" b="b"/>
                <a:pathLst>
                  <a:path w="94" h="11">
                    <a:moveTo>
                      <a:pt x="94" y="0"/>
                    </a:moveTo>
                    <a:lnTo>
                      <a:pt x="94" y="0"/>
                    </a:lnTo>
                    <a:lnTo>
                      <a:pt x="94" y="5"/>
                    </a:lnTo>
                    <a:lnTo>
                      <a:pt x="92" y="9"/>
                    </a:lnTo>
                    <a:lnTo>
                      <a:pt x="88" y="10"/>
                    </a:lnTo>
                    <a:lnTo>
                      <a:pt x="83" y="11"/>
                    </a:lnTo>
                    <a:lnTo>
                      <a:pt x="47" y="11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8" y="10"/>
                    </a:lnTo>
                    <a:lnTo>
                      <a:pt x="4" y="9"/>
                    </a:lnTo>
                    <a:lnTo>
                      <a:pt x="2" y="5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0" name="Line 217"/>
              <p:cNvSpPr>
                <a:spLocks noChangeShapeType="1"/>
              </p:cNvSpPr>
              <p:nvPr/>
            </p:nvSpPr>
            <p:spPr bwMode="auto">
              <a:xfrm flipV="1">
                <a:off x="5112496" y="3613346"/>
                <a:ext cx="2020" cy="26665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23" name="Groupe 281"/>
            <p:cNvGrpSpPr>
              <a:grpSpLocks/>
            </p:cNvGrpSpPr>
            <p:nvPr userDrawn="1"/>
          </p:nvGrpSpPr>
          <p:grpSpPr bwMode="auto">
            <a:xfrm>
              <a:off x="5543115" y="3570780"/>
              <a:ext cx="562532" cy="335672"/>
              <a:chOff x="3909988" y="7116564"/>
              <a:chExt cx="268288" cy="163512"/>
            </a:xfrm>
          </p:grpSpPr>
          <p:sp>
            <p:nvSpPr>
              <p:cNvPr id="12" name="Line 326"/>
              <p:cNvSpPr>
                <a:spLocks noChangeShapeType="1"/>
              </p:cNvSpPr>
              <p:nvPr/>
            </p:nvSpPr>
            <p:spPr bwMode="auto">
              <a:xfrm>
                <a:off x="3909880" y="7120976"/>
                <a:ext cx="1640" cy="1577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3" name="Line 327"/>
              <p:cNvSpPr>
                <a:spLocks noChangeShapeType="1"/>
              </p:cNvSpPr>
              <p:nvPr/>
            </p:nvSpPr>
            <p:spPr bwMode="auto">
              <a:xfrm>
                <a:off x="3911520" y="7278723"/>
                <a:ext cx="266571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4" name="Freeform 328"/>
              <p:cNvSpPr>
                <a:spLocks/>
              </p:cNvSpPr>
              <p:nvPr/>
            </p:nvSpPr>
            <p:spPr bwMode="auto">
              <a:xfrm>
                <a:off x="3936127" y="7143401"/>
                <a:ext cx="179628" cy="115991"/>
              </a:xfrm>
              <a:custGeom>
                <a:avLst/>
                <a:gdLst/>
                <a:ahLst/>
                <a:cxnLst>
                  <a:cxn ang="0">
                    <a:pos x="0" y="73"/>
                  </a:cxn>
                  <a:cxn ang="0">
                    <a:pos x="34" y="39"/>
                  </a:cxn>
                  <a:cxn ang="0">
                    <a:pos x="55" y="59"/>
                  </a:cxn>
                  <a:cxn ang="0">
                    <a:pos x="114" y="0"/>
                  </a:cxn>
                </a:cxnLst>
                <a:rect l="0" t="0" r="r" b="b"/>
                <a:pathLst>
                  <a:path w="114" h="73">
                    <a:moveTo>
                      <a:pt x="0" y="73"/>
                    </a:moveTo>
                    <a:lnTo>
                      <a:pt x="34" y="39"/>
                    </a:lnTo>
                    <a:lnTo>
                      <a:pt x="55" y="59"/>
                    </a:lnTo>
                    <a:lnTo>
                      <a:pt x="114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5" name="Freeform 329"/>
              <p:cNvSpPr>
                <a:spLocks/>
              </p:cNvSpPr>
              <p:nvPr/>
            </p:nvSpPr>
            <p:spPr bwMode="auto">
              <a:xfrm>
                <a:off x="4087867" y="7116337"/>
                <a:ext cx="50854" cy="556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2" y="0"/>
                  </a:cxn>
                  <a:cxn ang="0">
                    <a:pos x="32" y="35"/>
                  </a:cxn>
                </a:cxnLst>
                <a:rect l="0" t="0" r="r" b="b"/>
                <a:pathLst>
                  <a:path w="32" h="35">
                    <a:moveTo>
                      <a:pt x="0" y="0"/>
                    </a:moveTo>
                    <a:lnTo>
                      <a:pt x="32" y="0"/>
                    </a:lnTo>
                    <a:lnTo>
                      <a:pt x="32" y="3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sp>
          <p:nvSpPr>
            <p:cNvPr id="11" name="Freeform 72"/>
            <p:cNvSpPr>
              <a:spLocks/>
            </p:cNvSpPr>
            <p:nvPr userDrawn="1"/>
          </p:nvSpPr>
          <p:spPr bwMode="auto">
            <a:xfrm>
              <a:off x="2579688" y="3656035"/>
              <a:ext cx="581290" cy="349236"/>
            </a:xfrm>
            <a:custGeom>
              <a:avLst/>
              <a:gdLst/>
              <a:ahLst/>
              <a:cxnLst>
                <a:cxn ang="0">
                  <a:pos x="180" y="132"/>
                </a:cxn>
                <a:cxn ang="0">
                  <a:pos x="193" y="129"/>
                </a:cxn>
                <a:cxn ang="0">
                  <a:pos x="204" y="121"/>
                </a:cxn>
                <a:cxn ang="0">
                  <a:pos x="212" y="110"/>
                </a:cxn>
                <a:cxn ang="0">
                  <a:pos x="215" y="97"/>
                </a:cxn>
                <a:cxn ang="0">
                  <a:pos x="215" y="90"/>
                </a:cxn>
                <a:cxn ang="0">
                  <a:pos x="208" y="77"/>
                </a:cxn>
                <a:cxn ang="0">
                  <a:pos x="199" y="68"/>
                </a:cxn>
                <a:cxn ang="0">
                  <a:pos x="187" y="63"/>
                </a:cxn>
                <a:cxn ang="0">
                  <a:pos x="180" y="62"/>
                </a:cxn>
                <a:cxn ang="0">
                  <a:pos x="179" y="62"/>
                </a:cxn>
                <a:cxn ang="0">
                  <a:pos x="179" y="61"/>
                </a:cxn>
                <a:cxn ang="0">
                  <a:pos x="174" y="36"/>
                </a:cxn>
                <a:cxn ang="0">
                  <a:pos x="161" y="17"/>
                </a:cxn>
                <a:cxn ang="0">
                  <a:pos x="142" y="5"/>
                </a:cxn>
                <a:cxn ang="0">
                  <a:pos x="120" y="0"/>
                </a:cxn>
                <a:cxn ang="0">
                  <a:pos x="109" y="1"/>
                </a:cxn>
                <a:cxn ang="0">
                  <a:pos x="92" y="6"/>
                </a:cxn>
                <a:cxn ang="0">
                  <a:pos x="78" y="17"/>
                </a:cxn>
                <a:cxn ang="0">
                  <a:pos x="66" y="31"/>
                </a:cxn>
                <a:cxn ang="0">
                  <a:pos x="62" y="39"/>
                </a:cxn>
                <a:cxn ang="0">
                  <a:pos x="47" y="36"/>
                </a:cxn>
                <a:cxn ang="0">
                  <a:pos x="38" y="38"/>
                </a:cxn>
                <a:cxn ang="0">
                  <a:pos x="21" y="45"/>
                </a:cxn>
                <a:cxn ang="0">
                  <a:pos x="8" y="58"/>
                </a:cxn>
                <a:cxn ang="0">
                  <a:pos x="2" y="75"/>
                </a:cxn>
                <a:cxn ang="0">
                  <a:pos x="0" y="85"/>
                </a:cxn>
                <a:cxn ang="0">
                  <a:pos x="4" y="102"/>
                </a:cxn>
                <a:cxn ang="0">
                  <a:pos x="14" y="118"/>
                </a:cxn>
                <a:cxn ang="0">
                  <a:pos x="30" y="128"/>
                </a:cxn>
                <a:cxn ang="0">
                  <a:pos x="47" y="132"/>
                </a:cxn>
                <a:cxn ang="0">
                  <a:pos x="147" y="132"/>
                </a:cxn>
              </a:cxnLst>
              <a:rect l="0" t="0" r="r" b="b"/>
              <a:pathLst>
                <a:path w="215" h="132">
                  <a:moveTo>
                    <a:pt x="180" y="132"/>
                  </a:moveTo>
                  <a:lnTo>
                    <a:pt x="180" y="132"/>
                  </a:lnTo>
                  <a:lnTo>
                    <a:pt x="187" y="132"/>
                  </a:lnTo>
                  <a:lnTo>
                    <a:pt x="193" y="129"/>
                  </a:lnTo>
                  <a:lnTo>
                    <a:pt x="199" y="125"/>
                  </a:lnTo>
                  <a:lnTo>
                    <a:pt x="204" y="121"/>
                  </a:lnTo>
                  <a:lnTo>
                    <a:pt x="208" y="116"/>
                  </a:lnTo>
                  <a:lnTo>
                    <a:pt x="212" y="110"/>
                  </a:lnTo>
                  <a:lnTo>
                    <a:pt x="215" y="104"/>
                  </a:lnTo>
                  <a:lnTo>
                    <a:pt x="215" y="97"/>
                  </a:lnTo>
                  <a:lnTo>
                    <a:pt x="215" y="97"/>
                  </a:lnTo>
                  <a:lnTo>
                    <a:pt x="215" y="90"/>
                  </a:lnTo>
                  <a:lnTo>
                    <a:pt x="212" y="83"/>
                  </a:lnTo>
                  <a:lnTo>
                    <a:pt x="208" y="77"/>
                  </a:lnTo>
                  <a:lnTo>
                    <a:pt x="204" y="72"/>
                  </a:lnTo>
                  <a:lnTo>
                    <a:pt x="199" y="68"/>
                  </a:lnTo>
                  <a:lnTo>
                    <a:pt x="193" y="64"/>
                  </a:lnTo>
                  <a:lnTo>
                    <a:pt x="187" y="63"/>
                  </a:lnTo>
                  <a:lnTo>
                    <a:pt x="180" y="62"/>
                  </a:lnTo>
                  <a:lnTo>
                    <a:pt x="180" y="62"/>
                  </a:lnTo>
                  <a:lnTo>
                    <a:pt x="179" y="62"/>
                  </a:lnTo>
                  <a:lnTo>
                    <a:pt x="179" y="62"/>
                  </a:lnTo>
                  <a:lnTo>
                    <a:pt x="179" y="61"/>
                  </a:lnTo>
                  <a:lnTo>
                    <a:pt x="179" y="61"/>
                  </a:lnTo>
                  <a:lnTo>
                    <a:pt x="178" y="48"/>
                  </a:lnTo>
                  <a:lnTo>
                    <a:pt x="174" y="36"/>
                  </a:lnTo>
                  <a:lnTo>
                    <a:pt x="169" y="26"/>
                  </a:lnTo>
                  <a:lnTo>
                    <a:pt x="161" y="17"/>
                  </a:lnTo>
                  <a:lnTo>
                    <a:pt x="152" y="10"/>
                  </a:lnTo>
                  <a:lnTo>
                    <a:pt x="142" y="5"/>
                  </a:lnTo>
                  <a:lnTo>
                    <a:pt x="131" y="1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09" y="1"/>
                  </a:lnTo>
                  <a:lnTo>
                    <a:pt x="101" y="2"/>
                  </a:lnTo>
                  <a:lnTo>
                    <a:pt x="92" y="6"/>
                  </a:lnTo>
                  <a:lnTo>
                    <a:pt x="84" y="11"/>
                  </a:lnTo>
                  <a:lnTo>
                    <a:pt x="78" y="17"/>
                  </a:lnTo>
                  <a:lnTo>
                    <a:pt x="71" y="24"/>
                  </a:lnTo>
                  <a:lnTo>
                    <a:pt x="66" y="31"/>
                  </a:lnTo>
                  <a:lnTo>
                    <a:pt x="62" y="39"/>
                  </a:lnTo>
                  <a:lnTo>
                    <a:pt x="62" y="39"/>
                  </a:lnTo>
                  <a:lnTo>
                    <a:pt x="55" y="38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38" y="38"/>
                  </a:lnTo>
                  <a:lnTo>
                    <a:pt x="30" y="40"/>
                  </a:lnTo>
                  <a:lnTo>
                    <a:pt x="21" y="45"/>
                  </a:lnTo>
                  <a:lnTo>
                    <a:pt x="14" y="50"/>
                  </a:lnTo>
                  <a:lnTo>
                    <a:pt x="8" y="58"/>
                  </a:lnTo>
                  <a:lnTo>
                    <a:pt x="4" y="66"/>
                  </a:lnTo>
                  <a:lnTo>
                    <a:pt x="2" y="7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2" y="94"/>
                  </a:lnTo>
                  <a:lnTo>
                    <a:pt x="4" y="102"/>
                  </a:lnTo>
                  <a:lnTo>
                    <a:pt x="8" y="111"/>
                  </a:lnTo>
                  <a:lnTo>
                    <a:pt x="14" y="118"/>
                  </a:lnTo>
                  <a:lnTo>
                    <a:pt x="21" y="124"/>
                  </a:lnTo>
                  <a:lnTo>
                    <a:pt x="30" y="128"/>
                  </a:lnTo>
                  <a:lnTo>
                    <a:pt x="38" y="130"/>
                  </a:lnTo>
                  <a:lnTo>
                    <a:pt x="47" y="132"/>
                  </a:lnTo>
                  <a:lnTo>
                    <a:pt x="47" y="132"/>
                  </a:lnTo>
                  <a:lnTo>
                    <a:pt x="147" y="132"/>
                  </a:lnTo>
                </a:path>
              </a:pathLst>
            </a:custGeom>
            <a:noFill/>
            <a:ln w="1905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lIns="83969" tIns="41985" rIns="83969" bIns="41985"/>
            <a:lstStyle/>
            <a:p>
              <a:pPr defTabSz="914400">
                <a:defRPr/>
              </a:pPr>
              <a:endParaRPr lang="en-US" sz="1800">
                <a:solidFill>
                  <a:srgbClr val="263147"/>
                </a:solidFill>
                <a:cs typeface="Arial" charset="0"/>
              </a:endParaRPr>
            </a:p>
          </p:txBody>
        </p:sp>
      </p:grpSp>
      <p:graphicFrame>
        <p:nvGraphicFramePr>
          <p:cNvPr id="42" name="Object 2" hidden="1"/>
          <p:cNvGraphicFramePr>
            <a:graphicFrameLocks noChangeAspect="1"/>
          </p:cNvGraphicFramePr>
          <p:nvPr/>
        </p:nvGraphicFramePr>
        <p:xfrm>
          <a:off x="0" y="0"/>
          <a:ext cx="158222" cy="158750"/>
        </p:xfrm>
        <a:graphic>
          <a:graphicData uri="http://schemas.openxmlformats.org/presentationml/2006/ole">
            <p:oleObj spid="_x0000_s1382403" name="think-cell Slide" r:id="rId6" imgW="360" imgH="360" progId="">
              <p:embed/>
            </p:oleObj>
          </a:graphicData>
        </a:graphic>
      </p:graphicFrame>
      <p:sp>
        <p:nvSpPr>
          <p:cNvPr id="43" name="Rectangle 7"/>
          <p:cNvSpPr/>
          <p:nvPr>
            <p:custDataLst>
              <p:tags r:id="rId2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xmlns="" val="4143894643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 descr="mw2.jpg"/>
          <p:cNvPicPr>
            <a:picLocks noChangeAspect="1"/>
          </p:cNvPicPr>
          <p:nvPr userDrawn="1"/>
        </p:nvPicPr>
        <p:blipFill>
          <a:blip r:embed="rId4" cstate="email"/>
          <a:stretch>
            <a:fillRect/>
          </a:stretch>
        </p:blipFill>
        <p:spPr>
          <a:xfrm>
            <a:off x="0" y="2"/>
            <a:ext cx="9906000" cy="5325133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222" cy="158750"/>
        </p:xfrm>
        <a:graphic>
          <a:graphicData uri="http://schemas.openxmlformats.org/presentationml/2006/ole">
            <p:oleObj spid="_x0000_s1383426" name="think-cell Slide" r:id="rId5" imgW="360" imgH="360" progId="">
              <p:embed/>
            </p:oleObj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/>
        </p:nvGraphicFramePr>
        <p:xfrm>
          <a:off x="0" y="0"/>
          <a:ext cx="158222" cy="158750"/>
        </p:xfrm>
        <a:graphic>
          <a:graphicData uri="http://schemas.openxmlformats.org/presentationml/2006/ole">
            <p:oleObj spid="_x0000_s1383427" name="think-cell Slide" r:id="rId6" imgW="360" imgH="360" progId="">
              <p:embed/>
            </p:oleObj>
          </a:graphicData>
        </a:graphic>
      </p:graphicFrame>
      <p:sp>
        <p:nvSpPr>
          <p:cNvPr id="43" name="Rectangle 7"/>
          <p:cNvSpPr/>
          <p:nvPr>
            <p:custDataLst>
              <p:tags r:id="rId2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xmlns="" val="4143894643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7701" name="Picture 5" descr="http://talent.capgemini.com/media_library/Medias/News_Illustrations/mobile_transformation.jpg"/>
          <p:cNvPicPr>
            <a:picLocks noChangeAspect="1" noChangeArrowheads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" y="0"/>
            <a:ext cx="9905999" cy="48006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222" cy="158750"/>
        </p:xfrm>
        <a:graphic>
          <a:graphicData uri="http://schemas.openxmlformats.org/presentationml/2006/ole">
            <p:oleObj spid="_x0000_s1384450" name="think-cell Slide" r:id="rId5" imgW="360" imgH="360" progId="">
              <p:embed/>
            </p:oleObj>
          </a:graphicData>
        </a:graphic>
      </p:graphicFrame>
      <p:grpSp>
        <p:nvGrpSpPr>
          <p:cNvPr id="4" name="Group 18"/>
          <p:cNvGrpSpPr>
            <a:grpSpLocks/>
          </p:cNvGrpSpPr>
          <p:nvPr/>
        </p:nvGrpSpPr>
        <p:grpSpPr bwMode="auto">
          <a:xfrm>
            <a:off x="2579688" y="700734"/>
            <a:ext cx="6500750" cy="1502721"/>
            <a:chOff x="2579688" y="2502608"/>
            <a:chExt cx="6500750" cy="1502663"/>
          </a:xfrm>
        </p:grpSpPr>
        <p:grpSp>
          <p:nvGrpSpPr>
            <p:cNvPr id="5" name="Groupe 709"/>
            <p:cNvGrpSpPr>
              <a:grpSpLocks/>
            </p:cNvGrpSpPr>
            <p:nvPr userDrawn="1"/>
          </p:nvGrpSpPr>
          <p:grpSpPr bwMode="auto">
            <a:xfrm>
              <a:off x="8084783" y="2883520"/>
              <a:ext cx="386117" cy="518177"/>
              <a:chOff x="2344714" y="4924226"/>
              <a:chExt cx="184150" cy="252413"/>
            </a:xfrm>
          </p:grpSpPr>
          <p:sp>
            <p:nvSpPr>
              <p:cNvPr id="40" name="Freeform 449"/>
              <p:cNvSpPr>
                <a:spLocks/>
              </p:cNvSpPr>
              <p:nvPr/>
            </p:nvSpPr>
            <p:spPr bwMode="auto">
              <a:xfrm>
                <a:off x="2344694" y="4923950"/>
                <a:ext cx="184548" cy="252859"/>
              </a:xfrm>
              <a:custGeom>
                <a:avLst/>
                <a:gdLst/>
                <a:ahLst/>
                <a:cxnLst>
                  <a:cxn ang="0">
                    <a:pos x="97" y="159"/>
                  </a:cxn>
                  <a:cxn ang="0">
                    <a:pos x="20" y="159"/>
                  </a:cxn>
                  <a:cxn ang="0">
                    <a:pos x="20" y="159"/>
                  </a:cxn>
                  <a:cxn ang="0">
                    <a:pos x="15" y="159"/>
                  </a:cxn>
                  <a:cxn ang="0">
                    <a:pos x="13" y="157"/>
                  </a:cxn>
                  <a:cxn ang="0">
                    <a:pos x="6" y="154"/>
                  </a:cxn>
                  <a:cxn ang="0">
                    <a:pos x="1" y="147"/>
                  </a:cxn>
                  <a:cxn ang="0">
                    <a:pos x="0" y="143"/>
                  </a:cxn>
                  <a:cxn ang="0">
                    <a:pos x="0" y="140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15"/>
                  </a:cxn>
                  <a:cxn ang="0">
                    <a:pos x="1" y="12"/>
                  </a:cxn>
                  <a:cxn ang="0">
                    <a:pos x="6" y="5"/>
                  </a:cxn>
                  <a:cxn ang="0">
                    <a:pos x="13" y="2"/>
                  </a:cxn>
                  <a:cxn ang="0">
                    <a:pos x="15" y="0"/>
                  </a:cxn>
                  <a:cxn ang="0">
                    <a:pos x="20" y="0"/>
                  </a:cxn>
                  <a:cxn ang="0">
                    <a:pos x="97" y="0"/>
                  </a:cxn>
                  <a:cxn ang="0">
                    <a:pos x="97" y="0"/>
                  </a:cxn>
                  <a:cxn ang="0">
                    <a:pos x="101" y="0"/>
                  </a:cxn>
                  <a:cxn ang="0">
                    <a:pos x="105" y="2"/>
                  </a:cxn>
                  <a:cxn ang="0">
                    <a:pos x="111" y="5"/>
                  </a:cxn>
                  <a:cxn ang="0">
                    <a:pos x="115" y="12"/>
                  </a:cxn>
                  <a:cxn ang="0">
                    <a:pos x="116" y="15"/>
                  </a:cxn>
                  <a:cxn ang="0">
                    <a:pos x="116" y="19"/>
                  </a:cxn>
                  <a:cxn ang="0">
                    <a:pos x="116" y="159"/>
                  </a:cxn>
                </a:cxnLst>
                <a:rect l="0" t="0" r="r" b="b"/>
                <a:pathLst>
                  <a:path w="116" h="159">
                    <a:moveTo>
                      <a:pt x="97" y="159"/>
                    </a:moveTo>
                    <a:lnTo>
                      <a:pt x="20" y="159"/>
                    </a:lnTo>
                    <a:lnTo>
                      <a:pt x="20" y="159"/>
                    </a:lnTo>
                    <a:lnTo>
                      <a:pt x="15" y="159"/>
                    </a:lnTo>
                    <a:lnTo>
                      <a:pt x="13" y="157"/>
                    </a:lnTo>
                    <a:lnTo>
                      <a:pt x="6" y="154"/>
                    </a:lnTo>
                    <a:lnTo>
                      <a:pt x="1" y="147"/>
                    </a:lnTo>
                    <a:lnTo>
                      <a:pt x="0" y="143"/>
                    </a:lnTo>
                    <a:lnTo>
                      <a:pt x="0" y="140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5"/>
                    </a:lnTo>
                    <a:lnTo>
                      <a:pt x="1" y="12"/>
                    </a:lnTo>
                    <a:lnTo>
                      <a:pt x="6" y="5"/>
                    </a:lnTo>
                    <a:lnTo>
                      <a:pt x="13" y="2"/>
                    </a:lnTo>
                    <a:lnTo>
                      <a:pt x="15" y="0"/>
                    </a:lnTo>
                    <a:lnTo>
                      <a:pt x="20" y="0"/>
                    </a:lnTo>
                    <a:lnTo>
                      <a:pt x="97" y="0"/>
                    </a:lnTo>
                    <a:lnTo>
                      <a:pt x="97" y="0"/>
                    </a:lnTo>
                    <a:lnTo>
                      <a:pt x="101" y="0"/>
                    </a:lnTo>
                    <a:lnTo>
                      <a:pt x="105" y="2"/>
                    </a:lnTo>
                    <a:lnTo>
                      <a:pt x="111" y="5"/>
                    </a:lnTo>
                    <a:lnTo>
                      <a:pt x="115" y="12"/>
                    </a:lnTo>
                    <a:lnTo>
                      <a:pt x="116" y="15"/>
                    </a:lnTo>
                    <a:lnTo>
                      <a:pt x="116" y="19"/>
                    </a:lnTo>
                    <a:lnTo>
                      <a:pt x="116" y="15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41" name="Freeform 450"/>
              <p:cNvSpPr>
                <a:spLocks/>
              </p:cNvSpPr>
              <p:nvPr/>
            </p:nvSpPr>
            <p:spPr bwMode="auto">
              <a:xfrm>
                <a:off x="2365199" y="4944828"/>
                <a:ext cx="145178" cy="231981"/>
              </a:xfrm>
              <a:custGeom>
                <a:avLst/>
                <a:gdLst/>
                <a:ahLst/>
                <a:cxnLst>
                  <a:cxn ang="0">
                    <a:pos x="32" y="129"/>
                  </a:cxn>
                  <a:cxn ang="0">
                    <a:pos x="32" y="129"/>
                  </a:cxn>
                  <a:cxn ang="0">
                    <a:pos x="34" y="133"/>
                  </a:cxn>
                  <a:cxn ang="0">
                    <a:pos x="35" y="136"/>
                  </a:cxn>
                  <a:cxn ang="0">
                    <a:pos x="39" y="137"/>
                  </a:cxn>
                  <a:cxn ang="0">
                    <a:pos x="41" y="138"/>
                  </a:cxn>
                  <a:cxn ang="0">
                    <a:pos x="41" y="138"/>
                  </a:cxn>
                  <a:cxn ang="0">
                    <a:pos x="45" y="137"/>
                  </a:cxn>
                  <a:cxn ang="0">
                    <a:pos x="48" y="136"/>
                  </a:cxn>
                  <a:cxn ang="0">
                    <a:pos x="49" y="133"/>
                  </a:cxn>
                  <a:cxn ang="0">
                    <a:pos x="50" y="129"/>
                  </a:cxn>
                  <a:cxn ang="0">
                    <a:pos x="50" y="129"/>
                  </a:cxn>
                  <a:cxn ang="0">
                    <a:pos x="49" y="125"/>
                  </a:cxn>
                  <a:cxn ang="0">
                    <a:pos x="48" y="123"/>
                  </a:cxn>
                  <a:cxn ang="0">
                    <a:pos x="45" y="122"/>
                  </a:cxn>
                  <a:cxn ang="0">
                    <a:pos x="41" y="120"/>
                  </a:cxn>
                  <a:cxn ang="0">
                    <a:pos x="7" y="120"/>
                  </a:cxn>
                  <a:cxn ang="0">
                    <a:pos x="7" y="120"/>
                  </a:cxn>
                  <a:cxn ang="0">
                    <a:pos x="5" y="120"/>
                  </a:cxn>
                  <a:cxn ang="0">
                    <a:pos x="2" y="119"/>
                  </a:cxn>
                  <a:cxn ang="0">
                    <a:pos x="1" y="117"/>
                  </a:cxn>
                  <a:cxn ang="0">
                    <a:pos x="0" y="11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1" y="4"/>
                  </a:cxn>
                  <a:cxn ang="0">
                    <a:pos x="2" y="2"/>
                  </a:cxn>
                  <a:cxn ang="0">
                    <a:pos x="5" y="1"/>
                  </a:cxn>
                  <a:cxn ang="0">
                    <a:pos x="7" y="0"/>
                  </a:cxn>
                  <a:cxn ang="0">
                    <a:pos x="84" y="0"/>
                  </a:cxn>
                  <a:cxn ang="0">
                    <a:pos x="84" y="0"/>
                  </a:cxn>
                  <a:cxn ang="0">
                    <a:pos x="87" y="1"/>
                  </a:cxn>
                  <a:cxn ang="0">
                    <a:pos x="88" y="2"/>
                  </a:cxn>
                  <a:cxn ang="0">
                    <a:pos x="89" y="4"/>
                  </a:cxn>
                  <a:cxn ang="0">
                    <a:pos x="91" y="6"/>
                  </a:cxn>
                  <a:cxn ang="0">
                    <a:pos x="91" y="139"/>
                  </a:cxn>
                  <a:cxn ang="0">
                    <a:pos x="91" y="139"/>
                  </a:cxn>
                  <a:cxn ang="0">
                    <a:pos x="89" y="142"/>
                  </a:cxn>
                  <a:cxn ang="0">
                    <a:pos x="88" y="144"/>
                  </a:cxn>
                  <a:cxn ang="0">
                    <a:pos x="87" y="146"/>
                  </a:cxn>
                  <a:cxn ang="0">
                    <a:pos x="84" y="146"/>
                  </a:cxn>
                </a:cxnLst>
                <a:rect l="0" t="0" r="r" b="b"/>
                <a:pathLst>
                  <a:path w="91" h="146">
                    <a:moveTo>
                      <a:pt x="32" y="129"/>
                    </a:moveTo>
                    <a:lnTo>
                      <a:pt x="32" y="129"/>
                    </a:lnTo>
                    <a:lnTo>
                      <a:pt x="34" y="133"/>
                    </a:lnTo>
                    <a:lnTo>
                      <a:pt x="35" y="136"/>
                    </a:lnTo>
                    <a:lnTo>
                      <a:pt x="39" y="137"/>
                    </a:lnTo>
                    <a:lnTo>
                      <a:pt x="41" y="138"/>
                    </a:lnTo>
                    <a:lnTo>
                      <a:pt x="41" y="138"/>
                    </a:lnTo>
                    <a:lnTo>
                      <a:pt x="45" y="137"/>
                    </a:lnTo>
                    <a:lnTo>
                      <a:pt x="48" y="136"/>
                    </a:lnTo>
                    <a:lnTo>
                      <a:pt x="49" y="133"/>
                    </a:lnTo>
                    <a:lnTo>
                      <a:pt x="50" y="129"/>
                    </a:lnTo>
                    <a:lnTo>
                      <a:pt x="50" y="129"/>
                    </a:lnTo>
                    <a:lnTo>
                      <a:pt x="49" y="125"/>
                    </a:lnTo>
                    <a:lnTo>
                      <a:pt x="48" y="123"/>
                    </a:lnTo>
                    <a:lnTo>
                      <a:pt x="45" y="122"/>
                    </a:lnTo>
                    <a:lnTo>
                      <a:pt x="41" y="120"/>
                    </a:lnTo>
                    <a:lnTo>
                      <a:pt x="7" y="120"/>
                    </a:lnTo>
                    <a:lnTo>
                      <a:pt x="7" y="120"/>
                    </a:lnTo>
                    <a:lnTo>
                      <a:pt x="5" y="120"/>
                    </a:lnTo>
                    <a:lnTo>
                      <a:pt x="2" y="119"/>
                    </a:lnTo>
                    <a:lnTo>
                      <a:pt x="1" y="117"/>
                    </a:lnTo>
                    <a:lnTo>
                      <a:pt x="0" y="11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5" y="1"/>
                    </a:lnTo>
                    <a:lnTo>
                      <a:pt x="7" y="0"/>
                    </a:lnTo>
                    <a:lnTo>
                      <a:pt x="84" y="0"/>
                    </a:lnTo>
                    <a:lnTo>
                      <a:pt x="84" y="0"/>
                    </a:lnTo>
                    <a:lnTo>
                      <a:pt x="87" y="1"/>
                    </a:lnTo>
                    <a:lnTo>
                      <a:pt x="88" y="2"/>
                    </a:lnTo>
                    <a:lnTo>
                      <a:pt x="89" y="4"/>
                    </a:lnTo>
                    <a:lnTo>
                      <a:pt x="91" y="6"/>
                    </a:lnTo>
                    <a:lnTo>
                      <a:pt x="91" y="139"/>
                    </a:lnTo>
                    <a:lnTo>
                      <a:pt x="91" y="139"/>
                    </a:lnTo>
                    <a:lnTo>
                      <a:pt x="89" y="142"/>
                    </a:lnTo>
                    <a:lnTo>
                      <a:pt x="88" y="144"/>
                    </a:lnTo>
                    <a:lnTo>
                      <a:pt x="87" y="146"/>
                    </a:lnTo>
                    <a:lnTo>
                      <a:pt x="84" y="146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6" name="Groupe 836"/>
            <p:cNvGrpSpPr>
              <a:grpSpLocks/>
            </p:cNvGrpSpPr>
            <p:nvPr userDrawn="1"/>
          </p:nvGrpSpPr>
          <p:grpSpPr bwMode="auto">
            <a:xfrm>
              <a:off x="6165033" y="2867225"/>
              <a:ext cx="722304" cy="534472"/>
              <a:chOff x="1163614" y="7062589"/>
              <a:chExt cx="344488" cy="260350"/>
            </a:xfrm>
          </p:grpSpPr>
          <p:sp>
            <p:nvSpPr>
              <p:cNvPr id="26" name="Freeform 578"/>
              <p:cNvSpPr>
                <a:spLocks/>
              </p:cNvSpPr>
              <p:nvPr/>
            </p:nvSpPr>
            <p:spPr bwMode="auto">
              <a:xfrm>
                <a:off x="1477958" y="7108914"/>
                <a:ext cx="30348" cy="166252"/>
              </a:xfrm>
              <a:custGeom>
                <a:avLst/>
                <a:gdLst/>
                <a:ahLst/>
                <a:cxnLst>
                  <a:cxn ang="0">
                    <a:pos x="0" y="105"/>
                  </a:cxn>
                  <a:cxn ang="0">
                    <a:pos x="0" y="105"/>
                  </a:cxn>
                  <a:cxn ang="0">
                    <a:pos x="7" y="94"/>
                  </a:cxn>
                  <a:cxn ang="0">
                    <a:pos x="14" y="81"/>
                  </a:cxn>
                  <a:cxn ang="0">
                    <a:pos x="17" y="67"/>
                  </a:cxn>
                  <a:cxn ang="0">
                    <a:pos x="19" y="52"/>
                  </a:cxn>
                  <a:cxn ang="0">
                    <a:pos x="19" y="52"/>
                  </a:cxn>
                  <a:cxn ang="0">
                    <a:pos x="17" y="38"/>
                  </a:cxn>
                  <a:cxn ang="0">
                    <a:pos x="14" y="24"/>
                  </a:cxn>
                  <a:cxn ang="0">
                    <a:pos x="7" y="12"/>
                  </a:cxn>
                  <a:cxn ang="0">
                    <a:pos x="0" y="0"/>
                  </a:cxn>
                </a:cxnLst>
                <a:rect l="0" t="0" r="r" b="b"/>
                <a:pathLst>
                  <a:path w="19" h="105">
                    <a:moveTo>
                      <a:pt x="0" y="105"/>
                    </a:moveTo>
                    <a:lnTo>
                      <a:pt x="0" y="105"/>
                    </a:lnTo>
                    <a:lnTo>
                      <a:pt x="7" y="94"/>
                    </a:lnTo>
                    <a:lnTo>
                      <a:pt x="14" y="81"/>
                    </a:lnTo>
                    <a:lnTo>
                      <a:pt x="17" y="67"/>
                    </a:lnTo>
                    <a:lnTo>
                      <a:pt x="19" y="52"/>
                    </a:lnTo>
                    <a:lnTo>
                      <a:pt x="19" y="52"/>
                    </a:lnTo>
                    <a:lnTo>
                      <a:pt x="17" y="38"/>
                    </a:lnTo>
                    <a:lnTo>
                      <a:pt x="14" y="24"/>
                    </a:lnTo>
                    <a:lnTo>
                      <a:pt x="7" y="12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7" name="Freeform 579"/>
              <p:cNvSpPr>
                <a:spLocks/>
              </p:cNvSpPr>
              <p:nvPr/>
            </p:nvSpPr>
            <p:spPr bwMode="auto">
              <a:xfrm>
                <a:off x="1277825" y="7273619"/>
                <a:ext cx="10170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7" y="7"/>
                  </a:cxn>
                  <a:cxn ang="0">
                    <a:pos x="13" y="13"/>
                  </a:cxn>
                  <a:cxn ang="0">
                    <a:pos x="21" y="18"/>
                  </a:cxn>
                  <a:cxn ang="0">
                    <a:pos x="28" y="22"/>
                  </a:cxn>
                  <a:cxn ang="0">
                    <a:pos x="36" y="26"/>
                  </a:cxn>
                  <a:cxn ang="0">
                    <a:pos x="45" y="28"/>
                  </a:cxn>
                  <a:cxn ang="0">
                    <a:pos x="54" y="29"/>
                  </a:cxn>
                  <a:cxn ang="0">
                    <a:pos x="64" y="31"/>
                  </a:cxn>
                </a:cxnLst>
                <a:rect l="0" t="0" r="r" b="b"/>
                <a:pathLst>
                  <a:path w="64" h="31">
                    <a:moveTo>
                      <a:pt x="0" y="0"/>
                    </a:moveTo>
                    <a:lnTo>
                      <a:pt x="0" y="0"/>
                    </a:lnTo>
                    <a:lnTo>
                      <a:pt x="7" y="7"/>
                    </a:lnTo>
                    <a:lnTo>
                      <a:pt x="13" y="13"/>
                    </a:lnTo>
                    <a:lnTo>
                      <a:pt x="21" y="18"/>
                    </a:lnTo>
                    <a:lnTo>
                      <a:pt x="28" y="22"/>
                    </a:lnTo>
                    <a:lnTo>
                      <a:pt x="36" y="26"/>
                    </a:lnTo>
                    <a:lnTo>
                      <a:pt x="45" y="28"/>
                    </a:lnTo>
                    <a:lnTo>
                      <a:pt x="54" y="29"/>
                    </a:lnTo>
                    <a:lnTo>
                      <a:pt x="64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8" name="Line 580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9" name="Line 581"/>
              <p:cNvSpPr>
                <a:spLocks noChangeShapeType="1"/>
              </p:cNvSpPr>
              <p:nvPr/>
            </p:nvSpPr>
            <p:spPr bwMode="auto">
              <a:xfrm>
                <a:off x="1277825" y="7108914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0" name="Freeform 582"/>
              <p:cNvSpPr>
                <a:spLocks/>
              </p:cNvSpPr>
              <p:nvPr/>
            </p:nvSpPr>
            <p:spPr bwMode="auto">
              <a:xfrm>
                <a:off x="1277825" y="7062518"/>
                <a:ext cx="200134" cy="46396"/>
              </a:xfrm>
              <a:custGeom>
                <a:avLst/>
                <a:gdLst/>
                <a:ahLst/>
                <a:cxnLst>
                  <a:cxn ang="0">
                    <a:pos x="0" y="29"/>
                  </a:cxn>
                  <a:cxn ang="0">
                    <a:pos x="0" y="29"/>
                  </a:cxn>
                  <a:cxn ang="0">
                    <a:pos x="7" y="23"/>
                  </a:cxn>
                  <a:cxn ang="0">
                    <a:pos x="13" y="17"/>
                  </a:cxn>
                  <a:cxn ang="0">
                    <a:pos x="21" y="12"/>
                  </a:cxn>
                  <a:cxn ang="0">
                    <a:pos x="28" y="8"/>
                  </a:cxn>
                  <a:cxn ang="0">
                    <a:pos x="37" y="4"/>
                  </a:cxn>
                  <a:cxn ang="0">
                    <a:pos x="45" y="3"/>
                  </a:cxn>
                  <a:cxn ang="0">
                    <a:pos x="54" y="0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73" y="0"/>
                  </a:cxn>
                  <a:cxn ang="0">
                    <a:pos x="81" y="3"/>
                  </a:cxn>
                  <a:cxn ang="0">
                    <a:pos x="90" y="4"/>
                  </a:cxn>
                  <a:cxn ang="0">
                    <a:pos x="98" y="8"/>
                  </a:cxn>
                  <a:cxn ang="0">
                    <a:pos x="105" y="12"/>
                  </a:cxn>
                  <a:cxn ang="0">
                    <a:pos x="113" y="17"/>
                  </a:cxn>
                  <a:cxn ang="0">
                    <a:pos x="119" y="23"/>
                  </a:cxn>
                  <a:cxn ang="0">
                    <a:pos x="126" y="29"/>
                  </a:cxn>
                </a:cxnLst>
                <a:rect l="0" t="0" r="r" b="b"/>
                <a:pathLst>
                  <a:path w="126" h="29">
                    <a:moveTo>
                      <a:pt x="0" y="29"/>
                    </a:moveTo>
                    <a:lnTo>
                      <a:pt x="0" y="29"/>
                    </a:lnTo>
                    <a:lnTo>
                      <a:pt x="7" y="23"/>
                    </a:lnTo>
                    <a:lnTo>
                      <a:pt x="13" y="17"/>
                    </a:lnTo>
                    <a:lnTo>
                      <a:pt x="21" y="12"/>
                    </a:lnTo>
                    <a:lnTo>
                      <a:pt x="28" y="8"/>
                    </a:lnTo>
                    <a:lnTo>
                      <a:pt x="37" y="4"/>
                    </a:lnTo>
                    <a:lnTo>
                      <a:pt x="45" y="3"/>
                    </a:lnTo>
                    <a:lnTo>
                      <a:pt x="5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73" y="0"/>
                    </a:lnTo>
                    <a:lnTo>
                      <a:pt x="81" y="3"/>
                    </a:lnTo>
                    <a:lnTo>
                      <a:pt x="90" y="4"/>
                    </a:lnTo>
                    <a:lnTo>
                      <a:pt x="98" y="8"/>
                    </a:lnTo>
                    <a:lnTo>
                      <a:pt x="105" y="12"/>
                    </a:lnTo>
                    <a:lnTo>
                      <a:pt x="113" y="17"/>
                    </a:lnTo>
                    <a:lnTo>
                      <a:pt x="119" y="23"/>
                    </a:lnTo>
                    <a:lnTo>
                      <a:pt x="126" y="2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1" name="Freeform 583"/>
              <p:cNvSpPr>
                <a:spLocks/>
              </p:cNvSpPr>
              <p:nvPr/>
            </p:nvSpPr>
            <p:spPr bwMode="auto">
              <a:xfrm>
                <a:off x="1277825" y="7108914"/>
                <a:ext cx="200134" cy="2165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3" y="7"/>
                  </a:cxn>
                  <a:cxn ang="0">
                    <a:pos x="28" y="10"/>
                  </a:cxn>
                  <a:cxn ang="0">
                    <a:pos x="45" y="13"/>
                  </a:cxn>
                  <a:cxn ang="0">
                    <a:pos x="62" y="14"/>
                  </a:cxn>
                  <a:cxn ang="0">
                    <a:pos x="62" y="14"/>
                  </a:cxn>
                  <a:cxn ang="0">
                    <a:pos x="81" y="13"/>
                  </a:cxn>
                  <a:cxn ang="0">
                    <a:pos x="98" y="10"/>
                  </a:cxn>
                  <a:cxn ang="0">
                    <a:pos x="113" y="5"/>
                  </a:cxn>
                  <a:cxn ang="0">
                    <a:pos x="126" y="0"/>
                  </a:cxn>
                </a:cxnLst>
                <a:rect l="0" t="0" r="r" b="b"/>
                <a:pathLst>
                  <a:path w="126" h="14">
                    <a:moveTo>
                      <a:pt x="0" y="0"/>
                    </a:moveTo>
                    <a:lnTo>
                      <a:pt x="0" y="0"/>
                    </a:lnTo>
                    <a:lnTo>
                      <a:pt x="13" y="7"/>
                    </a:lnTo>
                    <a:lnTo>
                      <a:pt x="28" y="10"/>
                    </a:lnTo>
                    <a:lnTo>
                      <a:pt x="45" y="13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1" y="13"/>
                    </a:lnTo>
                    <a:lnTo>
                      <a:pt x="98" y="10"/>
                    </a:lnTo>
                    <a:lnTo>
                      <a:pt x="113" y="5"/>
                    </a:lnTo>
                    <a:lnTo>
                      <a:pt x="126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2" name="Freeform 584"/>
              <p:cNvSpPr>
                <a:spLocks/>
              </p:cNvSpPr>
              <p:nvPr/>
            </p:nvSpPr>
            <p:spPr bwMode="auto">
              <a:xfrm>
                <a:off x="1277825" y="7251968"/>
                <a:ext cx="200134" cy="23198"/>
              </a:xfrm>
              <a:custGeom>
                <a:avLst/>
                <a:gdLst/>
                <a:ahLst/>
                <a:cxnLst>
                  <a:cxn ang="0">
                    <a:pos x="126" y="14"/>
                  </a:cxn>
                  <a:cxn ang="0">
                    <a:pos x="126" y="14"/>
                  </a:cxn>
                  <a:cxn ang="0">
                    <a:pos x="113" y="9"/>
                  </a:cxn>
                  <a:cxn ang="0">
                    <a:pos x="98" y="4"/>
                  </a:cxn>
                  <a:cxn ang="0">
                    <a:pos x="81" y="2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45" y="2"/>
                  </a:cxn>
                  <a:cxn ang="0">
                    <a:pos x="28" y="4"/>
                  </a:cxn>
                  <a:cxn ang="0">
                    <a:pos x="13" y="9"/>
                  </a:cxn>
                  <a:cxn ang="0">
                    <a:pos x="0" y="15"/>
                  </a:cxn>
                </a:cxnLst>
                <a:rect l="0" t="0" r="r" b="b"/>
                <a:pathLst>
                  <a:path w="126" h="15">
                    <a:moveTo>
                      <a:pt x="126" y="14"/>
                    </a:moveTo>
                    <a:lnTo>
                      <a:pt x="126" y="14"/>
                    </a:lnTo>
                    <a:lnTo>
                      <a:pt x="113" y="9"/>
                    </a:lnTo>
                    <a:lnTo>
                      <a:pt x="98" y="4"/>
                    </a:lnTo>
                    <a:lnTo>
                      <a:pt x="81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45" y="2"/>
                    </a:lnTo>
                    <a:lnTo>
                      <a:pt x="28" y="4"/>
                    </a:lnTo>
                    <a:lnTo>
                      <a:pt x="13" y="9"/>
                    </a:lnTo>
                    <a:lnTo>
                      <a:pt x="0" y="1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3" name="Freeform 585"/>
              <p:cNvSpPr>
                <a:spLocks/>
              </p:cNvSpPr>
              <p:nvPr/>
            </p:nvSpPr>
            <p:spPr bwMode="auto">
              <a:xfrm>
                <a:off x="1308173" y="7062518"/>
                <a:ext cx="141078" cy="260591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81"/>
                  </a:cxn>
                  <a:cxn ang="0">
                    <a:pos x="2" y="65"/>
                  </a:cxn>
                  <a:cxn ang="0">
                    <a:pos x="4" y="50"/>
                  </a:cxn>
                  <a:cxn ang="0">
                    <a:pos x="8" y="36"/>
                  </a:cxn>
                  <a:cxn ang="0">
                    <a:pos x="13" y="24"/>
                  </a:cxn>
                  <a:cxn ang="0">
                    <a:pos x="19" y="14"/>
                  </a:cxn>
                  <a:cxn ang="0">
                    <a:pos x="27" y="7"/>
                  </a:cxn>
                  <a:cxn ang="0">
                    <a:pos x="36" y="1"/>
                  </a:cxn>
                  <a:cxn ang="0">
                    <a:pos x="40" y="0"/>
                  </a:cxn>
                  <a:cxn ang="0">
                    <a:pos x="45" y="0"/>
                  </a:cxn>
                  <a:cxn ang="0">
                    <a:pos x="45" y="0"/>
                  </a:cxn>
                  <a:cxn ang="0">
                    <a:pos x="48" y="0"/>
                  </a:cxn>
                  <a:cxn ang="0">
                    <a:pos x="54" y="1"/>
                  </a:cxn>
                  <a:cxn ang="0">
                    <a:pos x="61" y="7"/>
                  </a:cxn>
                  <a:cxn ang="0">
                    <a:pos x="69" y="14"/>
                  </a:cxn>
                  <a:cxn ang="0">
                    <a:pos x="75" y="24"/>
                  </a:cxn>
                  <a:cxn ang="0">
                    <a:pos x="81" y="36"/>
                  </a:cxn>
                  <a:cxn ang="0">
                    <a:pos x="85" y="50"/>
                  </a:cxn>
                  <a:cxn ang="0">
                    <a:pos x="88" y="65"/>
                  </a:cxn>
                  <a:cxn ang="0">
                    <a:pos x="89" y="81"/>
                  </a:cxn>
                  <a:cxn ang="0">
                    <a:pos x="89" y="81"/>
                  </a:cxn>
                  <a:cxn ang="0">
                    <a:pos x="88" y="98"/>
                  </a:cxn>
                  <a:cxn ang="0">
                    <a:pos x="85" y="113"/>
                  </a:cxn>
                  <a:cxn ang="0">
                    <a:pos x="81" y="127"/>
                  </a:cxn>
                  <a:cxn ang="0">
                    <a:pos x="75" y="140"/>
                  </a:cxn>
                  <a:cxn ang="0">
                    <a:pos x="69" y="150"/>
                  </a:cxn>
                  <a:cxn ang="0">
                    <a:pos x="61" y="157"/>
                  </a:cxn>
                  <a:cxn ang="0">
                    <a:pos x="54" y="161"/>
                  </a:cxn>
                  <a:cxn ang="0">
                    <a:pos x="48" y="162"/>
                  </a:cxn>
                  <a:cxn ang="0">
                    <a:pos x="45" y="164"/>
                  </a:cxn>
                  <a:cxn ang="0">
                    <a:pos x="45" y="164"/>
                  </a:cxn>
                  <a:cxn ang="0">
                    <a:pos x="38" y="162"/>
                  </a:cxn>
                  <a:cxn ang="0">
                    <a:pos x="33" y="160"/>
                  </a:cxn>
                  <a:cxn ang="0">
                    <a:pos x="27" y="157"/>
                  </a:cxn>
                  <a:cxn ang="0">
                    <a:pos x="22" y="152"/>
                  </a:cxn>
                  <a:cxn ang="0">
                    <a:pos x="18" y="147"/>
                  </a:cxn>
                  <a:cxn ang="0">
                    <a:pos x="13" y="140"/>
                  </a:cxn>
                  <a:cxn ang="0">
                    <a:pos x="9" y="132"/>
                  </a:cxn>
                  <a:cxn ang="0">
                    <a:pos x="7" y="124"/>
                  </a:cxn>
                </a:cxnLst>
                <a:rect l="0" t="0" r="r" b="b"/>
                <a:pathLst>
                  <a:path w="89" h="164">
                    <a:moveTo>
                      <a:pt x="0" y="81"/>
                    </a:moveTo>
                    <a:lnTo>
                      <a:pt x="0" y="81"/>
                    </a:lnTo>
                    <a:lnTo>
                      <a:pt x="2" y="65"/>
                    </a:lnTo>
                    <a:lnTo>
                      <a:pt x="4" y="50"/>
                    </a:lnTo>
                    <a:lnTo>
                      <a:pt x="8" y="36"/>
                    </a:lnTo>
                    <a:lnTo>
                      <a:pt x="13" y="24"/>
                    </a:lnTo>
                    <a:lnTo>
                      <a:pt x="19" y="14"/>
                    </a:lnTo>
                    <a:lnTo>
                      <a:pt x="27" y="7"/>
                    </a:lnTo>
                    <a:lnTo>
                      <a:pt x="36" y="1"/>
                    </a:lnTo>
                    <a:lnTo>
                      <a:pt x="40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8" y="0"/>
                    </a:lnTo>
                    <a:lnTo>
                      <a:pt x="54" y="1"/>
                    </a:lnTo>
                    <a:lnTo>
                      <a:pt x="61" y="7"/>
                    </a:lnTo>
                    <a:lnTo>
                      <a:pt x="69" y="14"/>
                    </a:lnTo>
                    <a:lnTo>
                      <a:pt x="75" y="24"/>
                    </a:lnTo>
                    <a:lnTo>
                      <a:pt x="81" y="36"/>
                    </a:lnTo>
                    <a:lnTo>
                      <a:pt x="85" y="50"/>
                    </a:lnTo>
                    <a:lnTo>
                      <a:pt x="88" y="65"/>
                    </a:lnTo>
                    <a:lnTo>
                      <a:pt x="89" y="81"/>
                    </a:lnTo>
                    <a:lnTo>
                      <a:pt x="89" y="81"/>
                    </a:lnTo>
                    <a:lnTo>
                      <a:pt x="88" y="98"/>
                    </a:lnTo>
                    <a:lnTo>
                      <a:pt x="85" y="113"/>
                    </a:lnTo>
                    <a:lnTo>
                      <a:pt x="81" y="127"/>
                    </a:lnTo>
                    <a:lnTo>
                      <a:pt x="75" y="140"/>
                    </a:lnTo>
                    <a:lnTo>
                      <a:pt x="69" y="150"/>
                    </a:lnTo>
                    <a:lnTo>
                      <a:pt x="61" y="157"/>
                    </a:lnTo>
                    <a:lnTo>
                      <a:pt x="54" y="161"/>
                    </a:lnTo>
                    <a:lnTo>
                      <a:pt x="48" y="162"/>
                    </a:lnTo>
                    <a:lnTo>
                      <a:pt x="45" y="164"/>
                    </a:lnTo>
                    <a:lnTo>
                      <a:pt x="45" y="164"/>
                    </a:lnTo>
                    <a:lnTo>
                      <a:pt x="38" y="162"/>
                    </a:lnTo>
                    <a:lnTo>
                      <a:pt x="33" y="160"/>
                    </a:lnTo>
                    <a:lnTo>
                      <a:pt x="27" y="157"/>
                    </a:lnTo>
                    <a:lnTo>
                      <a:pt x="22" y="152"/>
                    </a:lnTo>
                    <a:lnTo>
                      <a:pt x="18" y="147"/>
                    </a:lnTo>
                    <a:lnTo>
                      <a:pt x="13" y="140"/>
                    </a:lnTo>
                    <a:lnTo>
                      <a:pt x="9" y="132"/>
                    </a:lnTo>
                    <a:lnTo>
                      <a:pt x="7" y="124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4" name="Line 586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26083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5" name="Line 587"/>
              <p:cNvSpPr>
                <a:spLocks noChangeShapeType="1"/>
              </p:cNvSpPr>
              <p:nvPr/>
            </p:nvSpPr>
            <p:spPr bwMode="auto">
              <a:xfrm flipV="1">
                <a:off x="1379532" y="7062518"/>
                <a:ext cx="820" cy="260591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6" name="Line 588"/>
              <p:cNvSpPr>
                <a:spLocks noChangeShapeType="1"/>
              </p:cNvSpPr>
              <p:nvPr/>
            </p:nvSpPr>
            <p:spPr bwMode="auto">
              <a:xfrm>
                <a:off x="1163814" y="7167682"/>
                <a:ext cx="83662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7" name="Freeform 589"/>
              <p:cNvSpPr>
                <a:spLocks/>
              </p:cNvSpPr>
              <p:nvPr/>
            </p:nvSpPr>
            <p:spPr bwMode="auto">
              <a:xfrm>
                <a:off x="1247477" y="7143711"/>
                <a:ext cx="25427" cy="4717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" y="15"/>
                  </a:cxn>
                  <a:cxn ang="0">
                    <a:pos x="0" y="30"/>
                  </a:cxn>
                </a:cxnLst>
                <a:rect l="0" t="0" r="r" b="b"/>
                <a:pathLst>
                  <a:path w="16" h="30">
                    <a:moveTo>
                      <a:pt x="0" y="0"/>
                    </a:moveTo>
                    <a:lnTo>
                      <a:pt x="16" y="15"/>
                    </a:lnTo>
                    <a:lnTo>
                      <a:pt x="0" y="3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8" name="Line 590"/>
              <p:cNvSpPr>
                <a:spLocks noChangeShapeType="1"/>
              </p:cNvSpPr>
              <p:nvPr/>
            </p:nvSpPr>
            <p:spPr bwMode="auto">
              <a:xfrm>
                <a:off x="1231892" y="7235730"/>
                <a:ext cx="86943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9" name="Freeform 591"/>
              <p:cNvSpPr>
                <a:spLocks/>
              </p:cNvSpPr>
              <p:nvPr/>
            </p:nvSpPr>
            <p:spPr bwMode="auto">
              <a:xfrm>
                <a:off x="1318836" y="7210212"/>
                <a:ext cx="2378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" y="16"/>
                  </a:cxn>
                  <a:cxn ang="0">
                    <a:pos x="0" y="31"/>
                  </a:cxn>
                </a:cxnLst>
                <a:rect l="0" t="0" r="r" b="b"/>
                <a:pathLst>
                  <a:path w="15" h="31">
                    <a:moveTo>
                      <a:pt x="0" y="0"/>
                    </a:moveTo>
                    <a:lnTo>
                      <a:pt x="15" y="16"/>
                    </a:lnTo>
                    <a:lnTo>
                      <a:pt x="0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7" name="Groupe 320"/>
            <p:cNvGrpSpPr>
              <a:grpSpLocks/>
            </p:cNvGrpSpPr>
            <p:nvPr userDrawn="1"/>
          </p:nvGrpSpPr>
          <p:grpSpPr bwMode="auto">
            <a:xfrm>
              <a:off x="4610305" y="2502608"/>
              <a:ext cx="442816" cy="482367"/>
              <a:chOff x="4430703" y="4715239"/>
              <a:chExt cx="374626" cy="416805"/>
            </a:xfrm>
          </p:grpSpPr>
          <p:sp>
            <p:nvSpPr>
              <p:cNvPr id="21" name="Freeform 897"/>
              <p:cNvSpPr>
                <a:spLocks/>
              </p:cNvSpPr>
              <p:nvPr/>
            </p:nvSpPr>
            <p:spPr bwMode="auto">
              <a:xfrm>
                <a:off x="4649334" y="4788757"/>
                <a:ext cx="155680" cy="256503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4912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0" fmla="*/ 4737 w 9825"/>
                  <a:gd name="connsiteY0" fmla="*/ 10000 h 10000"/>
                  <a:gd name="connsiteX1" fmla="*/ 4737 w 9825"/>
                  <a:gd name="connsiteY1" fmla="*/ 10000 h 10000"/>
                  <a:gd name="connsiteX2" fmla="*/ 6579 w 9825"/>
                  <a:gd name="connsiteY2" fmla="*/ 10000 h 10000"/>
                  <a:gd name="connsiteX3" fmla="*/ 8246 w 9825"/>
                  <a:gd name="connsiteY3" fmla="*/ 9938 h 10000"/>
                  <a:gd name="connsiteX4" fmla="*/ 9386 w 9825"/>
                  <a:gd name="connsiteY4" fmla="*/ 9814 h 10000"/>
                  <a:gd name="connsiteX5" fmla="*/ 9737 w 9825"/>
                  <a:gd name="connsiteY5" fmla="*/ 9752 h 10000"/>
                  <a:gd name="connsiteX6" fmla="*/ 9825 w 9825"/>
                  <a:gd name="connsiteY6" fmla="*/ 9689 h 10000"/>
                  <a:gd name="connsiteX7" fmla="*/ 9825 w 9825"/>
                  <a:gd name="connsiteY7" fmla="*/ 9689 h 10000"/>
                  <a:gd name="connsiteX8" fmla="*/ 9825 w 9825"/>
                  <a:gd name="connsiteY8" fmla="*/ 8634 h 10000"/>
                  <a:gd name="connsiteX9" fmla="*/ 9737 w 9825"/>
                  <a:gd name="connsiteY9" fmla="*/ 7702 h 10000"/>
                  <a:gd name="connsiteX10" fmla="*/ 9386 w 9825"/>
                  <a:gd name="connsiteY10" fmla="*/ 6832 h 10000"/>
                  <a:gd name="connsiteX11" fmla="*/ 9036 w 9825"/>
                  <a:gd name="connsiteY11" fmla="*/ 6087 h 10000"/>
                  <a:gd name="connsiteX12" fmla="*/ 8509 w 9825"/>
                  <a:gd name="connsiteY12" fmla="*/ 5342 h 10000"/>
                  <a:gd name="connsiteX13" fmla="*/ 7807 w 9825"/>
                  <a:gd name="connsiteY13" fmla="*/ 4783 h 10000"/>
                  <a:gd name="connsiteX14" fmla="*/ 6930 w 9825"/>
                  <a:gd name="connsiteY14" fmla="*/ 4410 h 10000"/>
                  <a:gd name="connsiteX15" fmla="*/ 5965 w 9825"/>
                  <a:gd name="connsiteY15" fmla="*/ 4099 h 10000"/>
                  <a:gd name="connsiteX16" fmla="*/ 5965 w 9825"/>
                  <a:gd name="connsiteY16" fmla="*/ 4099 h 10000"/>
                  <a:gd name="connsiteX17" fmla="*/ 6492 w 9825"/>
                  <a:gd name="connsiteY17" fmla="*/ 3727 h 10000"/>
                  <a:gd name="connsiteX18" fmla="*/ 6843 w 9825"/>
                  <a:gd name="connsiteY18" fmla="*/ 3230 h 10000"/>
                  <a:gd name="connsiteX19" fmla="*/ 7106 w 9825"/>
                  <a:gd name="connsiteY19" fmla="*/ 2671 h 10000"/>
                  <a:gd name="connsiteX20" fmla="*/ 7369 w 9825"/>
                  <a:gd name="connsiteY20" fmla="*/ 2112 h 10000"/>
                  <a:gd name="connsiteX21" fmla="*/ 7369 w 9825"/>
                  <a:gd name="connsiteY21" fmla="*/ 2112 h 10000"/>
                  <a:gd name="connsiteX22" fmla="*/ 7281 w 9825"/>
                  <a:gd name="connsiteY22" fmla="*/ 1677 h 10000"/>
                  <a:gd name="connsiteX23" fmla="*/ 7106 w 9825"/>
                  <a:gd name="connsiteY23" fmla="*/ 1242 h 10000"/>
                  <a:gd name="connsiteX24" fmla="*/ 6930 w 9825"/>
                  <a:gd name="connsiteY24" fmla="*/ 870 h 10000"/>
                  <a:gd name="connsiteX25" fmla="*/ 6579 w 9825"/>
                  <a:gd name="connsiteY25" fmla="*/ 559 h 10000"/>
                  <a:gd name="connsiteX26" fmla="*/ 6229 w 9825"/>
                  <a:gd name="connsiteY26" fmla="*/ 311 h 10000"/>
                  <a:gd name="connsiteX27" fmla="*/ 5790 w 9825"/>
                  <a:gd name="connsiteY27" fmla="*/ 186 h 10000"/>
                  <a:gd name="connsiteX28" fmla="*/ 5351 w 9825"/>
                  <a:gd name="connsiteY28" fmla="*/ 0 h 10000"/>
                  <a:gd name="connsiteX29" fmla="*/ 4825 w 9825"/>
                  <a:gd name="connsiteY29" fmla="*/ 0 h 10000"/>
                  <a:gd name="connsiteX30" fmla="*/ 4825 w 9825"/>
                  <a:gd name="connsiteY30" fmla="*/ 0 h 10000"/>
                  <a:gd name="connsiteX31" fmla="*/ 4386 w 9825"/>
                  <a:gd name="connsiteY31" fmla="*/ 0 h 10000"/>
                  <a:gd name="connsiteX32" fmla="*/ 3948 w 9825"/>
                  <a:gd name="connsiteY32" fmla="*/ 186 h 10000"/>
                  <a:gd name="connsiteX33" fmla="*/ 3509 w 9825"/>
                  <a:gd name="connsiteY33" fmla="*/ 311 h 10000"/>
                  <a:gd name="connsiteX34" fmla="*/ 3071 w 9825"/>
                  <a:gd name="connsiteY34" fmla="*/ 559 h 10000"/>
                  <a:gd name="connsiteX35" fmla="*/ 2807 w 9825"/>
                  <a:gd name="connsiteY35" fmla="*/ 870 h 10000"/>
                  <a:gd name="connsiteX36" fmla="*/ 2544 w 9825"/>
                  <a:gd name="connsiteY36" fmla="*/ 1242 h 10000"/>
                  <a:gd name="connsiteX37" fmla="*/ 2369 w 9825"/>
                  <a:gd name="connsiteY37" fmla="*/ 1677 h 10000"/>
                  <a:gd name="connsiteX38" fmla="*/ 2369 w 9825"/>
                  <a:gd name="connsiteY38" fmla="*/ 2112 h 10000"/>
                  <a:gd name="connsiteX39" fmla="*/ 2369 w 9825"/>
                  <a:gd name="connsiteY39" fmla="*/ 2112 h 10000"/>
                  <a:gd name="connsiteX40" fmla="*/ 2457 w 9825"/>
                  <a:gd name="connsiteY40" fmla="*/ 2671 h 10000"/>
                  <a:gd name="connsiteX41" fmla="*/ 2807 w 9825"/>
                  <a:gd name="connsiteY41" fmla="*/ 3230 h 10000"/>
                  <a:gd name="connsiteX42" fmla="*/ 3246 w 9825"/>
                  <a:gd name="connsiteY42" fmla="*/ 3727 h 10000"/>
                  <a:gd name="connsiteX43" fmla="*/ 3685 w 9825"/>
                  <a:gd name="connsiteY43" fmla="*/ 4099 h 10000"/>
                  <a:gd name="connsiteX44" fmla="*/ 3685 w 9825"/>
                  <a:gd name="connsiteY44" fmla="*/ 4099 h 10000"/>
                  <a:gd name="connsiteX45" fmla="*/ 2720 w 9825"/>
                  <a:gd name="connsiteY45" fmla="*/ 4410 h 10000"/>
                  <a:gd name="connsiteX46" fmla="*/ 1930 w 9825"/>
                  <a:gd name="connsiteY46" fmla="*/ 4783 h 10000"/>
                  <a:gd name="connsiteX47" fmla="*/ 1229 w 9825"/>
                  <a:gd name="connsiteY47" fmla="*/ 5342 h 10000"/>
                  <a:gd name="connsiteX48" fmla="*/ 702 w 9825"/>
                  <a:gd name="connsiteY48" fmla="*/ 6087 h 10000"/>
                  <a:gd name="connsiteX49" fmla="*/ 264 w 9825"/>
                  <a:gd name="connsiteY49" fmla="*/ 6832 h 10000"/>
                  <a:gd name="connsiteX50" fmla="*/ 0 w 9825"/>
                  <a:gd name="connsiteY50" fmla="*/ 7702 h 10000"/>
                  <a:gd name="connsiteX0" fmla="*/ 4552 w 9731"/>
                  <a:gd name="connsiteY0" fmla="*/ 10000 h 10000"/>
                  <a:gd name="connsiteX1" fmla="*/ 4552 w 9731"/>
                  <a:gd name="connsiteY1" fmla="*/ 10000 h 10000"/>
                  <a:gd name="connsiteX2" fmla="*/ 6427 w 9731"/>
                  <a:gd name="connsiteY2" fmla="*/ 10000 h 10000"/>
                  <a:gd name="connsiteX3" fmla="*/ 8124 w 9731"/>
                  <a:gd name="connsiteY3" fmla="*/ 9938 h 10000"/>
                  <a:gd name="connsiteX4" fmla="*/ 9284 w 9731"/>
                  <a:gd name="connsiteY4" fmla="*/ 9814 h 10000"/>
                  <a:gd name="connsiteX5" fmla="*/ 9641 w 9731"/>
                  <a:gd name="connsiteY5" fmla="*/ 9752 h 10000"/>
                  <a:gd name="connsiteX6" fmla="*/ 9731 w 9731"/>
                  <a:gd name="connsiteY6" fmla="*/ 9689 h 10000"/>
                  <a:gd name="connsiteX7" fmla="*/ 9731 w 9731"/>
                  <a:gd name="connsiteY7" fmla="*/ 9689 h 10000"/>
                  <a:gd name="connsiteX8" fmla="*/ 9731 w 9731"/>
                  <a:gd name="connsiteY8" fmla="*/ 8634 h 10000"/>
                  <a:gd name="connsiteX9" fmla="*/ 9641 w 9731"/>
                  <a:gd name="connsiteY9" fmla="*/ 7702 h 10000"/>
                  <a:gd name="connsiteX10" fmla="*/ 9284 w 9731"/>
                  <a:gd name="connsiteY10" fmla="*/ 6832 h 10000"/>
                  <a:gd name="connsiteX11" fmla="*/ 8928 w 9731"/>
                  <a:gd name="connsiteY11" fmla="*/ 6087 h 10000"/>
                  <a:gd name="connsiteX12" fmla="*/ 8392 w 9731"/>
                  <a:gd name="connsiteY12" fmla="*/ 5342 h 10000"/>
                  <a:gd name="connsiteX13" fmla="*/ 7677 w 9731"/>
                  <a:gd name="connsiteY13" fmla="*/ 4783 h 10000"/>
                  <a:gd name="connsiteX14" fmla="*/ 6784 w 9731"/>
                  <a:gd name="connsiteY14" fmla="*/ 4410 h 10000"/>
                  <a:gd name="connsiteX15" fmla="*/ 5802 w 9731"/>
                  <a:gd name="connsiteY15" fmla="*/ 4099 h 10000"/>
                  <a:gd name="connsiteX16" fmla="*/ 5802 w 9731"/>
                  <a:gd name="connsiteY16" fmla="*/ 4099 h 10000"/>
                  <a:gd name="connsiteX17" fmla="*/ 6339 w 9731"/>
                  <a:gd name="connsiteY17" fmla="*/ 3727 h 10000"/>
                  <a:gd name="connsiteX18" fmla="*/ 6696 w 9731"/>
                  <a:gd name="connsiteY18" fmla="*/ 3230 h 10000"/>
                  <a:gd name="connsiteX19" fmla="*/ 6964 w 9731"/>
                  <a:gd name="connsiteY19" fmla="*/ 2671 h 10000"/>
                  <a:gd name="connsiteX20" fmla="*/ 7231 w 9731"/>
                  <a:gd name="connsiteY20" fmla="*/ 2112 h 10000"/>
                  <a:gd name="connsiteX21" fmla="*/ 7231 w 9731"/>
                  <a:gd name="connsiteY21" fmla="*/ 2112 h 10000"/>
                  <a:gd name="connsiteX22" fmla="*/ 7142 w 9731"/>
                  <a:gd name="connsiteY22" fmla="*/ 1677 h 10000"/>
                  <a:gd name="connsiteX23" fmla="*/ 6964 w 9731"/>
                  <a:gd name="connsiteY23" fmla="*/ 1242 h 10000"/>
                  <a:gd name="connsiteX24" fmla="*/ 6784 w 9731"/>
                  <a:gd name="connsiteY24" fmla="*/ 870 h 10000"/>
                  <a:gd name="connsiteX25" fmla="*/ 6427 w 9731"/>
                  <a:gd name="connsiteY25" fmla="*/ 559 h 10000"/>
                  <a:gd name="connsiteX26" fmla="*/ 6071 w 9731"/>
                  <a:gd name="connsiteY26" fmla="*/ 311 h 10000"/>
                  <a:gd name="connsiteX27" fmla="*/ 5624 w 9731"/>
                  <a:gd name="connsiteY27" fmla="*/ 186 h 10000"/>
                  <a:gd name="connsiteX28" fmla="*/ 5177 w 9731"/>
                  <a:gd name="connsiteY28" fmla="*/ 0 h 10000"/>
                  <a:gd name="connsiteX29" fmla="*/ 4642 w 9731"/>
                  <a:gd name="connsiteY29" fmla="*/ 0 h 10000"/>
                  <a:gd name="connsiteX30" fmla="*/ 4642 w 9731"/>
                  <a:gd name="connsiteY30" fmla="*/ 0 h 10000"/>
                  <a:gd name="connsiteX31" fmla="*/ 4195 w 9731"/>
                  <a:gd name="connsiteY31" fmla="*/ 0 h 10000"/>
                  <a:gd name="connsiteX32" fmla="*/ 3749 w 9731"/>
                  <a:gd name="connsiteY32" fmla="*/ 186 h 10000"/>
                  <a:gd name="connsiteX33" fmla="*/ 3303 w 9731"/>
                  <a:gd name="connsiteY33" fmla="*/ 311 h 10000"/>
                  <a:gd name="connsiteX34" fmla="*/ 2857 w 9731"/>
                  <a:gd name="connsiteY34" fmla="*/ 559 h 10000"/>
                  <a:gd name="connsiteX35" fmla="*/ 2588 w 9731"/>
                  <a:gd name="connsiteY35" fmla="*/ 870 h 10000"/>
                  <a:gd name="connsiteX36" fmla="*/ 2320 w 9731"/>
                  <a:gd name="connsiteY36" fmla="*/ 1242 h 10000"/>
                  <a:gd name="connsiteX37" fmla="*/ 2142 w 9731"/>
                  <a:gd name="connsiteY37" fmla="*/ 1677 h 10000"/>
                  <a:gd name="connsiteX38" fmla="*/ 2142 w 9731"/>
                  <a:gd name="connsiteY38" fmla="*/ 2112 h 10000"/>
                  <a:gd name="connsiteX39" fmla="*/ 2142 w 9731"/>
                  <a:gd name="connsiteY39" fmla="*/ 2112 h 10000"/>
                  <a:gd name="connsiteX40" fmla="*/ 2232 w 9731"/>
                  <a:gd name="connsiteY40" fmla="*/ 2671 h 10000"/>
                  <a:gd name="connsiteX41" fmla="*/ 2588 w 9731"/>
                  <a:gd name="connsiteY41" fmla="*/ 3230 h 10000"/>
                  <a:gd name="connsiteX42" fmla="*/ 3035 w 9731"/>
                  <a:gd name="connsiteY42" fmla="*/ 3727 h 10000"/>
                  <a:gd name="connsiteX43" fmla="*/ 3482 w 9731"/>
                  <a:gd name="connsiteY43" fmla="*/ 4099 h 10000"/>
                  <a:gd name="connsiteX44" fmla="*/ 3482 w 9731"/>
                  <a:gd name="connsiteY44" fmla="*/ 4099 h 10000"/>
                  <a:gd name="connsiteX45" fmla="*/ 2499 w 9731"/>
                  <a:gd name="connsiteY45" fmla="*/ 4410 h 10000"/>
                  <a:gd name="connsiteX46" fmla="*/ 1695 w 9731"/>
                  <a:gd name="connsiteY46" fmla="*/ 4783 h 10000"/>
                  <a:gd name="connsiteX47" fmla="*/ 982 w 9731"/>
                  <a:gd name="connsiteY47" fmla="*/ 5342 h 10000"/>
                  <a:gd name="connsiteX48" fmla="*/ 446 w 9731"/>
                  <a:gd name="connsiteY48" fmla="*/ 6087 h 10000"/>
                  <a:gd name="connsiteX49" fmla="*/ 0 w 9731"/>
                  <a:gd name="connsiteY49" fmla="*/ 6832 h 10000"/>
                  <a:gd name="connsiteX0" fmla="*/ 4220 w 9542"/>
                  <a:gd name="connsiteY0" fmla="*/ 10000 h 10000"/>
                  <a:gd name="connsiteX1" fmla="*/ 4220 w 9542"/>
                  <a:gd name="connsiteY1" fmla="*/ 10000 h 10000"/>
                  <a:gd name="connsiteX2" fmla="*/ 6147 w 9542"/>
                  <a:gd name="connsiteY2" fmla="*/ 10000 h 10000"/>
                  <a:gd name="connsiteX3" fmla="*/ 7891 w 9542"/>
                  <a:gd name="connsiteY3" fmla="*/ 9938 h 10000"/>
                  <a:gd name="connsiteX4" fmla="*/ 9083 w 9542"/>
                  <a:gd name="connsiteY4" fmla="*/ 9814 h 10000"/>
                  <a:gd name="connsiteX5" fmla="*/ 9450 w 9542"/>
                  <a:gd name="connsiteY5" fmla="*/ 9752 h 10000"/>
                  <a:gd name="connsiteX6" fmla="*/ 9542 w 9542"/>
                  <a:gd name="connsiteY6" fmla="*/ 9689 h 10000"/>
                  <a:gd name="connsiteX7" fmla="*/ 9542 w 9542"/>
                  <a:gd name="connsiteY7" fmla="*/ 9689 h 10000"/>
                  <a:gd name="connsiteX8" fmla="*/ 9542 w 9542"/>
                  <a:gd name="connsiteY8" fmla="*/ 8634 h 10000"/>
                  <a:gd name="connsiteX9" fmla="*/ 9450 w 9542"/>
                  <a:gd name="connsiteY9" fmla="*/ 7702 h 10000"/>
                  <a:gd name="connsiteX10" fmla="*/ 9083 w 9542"/>
                  <a:gd name="connsiteY10" fmla="*/ 6832 h 10000"/>
                  <a:gd name="connsiteX11" fmla="*/ 8717 w 9542"/>
                  <a:gd name="connsiteY11" fmla="*/ 6087 h 10000"/>
                  <a:gd name="connsiteX12" fmla="*/ 8166 w 9542"/>
                  <a:gd name="connsiteY12" fmla="*/ 5342 h 10000"/>
                  <a:gd name="connsiteX13" fmla="*/ 7431 w 9542"/>
                  <a:gd name="connsiteY13" fmla="*/ 4783 h 10000"/>
                  <a:gd name="connsiteX14" fmla="*/ 6514 w 9542"/>
                  <a:gd name="connsiteY14" fmla="*/ 4410 h 10000"/>
                  <a:gd name="connsiteX15" fmla="*/ 5504 w 9542"/>
                  <a:gd name="connsiteY15" fmla="*/ 4099 h 10000"/>
                  <a:gd name="connsiteX16" fmla="*/ 5504 w 9542"/>
                  <a:gd name="connsiteY16" fmla="*/ 4099 h 10000"/>
                  <a:gd name="connsiteX17" fmla="*/ 6056 w 9542"/>
                  <a:gd name="connsiteY17" fmla="*/ 3727 h 10000"/>
                  <a:gd name="connsiteX18" fmla="*/ 6423 w 9542"/>
                  <a:gd name="connsiteY18" fmla="*/ 3230 h 10000"/>
                  <a:gd name="connsiteX19" fmla="*/ 6699 w 9542"/>
                  <a:gd name="connsiteY19" fmla="*/ 2671 h 10000"/>
                  <a:gd name="connsiteX20" fmla="*/ 6973 w 9542"/>
                  <a:gd name="connsiteY20" fmla="*/ 2112 h 10000"/>
                  <a:gd name="connsiteX21" fmla="*/ 6973 w 9542"/>
                  <a:gd name="connsiteY21" fmla="*/ 2112 h 10000"/>
                  <a:gd name="connsiteX22" fmla="*/ 6881 w 9542"/>
                  <a:gd name="connsiteY22" fmla="*/ 1677 h 10000"/>
                  <a:gd name="connsiteX23" fmla="*/ 6699 w 9542"/>
                  <a:gd name="connsiteY23" fmla="*/ 1242 h 10000"/>
                  <a:gd name="connsiteX24" fmla="*/ 6514 w 9542"/>
                  <a:gd name="connsiteY24" fmla="*/ 870 h 10000"/>
                  <a:gd name="connsiteX25" fmla="*/ 6147 w 9542"/>
                  <a:gd name="connsiteY25" fmla="*/ 559 h 10000"/>
                  <a:gd name="connsiteX26" fmla="*/ 5781 w 9542"/>
                  <a:gd name="connsiteY26" fmla="*/ 311 h 10000"/>
                  <a:gd name="connsiteX27" fmla="*/ 5321 w 9542"/>
                  <a:gd name="connsiteY27" fmla="*/ 186 h 10000"/>
                  <a:gd name="connsiteX28" fmla="*/ 4862 w 9542"/>
                  <a:gd name="connsiteY28" fmla="*/ 0 h 10000"/>
                  <a:gd name="connsiteX29" fmla="*/ 4312 w 9542"/>
                  <a:gd name="connsiteY29" fmla="*/ 0 h 10000"/>
                  <a:gd name="connsiteX30" fmla="*/ 4312 w 9542"/>
                  <a:gd name="connsiteY30" fmla="*/ 0 h 10000"/>
                  <a:gd name="connsiteX31" fmla="*/ 3853 w 9542"/>
                  <a:gd name="connsiteY31" fmla="*/ 0 h 10000"/>
                  <a:gd name="connsiteX32" fmla="*/ 3395 w 9542"/>
                  <a:gd name="connsiteY32" fmla="*/ 186 h 10000"/>
                  <a:gd name="connsiteX33" fmla="*/ 2936 w 9542"/>
                  <a:gd name="connsiteY33" fmla="*/ 311 h 10000"/>
                  <a:gd name="connsiteX34" fmla="*/ 2478 w 9542"/>
                  <a:gd name="connsiteY34" fmla="*/ 559 h 10000"/>
                  <a:gd name="connsiteX35" fmla="*/ 2202 w 9542"/>
                  <a:gd name="connsiteY35" fmla="*/ 870 h 10000"/>
                  <a:gd name="connsiteX36" fmla="*/ 1926 w 9542"/>
                  <a:gd name="connsiteY36" fmla="*/ 1242 h 10000"/>
                  <a:gd name="connsiteX37" fmla="*/ 1743 w 9542"/>
                  <a:gd name="connsiteY37" fmla="*/ 1677 h 10000"/>
                  <a:gd name="connsiteX38" fmla="*/ 1743 w 9542"/>
                  <a:gd name="connsiteY38" fmla="*/ 2112 h 10000"/>
                  <a:gd name="connsiteX39" fmla="*/ 1743 w 9542"/>
                  <a:gd name="connsiteY39" fmla="*/ 2112 h 10000"/>
                  <a:gd name="connsiteX40" fmla="*/ 1836 w 9542"/>
                  <a:gd name="connsiteY40" fmla="*/ 2671 h 10000"/>
                  <a:gd name="connsiteX41" fmla="*/ 2202 w 9542"/>
                  <a:gd name="connsiteY41" fmla="*/ 3230 h 10000"/>
                  <a:gd name="connsiteX42" fmla="*/ 2661 w 9542"/>
                  <a:gd name="connsiteY42" fmla="*/ 3727 h 10000"/>
                  <a:gd name="connsiteX43" fmla="*/ 3120 w 9542"/>
                  <a:gd name="connsiteY43" fmla="*/ 4099 h 10000"/>
                  <a:gd name="connsiteX44" fmla="*/ 3120 w 9542"/>
                  <a:gd name="connsiteY44" fmla="*/ 4099 h 10000"/>
                  <a:gd name="connsiteX45" fmla="*/ 2110 w 9542"/>
                  <a:gd name="connsiteY45" fmla="*/ 4410 h 10000"/>
                  <a:gd name="connsiteX46" fmla="*/ 1284 w 9542"/>
                  <a:gd name="connsiteY46" fmla="*/ 4783 h 10000"/>
                  <a:gd name="connsiteX47" fmla="*/ 551 w 9542"/>
                  <a:gd name="connsiteY47" fmla="*/ 5342 h 10000"/>
                  <a:gd name="connsiteX48" fmla="*/ 0 w 9542"/>
                  <a:gd name="connsiteY48" fmla="*/ 6087 h 10000"/>
                  <a:gd name="connsiteX0" fmla="*/ 3846 w 9423"/>
                  <a:gd name="connsiteY0" fmla="*/ 10000 h 10000"/>
                  <a:gd name="connsiteX1" fmla="*/ 3846 w 9423"/>
                  <a:gd name="connsiteY1" fmla="*/ 10000 h 10000"/>
                  <a:gd name="connsiteX2" fmla="*/ 5865 w 9423"/>
                  <a:gd name="connsiteY2" fmla="*/ 10000 h 10000"/>
                  <a:gd name="connsiteX3" fmla="*/ 7693 w 9423"/>
                  <a:gd name="connsiteY3" fmla="*/ 9938 h 10000"/>
                  <a:gd name="connsiteX4" fmla="*/ 8942 w 9423"/>
                  <a:gd name="connsiteY4" fmla="*/ 9814 h 10000"/>
                  <a:gd name="connsiteX5" fmla="*/ 9327 w 9423"/>
                  <a:gd name="connsiteY5" fmla="*/ 9752 h 10000"/>
                  <a:gd name="connsiteX6" fmla="*/ 9423 w 9423"/>
                  <a:gd name="connsiteY6" fmla="*/ 9689 h 10000"/>
                  <a:gd name="connsiteX7" fmla="*/ 9423 w 9423"/>
                  <a:gd name="connsiteY7" fmla="*/ 9689 h 10000"/>
                  <a:gd name="connsiteX8" fmla="*/ 9423 w 9423"/>
                  <a:gd name="connsiteY8" fmla="*/ 8634 h 10000"/>
                  <a:gd name="connsiteX9" fmla="*/ 9327 w 9423"/>
                  <a:gd name="connsiteY9" fmla="*/ 7702 h 10000"/>
                  <a:gd name="connsiteX10" fmla="*/ 8942 w 9423"/>
                  <a:gd name="connsiteY10" fmla="*/ 6832 h 10000"/>
                  <a:gd name="connsiteX11" fmla="*/ 8558 w 9423"/>
                  <a:gd name="connsiteY11" fmla="*/ 6087 h 10000"/>
                  <a:gd name="connsiteX12" fmla="*/ 7981 w 9423"/>
                  <a:gd name="connsiteY12" fmla="*/ 5342 h 10000"/>
                  <a:gd name="connsiteX13" fmla="*/ 7211 w 9423"/>
                  <a:gd name="connsiteY13" fmla="*/ 4783 h 10000"/>
                  <a:gd name="connsiteX14" fmla="*/ 6250 w 9423"/>
                  <a:gd name="connsiteY14" fmla="*/ 4410 h 10000"/>
                  <a:gd name="connsiteX15" fmla="*/ 5191 w 9423"/>
                  <a:gd name="connsiteY15" fmla="*/ 4099 h 10000"/>
                  <a:gd name="connsiteX16" fmla="*/ 5191 w 9423"/>
                  <a:gd name="connsiteY16" fmla="*/ 4099 h 10000"/>
                  <a:gd name="connsiteX17" fmla="*/ 5770 w 9423"/>
                  <a:gd name="connsiteY17" fmla="*/ 3727 h 10000"/>
                  <a:gd name="connsiteX18" fmla="*/ 6154 w 9423"/>
                  <a:gd name="connsiteY18" fmla="*/ 3230 h 10000"/>
                  <a:gd name="connsiteX19" fmla="*/ 6444 w 9423"/>
                  <a:gd name="connsiteY19" fmla="*/ 2671 h 10000"/>
                  <a:gd name="connsiteX20" fmla="*/ 6731 w 9423"/>
                  <a:gd name="connsiteY20" fmla="*/ 2112 h 10000"/>
                  <a:gd name="connsiteX21" fmla="*/ 6731 w 9423"/>
                  <a:gd name="connsiteY21" fmla="*/ 2112 h 10000"/>
                  <a:gd name="connsiteX22" fmla="*/ 6634 w 9423"/>
                  <a:gd name="connsiteY22" fmla="*/ 1677 h 10000"/>
                  <a:gd name="connsiteX23" fmla="*/ 6444 w 9423"/>
                  <a:gd name="connsiteY23" fmla="*/ 1242 h 10000"/>
                  <a:gd name="connsiteX24" fmla="*/ 6250 w 9423"/>
                  <a:gd name="connsiteY24" fmla="*/ 870 h 10000"/>
                  <a:gd name="connsiteX25" fmla="*/ 5865 w 9423"/>
                  <a:gd name="connsiteY25" fmla="*/ 559 h 10000"/>
                  <a:gd name="connsiteX26" fmla="*/ 5481 w 9423"/>
                  <a:gd name="connsiteY26" fmla="*/ 311 h 10000"/>
                  <a:gd name="connsiteX27" fmla="*/ 4999 w 9423"/>
                  <a:gd name="connsiteY27" fmla="*/ 186 h 10000"/>
                  <a:gd name="connsiteX28" fmla="*/ 4518 w 9423"/>
                  <a:gd name="connsiteY28" fmla="*/ 0 h 10000"/>
                  <a:gd name="connsiteX29" fmla="*/ 3942 w 9423"/>
                  <a:gd name="connsiteY29" fmla="*/ 0 h 10000"/>
                  <a:gd name="connsiteX30" fmla="*/ 3942 w 9423"/>
                  <a:gd name="connsiteY30" fmla="*/ 0 h 10000"/>
                  <a:gd name="connsiteX31" fmla="*/ 3461 w 9423"/>
                  <a:gd name="connsiteY31" fmla="*/ 0 h 10000"/>
                  <a:gd name="connsiteX32" fmla="*/ 2981 w 9423"/>
                  <a:gd name="connsiteY32" fmla="*/ 186 h 10000"/>
                  <a:gd name="connsiteX33" fmla="*/ 2500 w 9423"/>
                  <a:gd name="connsiteY33" fmla="*/ 311 h 10000"/>
                  <a:gd name="connsiteX34" fmla="*/ 2020 w 9423"/>
                  <a:gd name="connsiteY34" fmla="*/ 559 h 10000"/>
                  <a:gd name="connsiteX35" fmla="*/ 1731 w 9423"/>
                  <a:gd name="connsiteY35" fmla="*/ 870 h 10000"/>
                  <a:gd name="connsiteX36" fmla="*/ 1441 w 9423"/>
                  <a:gd name="connsiteY36" fmla="*/ 1242 h 10000"/>
                  <a:gd name="connsiteX37" fmla="*/ 1250 w 9423"/>
                  <a:gd name="connsiteY37" fmla="*/ 1677 h 10000"/>
                  <a:gd name="connsiteX38" fmla="*/ 1250 w 9423"/>
                  <a:gd name="connsiteY38" fmla="*/ 2112 h 10000"/>
                  <a:gd name="connsiteX39" fmla="*/ 1250 w 9423"/>
                  <a:gd name="connsiteY39" fmla="*/ 2112 h 10000"/>
                  <a:gd name="connsiteX40" fmla="*/ 1347 w 9423"/>
                  <a:gd name="connsiteY40" fmla="*/ 2671 h 10000"/>
                  <a:gd name="connsiteX41" fmla="*/ 1731 w 9423"/>
                  <a:gd name="connsiteY41" fmla="*/ 3230 h 10000"/>
                  <a:gd name="connsiteX42" fmla="*/ 2212 w 9423"/>
                  <a:gd name="connsiteY42" fmla="*/ 3727 h 10000"/>
                  <a:gd name="connsiteX43" fmla="*/ 2693 w 9423"/>
                  <a:gd name="connsiteY43" fmla="*/ 4099 h 10000"/>
                  <a:gd name="connsiteX44" fmla="*/ 2693 w 9423"/>
                  <a:gd name="connsiteY44" fmla="*/ 4099 h 10000"/>
                  <a:gd name="connsiteX45" fmla="*/ 1634 w 9423"/>
                  <a:gd name="connsiteY45" fmla="*/ 4410 h 10000"/>
                  <a:gd name="connsiteX46" fmla="*/ 769 w 9423"/>
                  <a:gd name="connsiteY46" fmla="*/ 4783 h 10000"/>
                  <a:gd name="connsiteX47" fmla="*/ 0 w 9423"/>
                  <a:gd name="connsiteY47" fmla="*/ 5342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9423" h="10000">
                    <a:moveTo>
                      <a:pt x="3846" y="10000"/>
                    </a:moveTo>
                    <a:lnTo>
                      <a:pt x="3846" y="10000"/>
                    </a:lnTo>
                    <a:lnTo>
                      <a:pt x="5865" y="10000"/>
                    </a:lnTo>
                    <a:lnTo>
                      <a:pt x="7693" y="9938"/>
                    </a:lnTo>
                    <a:lnTo>
                      <a:pt x="8942" y="9814"/>
                    </a:lnTo>
                    <a:lnTo>
                      <a:pt x="9327" y="9752"/>
                    </a:lnTo>
                    <a:lnTo>
                      <a:pt x="9423" y="9689"/>
                    </a:lnTo>
                    <a:lnTo>
                      <a:pt x="9423" y="9689"/>
                    </a:lnTo>
                    <a:lnTo>
                      <a:pt x="9423" y="8634"/>
                    </a:lnTo>
                    <a:cubicBezTo>
                      <a:pt x="9391" y="8323"/>
                      <a:pt x="9358" y="8013"/>
                      <a:pt x="9327" y="7702"/>
                    </a:cubicBezTo>
                    <a:lnTo>
                      <a:pt x="8942" y="6832"/>
                    </a:lnTo>
                    <a:lnTo>
                      <a:pt x="8558" y="6087"/>
                    </a:lnTo>
                    <a:lnTo>
                      <a:pt x="7981" y="5342"/>
                    </a:lnTo>
                    <a:lnTo>
                      <a:pt x="7211" y="4783"/>
                    </a:lnTo>
                    <a:lnTo>
                      <a:pt x="6250" y="4410"/>
                    </a:lnTo>
                    <a:lnTo>
                      <a:pt x="5191" y="4099"/>
                    </a:lnTo>
                    <a:lnTo>
                      <a:pt x="5191" y="4099"/>
                    </a:lnTo>
                    <a:lnTo>
                      <a:pt x="5770" y="3727"/>
                    </a:lnTo>
                    <a:lnTo>
                      <a:pt x="6154" y="3230"/>
                    </a:lnTo>
                    <a:cubicBezTo>
                      <a:pt x="6251" y="3044"/>
                      <a:pt x="6347" y="2857"/>
                      <a:pt x="6444" y="2671"/>
                    </a:cubicBezTo>
                    <a:cubicBezTo>
                      <a:pt x="6540" y="2485"/>
                      <a:pt x="6635" y="2298"/>
                      <a:pt x="6731" y="2112"/>
                    </a:cubicBezTo>
                    <a:lnTo>
                      <a:pt x="6731" y="2112"/>
                    </a:lnTo>
                    <a:cubicBezTo>
                      <a:pt x="6699" y="1967"/>
                      <a:pt x="6666" y="1822"/>
                      <a:pt x="6634" y="1677"/>
                    </a:cubicBezTo>
                    <a:cubicBezTo>
                      <a:pt x="6571" y="1532"/>
                      <a:pt x="6506" y="1387"/>
                      <a:pt x="6444" y="1242"/>
                    </a:cubicBezTo>
                    <a:lnTo>
                      <a:pt x="6250" y="870"/>
                    </a:lnTo>
                    <a:lnTo>
                      <a:pt x="5865" y="559"/>
                    </a:lnTo>
                    <a:lnTo>
                      <a:pt x="5481" y="311"/>
                    </a:lnTo>
                    <a:lnTo>
                      <a:pt x="4999" y="186"/>
                    </a:lnTo>
                    <a:lnTo>
                      <a:pt x="4518" y="0"/>
                    </a:lnTo>
                    <a:lnTo>
                      <a:pt x="3942" y="0"/>
                    </a:lnTo>
                    <a:lnTo>
                      <a:pt x="3942" y="0"/>
                    </a:lnTo>
                    <a:lnTo>
                      <a:pt x="3461" y="0"/>
                    </a:lnTo>
                    <a:lnTo>
                      <a:pt x="2981" y="186"/>
                    </a:lnTo>
                    <a:lnTo>
                      <a:pt x="2500" y="311"/>
                    </a:lnTo>
                    <a:lnTo>
                      <a:pt x="2020" y="559"/>
                    </a:lnTo>
                    <a:lnTo>
                      <a:pt x="1731" y="870"/>
                    </a:lnTo>
                    <a:lnTo>
                      <a:pt x="1441" y="1242"/>
                    </a:lnTo>
                    <a:cubicBezTo>
                      <a:pt x="1379" y="1387"/>
                      <a:pt x="1314" y="1532"/>
                      <a:pt x="1250" y="1677"/>
                    </a:cubicBezTo>
                    <a:lnTo>
                      <a:pt x="1250" y="2112"/>
                    </a:lnTo>
                    <a:lnTo>
                      <a:pt x="1250" y="2112"/>
                    </a:lnTo>
                    <a:cubicBezTo>
                      <a:pt x="1282" y="2298"/>
                      <a:pt x="1315" y="2485"/>
                      <a:pt x="1347" y="2671"/>
                    </a:cubicBezTo>
                    <a:lnTo>
                      <a:pt x="1731" y="3230"/>
                    </a:lnTo>
                    <a:lnTo>
                      <a:pt x="2212" y="3727"/>
                    </a:lnTo>
                    <a:lnTo>
                      <a:pt x="2693" y="4099"/>
                    </a:lnTo>
                    <a:lnTo>
                      <a:pt x="2693" y="4099"/>
                    </a:lnTo>
                    <a:lnTo>
                      <a:pt x="1634" y="4410"/>
                    </a:lnTo>
                    <a:lnTo>
                      <a:pt x="769" y="4783"/>
                    </a:lnTo>
                    <a:lnTo>
                      <a:pt x="0" y="5342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2" name="Freeform 897"/>
              <p:cNvSpPr>
                <a:spLocks/>
              </p:cNvSpPr>
              <p:nvPr/>
            </p:nvSpPr>
            <p:spPr bwMode="auto">
              <a:xfrm>
                <a:off x="4509658" y="4876544"/>
                <a:ext cx="181869" cy="255132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2666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52" fmla="*/ 0 w 10000"/>
                  <a:gd name="connsiteY52" fmla="*/ 9689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10000" h="10000">
                    <a:moveTo>
                      <a:pt x="4912" y="10000"/>
                    </a:moveTo>
                    <a:lnTo>
                      <a:pt x="2666" y="10000"/>
                    </a:lnTo>
                    <a:lnTo>
                      <a:pt x="6754" y="10000"/>
                    </a:lnTo>
                    <a:lnTo>
                      <a:pt x="8421" y="9938"/>
                    </a:lnTo>
                    <a:lnTo>
                      <a:pt x="9561" y="9814"/>
                    </a:lnTo>
                    <a:lnTo>
                      <a:pt x="9912" y="9752"/>
                    </a:lnTo>
                    <a:lnTo>
                      <a:pt x="10000" y="9689"/>
                    </a:lnTo>
                    <a:lnTo>
                      <a:pt x="10000" y="9689"/>
                    </a:lnTo>
                    <a:lnTo>
                      <a:pt x="10000" y="8634"/>
                    </a:lnTo>
                    <a:cubicBezTo>
                      <a:pt x="9971" y="8323"/>
                      <a:pt x="9941" y="8013"/>
                      <a:pt x="9912" y="7702"/>
                    </a:cubicBezTo>
                    <a:lnTo>
                      <a:pt x="9561" y="6832"/>
                    </a:lnTo>
                    <a:lnTo>
                      <a:pt x="9211" y="6087"/>
                    </a:lnTo>
                    <a:lnTo>
                      <a:pt x="8684" y="5342"/>
                    </a:lnTo>
                    <a:lnTo>
                      <a:pt x="7982" y="4783"/>
                    </a:lnTo>
                    <a:lnTo>
                      <a:pt x="7105" y="4410"/>
                    </a:lnTo>
                    <a:lnTo>
                      <a:pt x="6140" y="4099"/>
                    </a:lnTo>
                    <a:lnTo>
                      <a:pt x="6140" y="4099"/>
                    </a:lnTo>
                    <a:lnTo>
                      <a:pt x="6667" y="3727"/>
                    </a:lnTo>
                    <a:lnTo>
                      <a:pt x="7018" y="3230"/>
                    </a:lnTo>
                    <a:cubicBezTo>
                      <a:pt x="7106" y="3044"/>
                      <a:pt x="7193" y="2857"/>
                      <a:pt x="7281" y="2671"/>
                    </a:cubicBezTo>
                    <a:cubicBezTo>
                      <a:pt x="7369" y="2485"/>
                      <a:pt x="7456" y="2298"/>
                      <a:pt x="7544" y="2112"/>
                    </a:cubicBezTo>
                    <a:lnTo>
                      <a:pt x="7544" y="2112"/>
                    </a:lnTo>
                    <a:cubicBezTo>
                      <a:pt x="7515" y="1967"/>
                      <a:pt x="7485" y="1822"/>
                      <a:pt x="7456" y="1677"/>
                    </a:cubicBezTo>
                    <a:cubicBezTo>
                      <a:pt x="7398" y="1532"/>
                      <a:pt x="7339" y="1387"/>
                      <a:pt x="7281" y="1242"/>
                    </a:cubicBezTo>
                    <a:cubicBezTo>
                      <a:pt x="7222" y="1118"/>
                      <a:pt x="7164" y="994"/>
                      <a:pt x="7105" y="870"/>
                    </a:cubicBezTo>
                    <a:lnTo>
                      <a:pt x="6754" y="559"/>
                    </a:lnTo>
                    <a:lnTo>
                      <a:pt x="6404" y="311"/>
                    </a:lnTo>
                    <a:lnTo>
                      <a:pt x="5965" y="186"/>
                    </a:lnTo>
                    <a:lnTo>
                      <a:pt x="5526" y="0"/>
                    </a:lnTo>
                    <a:lnTo>
                      <a:pt x="5000" y="0"/>
                    </a:lnTo>
                    <a:lnTo>
                      <a:pt x="5000" y="0"/>
                    </a:lnTo>
                    <a:lnTo>
                      <a:pt x="4561" y="0"/>
                    </a:lnTo>
                    <a:lnTo>
                      <a:pt x="4123" y="186"/>
                    </a:lnTo>
                    <a:lnTo>
                      <a:pt x="3684" y="311"/>
                    </a:lnTo>
                    <a:lnTo>
                      <a:pt x="3246" y="559"/>
                    </a:lnTo>
                    <a:lnTo>
                      <a:pt x="2982" y="870"/>
                    </a:lnTo>
                    <a:lnTo>
                      <a:pt x="2719" y="1242"/>
                    </a:lnTo>
                    <a:cubicBezTo>
                      <a:pt x="2661" y="1387"/>
                      <a:pt x="2602" y="1532"/>
                      <a:pt x="2544" y="1677"/>
                    </a:cubicBezTo>
                    <a:lnTo>
                      <a:pt x="2544" y="2112"/>
                    </a:lnTo>
                    <a:lnTo>
                      <a:pt x="2544" y="2112"/>
                    </a:lnTo>
                    <a:cubicBezTo>
                      <a:pt x="2573" y="2298"/>
                      <a:pt x="2603" y="2485"/>
                      <a:pt x="2632" y="2671"/>
                    </a:cubicBezTo>
                    <a:lnTo>
                      <a:pt x="2982" y="3230"/>
                    </a:lnTo>
                    <a:lnTo>
                      <a:pt x="3421" y="3727"/>
                    </a:lnTo>
                    <a:lnTo>
                      <a:pt x="3860" y="4099"/>
                    </a:lnTo>
                    <a:lnTo>
                      <a:pt x="3860" y="4099"/>
                    </a:lnTo>
                    <a:lnTo>
                      <a:pt x="2895" y="4410"/>
                    </a:lnTo>
                    <a:lnTo>
                      <a:pt x="2105" y="4783"/>
                    </a:lnTo>
                    <a:lnTo>
                      <a:pt x="1404" y="5342"/>
                    </a:lnTo>
                    <a:lnTo>
                      <a:pt x="877" y="6087"/>
                    </a:lnTo>
                    <a:lnTo>
                      <a:pt x="439" y="6832"/>
                    </a:lnTo>
                    <a:lnTo>
                      <a:pt x="175" y="7702"/>
                    </a:lnTo>
                    <a:cubicBezTo>
                      <a:pt x="117" y="8013"/>
                      <a:pt x="58" y="8323"/>
                      <a:pt x="0" y="8634"/>
                    </a:cubicBezTo>
                    <a:lnTo>
                      <a:pt x="0" y="968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grpSp>
            <p:nvGrpSpPr>
              <p:cNvPr id="8" name="Groupe 78"/>
              <p:cNvGrpSpPr>
                <a:grpSpLocks/>
              </p:cNvGrpSpPr>
              <p:nvPr/>
            </p:nvGrpSpPr>
            <p:grpSpPr bwMode="auto">
              <a:xfrm>
                <a:off x="4430703" y="4715239"/>
                <a:ext cx="166698" cy="247657"/>
                <a:chOff x="4430703" y="4715239"/>
                <a:chExt cx="166698" cy="247657"/>
              </a:xfrm>
            </p:grpSpPr>
            <p:sp>
              <p:nvSpPr>
                <p:cNvPr id="24" name="Freeform 897"/>
                <p:cNvSpPr>
                  <a:spLocks/>
                </p:cNvSpPr>
                <p:nvPr/>
              </p:nvSpPr>
              <p:spPr bwMode="auto">
                <a:xfrm>
                  <a:off x="4431090" y="4714686"/>
                  <a:ext cx="165865" cy="248273"/>
                </a:xfrm>
                <a:custGeom>
                  <a:avLst/>
                  <a:gdLst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6754 w 10000"/>
                    <a:gd name="connsiteY2" fmla="*/ 10000 h 10000"/>
                    <a:gd name="connsiteX3" fmla="*/ 8421 w 10000"/>
                    <a:gd name="connsiteY3" fmla="*/ 9938 h 10000"/>
                    <a:gd name="connsiteX4" fmla="*/ 9561 w 10000"/>
                    <a:gd name="connsiteY4" fmla="*/ 9814 h 10000"/>
                    <a:gd name="connsiteX5" fmla="*/ 9912 w 10000"/>
                    <a:gd name="connsiteY5" fmla="*/ 9752 h 10000"/>
                    <a:gd name="connsiteX6" fmla="*/ 10000 w 10000"/>
                    <a:gd name="connsiteY6" fmla="*/ 9689 h 10000"/>
                    <a:gd name="connsiteX7" fmla="*/ 10000 w 10000"/>
                    <a:gd name="connsiteY7" fmla="*/ 9689 h 10000"/>
                    <a:gd name="connsiteX8" fmla="*/ 10000 w 10000"/>
                    <a:gd name="connsiteY8" fmla="*/ 8634 h 10000"/>
                    <a:gd name="connsiteX9" fmla="*/ 9912 w 10000"/>
                    <a:gd name="connsiteY9" fmla="*/ 7702 h 10000"/>
                    <a:gd name="connsiteX10" fmla="*/ 9561 w 10000"/>
                    <a:gd name="connsiteY10" fmla="*/ 6832 h 10000"/>
                    <a:gd name="connsiteX11" fmla="*/ 9211 w 10000"/>
                    <a:gd name="connsiteY11" fmla="*/ 6087 h 10000"/>
                    <a:gd name="connsiteX12" fmla="*/ 8684 w 10000"/>
                    <a:gd name="connsiteY12" fmla="*/ 5342 h 10000"/>
                    <a:gd name="connsiteX13" fmla="*/ 7982 w 10000"/>
                    <a:gd name="connsiteY13" fmla="*/ 4783 h 10000"/>
                    <a:gd name="connsiteX14" fmla="*/ 7105 w 10000"/>
                    <a:gd name="connsiteY14" fmla="*/ 4410 h 10000"/>
                    <a:gd name="connsiteX15" fmla="*/ 6140 w 10000"/>
                    <a:gd name="connsiteY15" fmla="*/ 4099 h 10000"/>
                    <a:gd name="connsiteX16" fmla="*/ 6140 w 10000"/>
                    <a:gd name="connsiteY16" fmla="*/ 4099 h 10000"/>
                    <a:gd name="connsiteX17" fmla="*/ 6667 w 10000"/>
                    <a:gd name="connsiteY17" fmla="*/ 3727 h 10000"/>
                    <a:gd name="connsiteX18" fmla="*/ 7018 w 10000"/>
                    <a:gd name="connsiteY18" fmla="*/ 3230 h 10000"/>
                    <a:gd name="connsiteX19" fmla="*/ 7281 w 10000"/>
                    <a:gd name="connsiteY19" fmla="*/ 2671 h 10000"/>
                    <a:gd name="connsiteX20" fmla="*/ 7544 w 10000"/>
                    <a:gd name="connsiteY20" fmla="*/ 2112 h 10000"/>
                    <a:gd name="connsiteX21" fmla="*/ 7544 w 10000"/>
                    <a:gd name="connsiteY21" fmla="*/ 2112 h 10000"/>
                    <a:gd name="connsiteX22" fmla="*/ 7456 w 10000"/>
                    <a:gd name="connsiteY22" fmla="*/ 1677 h 10000"/>
                    <a:gd name="connsiteX23" fmla="*/ 7281 w 10000"/>
                    <a:gd name="connsiteY23" fmla="*/ 1242 h 10000"/>
                    <a:gd name="connsiteX24" fmla="*/ 7105 w 10000"/>
                    <a:gd name="connsiteY24" fmla="*/ 870 h 10000"/>
                    <a:gd name="connsiteX25" fmla="*/ 6754 w 10000"/>
                    <a:gd name="connsiteY25" fmla="*/ 559 h 10000"/>
                    <a:gd name="connsiteX26" fmla="*/ 6404 w 10000"/>
                    <a:gd name="connsiteY26" fmla="*/ 311 h 10000"/>
                    <a:gd name="connsiteX27" fmla="*/ 5965 w 10000"/>
                    <a:gd name="connsiteY27" fmla="*/ 186 h 10000"/>
                    <a:gd name="connsiteX28" fmla="*/ 5526 w 10000"/>
                    <a:gd name="connsiteY28" fmla="*/ 0 h 10000"/>
                    <a:gd name="connsiteX29" fmla="*/ 5000 w 10000"/>
                    <a:gd name="connsiteY29" fmla="*/ 0 h 10000"/>
                    <a:gd name="connsiteX30" fmla="*/ 5000 w 10000"/>
                    <a:gd name="connsiteY30" fmla="*/ 0 h 10000"/>
                    <a:gd name="connsiteX31" fmla="*/ 4561 w 10000"/>
                    <a:gd name="connsiteY31" fmla="*/ 0 h 10000"/>
                    <a:gd name="connsiteX32" fmla="*/ 4123 w 10000"/>
                    <a:gd name="connsiteY32" fmla="*/ 186 h 10000"/>
                    <a:gd name="connsiteX33" fmla="*/ 3684 w 10000"/>
                    <a:gd name="connsiteY33" fmla="*/ 311 h 10000"/>
                    <a:gd name="connsiteX34" fmla="*/ 3246 w 10000"/>
                    <a:gd name="connsiteY34" fmla="*/ 559 h 10000"/>
                    <a:gd name="connsiteX35" fmla="*/ 2982 w 10000"/>
                    <a:gd name="connsiteY35" fmla="*/ 870 h 10000"/>
                    <a:gd name="connsiteX36" fmla="*/ 2719 w 10000"/>
                    <a:gd name="connsiteY36" fmla="*/ 1242 h 10000"/>
                    <a:gd name="connsiteX37" fmla="*/ 2544 w 10000"/>
                    <a:gd name="connsiteY37" fmla="*/ 1677 h 10000"/>
                    <a:gd name="connsiteX38" fmla="*/ 2544 w 10000"/>
                    <a:gd name="connsiteY38" fmla="*/ 2112 h 10000"/>
                    <a:gd name="connsiteX39" fmla="*/ 2544 w 10000"/>
                    <a:gd name="connsiteY39" fmla="*/ 2112 h 10000"/>
                    <a:gd name="connsiteX40" fmla="*/ 2632 w 10000"/>
                    <a:gd name="connsiteY40" fmla="*/ 2671 h 10000"/>
                    <a:gd name="connsiteX41" fmla="*/ 2982 w 10000"/>
                    <a:gd name="connsiteY41" fmla="*/ 3230 h 10000"/>
                    <a:gd name="connsiteX42" fmla="*/ 3421 w 10000"/>
                    <a:gd name="connsiteY42" fmla="*/ 3727 h 10000"/>
                    <a:gd name="connsiteX43" fmla="*/ 3860 w 10000"/>
                    <a:gd name="connsiteY43" fmla="*/ 4099 h 10000"/>
                    <a:gd name="connsiteX44" fmla="*/ 3860 w 10000"/>
                    <a:gd name="connsiteY44" fmla="*/ 4099 h 10000"/>
                    <a:gd name="connsiteX45" fmla="*/ 2895 w 10000"/>
                    <a:gd name="connsiteY45" fmla="*/ 4410 h 10000"/>
                    <a:gd name="connsiteX46" fmla="*/ 2105 w 10000"/>
                    <a:gd name="connsiteY46" fmla="*/ 4783 h 10000"/>
                    <a:gd name="connsiteX47" fmla="*/ 1404 w 10000"/>
                    <a:gd name="connsiteY47" fmla="*/ 5342 h 10000"/>
                    <a:gd name="connsiteX48" fmla="*/ 877 w 10000"/>
                    <a:gd name="connsiteY48" fmla="*/ 6087 h 10000"/>
                    <a:gd name="connsiteX49" fmla="*/ 439 w 10000"/>
                    <a:gd name="connsiteY49" fmla="*/ 6832 h 10000"/>
                    <a:gd name="connsiteX50" fmla="*/ 175 w 10000"/>
                    <a:gd name="connsiteY50" fmla="*/ 7702 h 10000"/>
                    <a:gd name="connsiteX51" fmla="*/ 0 w 10000"/>
                    <a:gd name="connsiteY51" fmla="*/ 8634 h 10000"/>
                    <a:gd name="connsiteX52" fmla="*/ 0 w 10000"/>
                    <a:gd name="connsiteY52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8421 w 10000"/>
                    <a:gd name="connsiteY2" fmla="*/ 9938 h 10000"/>
                    <a:gd name="connsiteX3" fmla="*/ 9561 w 10000"/>
                    <a:gd name="connsiteY3" fmla="*/ 9814 h 10000"/>
                    <a:gd name="connsiteX4" fmla="*/ 9912 w 10000"/>
                    <a:gd name="connsiteY4" fmla="*/ 9752 h 10000"/>
                    <a:gd name="connsiteX5" fmla="*/ 10000 w 10000"/>
                    <a:gd name="connsiteY5" fmla="*/ 9689 h 10000"/>
                    <a:gd name="connsiteX6" fmla="*/ 10000 w 10000"/>
                    <a:gd name="connsiteY6" fmla="*/ 9689 h 10000"/>
                    <a:gd name="connsiteX7" fmla="*/ 10000 w 10000"/>
                    <a:gd name="connsiteY7" fmla="*/ 8634 h 10000"/>
                    <a:gd name="connsiteX8" fmla="*/ 9912 w 10000"/>
                    <a:gd name="connsiteY8" fmla="*/ 7702 h 10000"/>
                    <a:gd name="connsiteX9" fmla="*/ 9561 w 10000"/>
                    <a:gd name="connsiteY9" fmla="*/ 6832 h 10000"/>
                    <a:gd name="connsiteX10" fmla="*/ 9211 w 10000"/>
                    <a:gd name="connsiteY10" fmla="*/ 6087 h 10000"/>
                    <a:gd name="connsiteX11" fmla="*/ 8684 w 10000"/>
                    <a:gd name="connsiteY11" fmla="*/ 5342 h 10000"/>
                    <a:gd name="connsiteX12" fmla="*/ 7982 w 10000"/>
                    <a:gd name="connsiteY12" fmla="*/ 4783 h 10000"/>
                    <a:gd name="connsiteX13" fmla="*/ 7105 w 10000"/>
                    <a:gd name="connsiteY13" fmla="*/ 4410 h 10000"/>
                    <a:gd name="connsiteX14" fmla="*/ 6140 w 10000"/>
                    <a:gd name="connsiteY14" fmla="*/ 4099 h 10000"/>
                    <a:gd name="connsiteX15" fmla="*/ 6140 w 10000"/>
                    <a:gd name="connsiteY15" fmla="*/ 4099 h 10000"/>
                    <a:gd name="connsiteX16" fmla="*/ 6667 w 10000"/>
                    <a:gd name="connsiteY16" fmla="*/ 3727 h 10000"/>
                    <a:gd name="connsiteX17" fmla="*/ 7018 w 10000"/>
                    <a:gd name="connsiteY17" fmla="*/ 3230 h 10000"/>
                    <a:gd name="connsiteX18" fmla="*/ 7281 w 10000"/>
                    <a:gd name="connsiteY18" fmla="*/ 2671 h 10000"/>
                    <a:gd name="connsiteX19" fmla="*/ 7544 w 10000"/>
                    <a:gd name="connsiteY19" fmla="*/ 2112 h 10000"/>
                    <a:gd name="connsiteX20" fmla="*/ 7544 w 10000"/>
                    <a:gd name="connsiteY20" fmla="*/ 2112 h 10000"/>
                    <a:gd name="connsiteX21" fmla="*/ 7456 w 10000"/>
                    <a:gd name="connsiteY21" fmla="*/ 1677 h 10000"/>
                    <a:gd name="connsiteX22" fmla="*/ 7281 w 10000"/>
                    <a:gd name="connsiteY22" fmla="*/ 1242 h 10000"/>
                    <a:gd name="connsiteX23" fmla="*/ 7105 w 10000"/>
                    <a:gd name="connsiteY23" fmla="*/ 870 h 10000"/>
                    <a:gd name="connsiteX24" fmla="*/ 6754 w 10000"/>
                    <a:gd name="connsiteY24" fmla="*/ 559 h 10000"/>
                    <a:gd name="connsiteX25" fmla="*/ 6404 w 10000"/>
                    <a:gd name="connsiteY25" fmla="*/ 311 h 10000"/>
                    <a:gd name="connsiteX26" fmla="*/ 5965 w 10000"/>
                    <a:gd name="connsiteY26" fmla="*/ 186 h 10000"/>
                    <a:gd name="connsiteX27" fmla="*/ 5526 w 10000"/>
                    <a:gd name="connsiteY27" fmla="*/ 0 h 10000"/>
                    <a:gd name="connsiteX28" fmla="*/ 5000 w 10000"/>
                    <a:gd name="connsiteY28" fmla="*/ 0 h 10000"/>
                    <a:gd name="connsiteX29" fmla="*/ 5000 w 10000"/>
                    <a:gd name="connsiteY29" fmla="*/ 0 h 10000"/>
                    <a:gd name="connsiteX30" fmla="*/ 4561 w 10000"/>
                    <a:gd name="connsiteY30" fmla="*/ 0 h 10000"/>
                    <a:gd name="connsiteX31" fmla="*/ 4123 w 10000"/>
                    <a:gd name="connsiteY31" fmla="*/ 186 h 10000"/>
                    <a:gd name="connsiteX32" fmla="*/ 3684 w 10000"/>
                    <a:gd name="connsiteY32" fmla="*/ 311 h 10000"/>
                    <a:gd name="connsiteX33" fmla="*/ 3246 w 10000"/>
                    <a:gd name="connsiteY33" fmla="*/ 559 h 10000"/>
                    <a:gd name="connsiteX34" fmla="*/ 2982 w 10000"/>
                    <a:gd name="connsiteY34" fmla="*/ 870 h 10000"/>
                    <a:gd name="connsiteX35" fmla="*/ 2719 w 10000"/>
                    <a:gd name="connsiteY35" fmla="*/ 1242 h 10000"/>
                    <a:gd name="connsiteX36" fmla="*/ 2544 w 10000"/>
                    <a:gd name="connsiteY36" fmla="*/ 1677 h 10000"/>
                    <a:gd name="connsiteX37" fmla="*/ 2544 w 10000"/>
                    <a:gd name="connsiteY37" fmla="*/ 2112 h 10000"/>
                    <a:gd name="connsiteX38" fmla="*/ 2544 w 10000"/>
                    <a:gd name="connsiteY38" fmla="*/ 2112 h 10000"/>
                    <a:gd name="connsiteX39" fmla="*/ 2632 w 10000"/>
                    <a:gd name="connsiteY39" fmla="*/ 2671 h 10000"/>
                    <a:gd name="connsiteX40" fmla="*/ 2982 w 10000"/>
                    <a:gd name="connsiteY40" fmla="*/ 3230 h 10000"/>
                    <a:gd name="connsiteX41" fmla="*/ 3421 w 10000"/>
                    <a:gd name="connsiteY41" fmla="*/ 3727 h 10000"/>
                    <a:gd name="connsiteX42" fmla="*/ 3860 w 10000"/>
                    <a:gd name="connsiteY42" fmla="*/ 4099 h 10000"/>
                    <a:gd name="connsiteX43" fmla="*/ 3860 w 10000"/>
                    <a:gd name="connsiteY43" fmla="*/ 4099 h 10000"/>
                    <a:gd name="connsiteX44" fmla="*/ 2895 w 10000"/>
                    <a:gd name="connsiteY44" fmla="*/ 4410 h 10000"/>
                    <a:gd name="connsiteX45" fmla="*/ 2105 w 10000"/>
                    <a:gd name="connsiteY45" fmla="*/ 4783 h 10000"/>
                    <a:gd name="connsiteX46" fmla="*/ 1404 w 10000"/>
                    <a:gd name="connsiteY46" fmla="*/ 5342 h 10000"/>
                    <a:gd name="connsiteX47" fmla="*/ 877 w 10000"/>
                    <a:gd name="connsiteY47" fmla="*/ 6087 h 10000"/>
                    <a:gd name="connsiteX48" fmla="*/ 439 w 10000"/>
                    <a:gd name="connsiteY48" fmla="*/ 6832 h 10000"/>
                    <a:gd name="connsiteX49" fmla="*/ 175 w 10000"/>
                    <a:gd name="connsiteY49" fmla="*/ 7702 h 10000"/>
                    <a:gd name="connsiteX50" fmla="*/ 0 w 10000"/>
                    <a:gd name="connsiteY50" fmla="*/ 8634 h 10000"/>
                    <a:gd name="connsiteX51" fmla="*/ 0 w 10000"/>
                    <a:gd name="connsiteY51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9561 w 10000"/>
                    <a:gd name="connsiteY2" fmla="*/ 9814 h 10000"/>
                    <a:gd name="connsiteX3" fmla="*/ 9912 w 10000"/>
                    <a:gd name="connsiteY3" fmla="*/ 9752 h 10000"/>
                    <a:gd name="connsiteX4" fmla="*/ 10000 w 10000"/>
                    <a:gd name="connsiteY4" fmla="*/ 9689 h 10000"/>
                    <a:gd name="connsiteX5" fmla="*/ 10000 w 10000"/>
                    <a:gd name="connsiteY5" fmla="*/ 9689 h 10000"/>
                    <a:gd name="connsiteX6" fmla="*/ 10000 w 10000"/>
                    <a:gd name="connsiteY6" fmla="*/ 8634 h 10000"/>
                    <a:gd name="connsiteX7" fmla="*/ 9912 w 10000"/>
                    <a:gd name="connsiteY7" fmla="*/ 7702 h 10000"/>
                    <a:gd name="connsiteX8" fmla="*/ 9561 w 10000"/>
                    <a:gd name="connsiteY8" fmla="*/ 6832 h 10000"/>
                    <a:gd name="connsiteX9" fmla="*/ 9211 w 10000"/>
                    <a:gd name="connsiteY9" fmla="*/ 6087 h 10000"/>
                    <a:gd name="connsiteX10" fmla="*/ 8684 w 10000"/>
                    <a:gd name="connsiteY10" fmla="*/ 5342 h 10000"/>
                    <a:gd name="connsiteX11" fmla="*/ 7982 w 10000"/>
                    <a:gd name="connsiteY11" fmla="*/ 4783 h 10000"/>
                    <a:gd name="connsiteX12" fmla="*/ 7105 w 10000"/>
                    <a:gd name="connsiteY12" fmla="*/ 4410 h 10000"/>
                    <a:gd name="connsiteX13" fmla="*/ 6140 w 10000"/>
                    <a:gd name="connsiteY13" fmla="*/ 4099 h 10000"/>
                    <a:gd name="connsiteX14" fmla="*/ 6140 w 10000"/>
                    <a:gd name="connsiteY14" fmla="*/ 4099 h 10000"/>
                    <a:gd name="connsiteX15" fmla="*/ 6667 w 10000"/>
                    <a:gd name="connsiteY15" fmla="*/ 3727 h 10000"/>
                    <a:gd name="connsiteX16" fmla="*/ 7018 w 10000"/>
                    <a:gd name="connsiteY16" fmla="*/ 3230 h 10000"/>
                    <a:gd name="connsiteX17" fmla="*/ 7281 w 10000"/>
                    <a:gd name="connsiteY17" fmla="*/ 2671 h 10000"/>
                    <a:gd name="connsiteX18" fmla="*/ 7544 w 10000"/>
                    <a:gd name="connsiteY18" fmla="*/ 2112 h 10000"/>
                    <a:gd name="connsiteX19" fmla="*/ 7544 w 10000"/>
                    <a:gd name="connsiteY19" fmla="*/ 2112 h 10000"/>
                    <a:gd name="connsiteX20" fmla="*/ 7456 w 10000"/>
                    <a:gd name="connsiteY20" fmla="*/ 1677 h 10000"/>
                    <a:gd name="connsiteX21" fmla="*/ 7281 w 10000"/>
                    <a:gd name="connsiteY21" fmla="*/ 1242 h 10000"/>
                    <a:gd name="connsiteX22" fmla="*/ 7105 w 10000"/>
                    <a:gd name="connsiteY22" fmla="*/ 870 h 10000"/>
                    <a:gd name="connsiteX23" fmla="*/ 6754 w 10000"/>
                    <a:gd name="connsiteY23" fmla="*/ 559 h 10000"/>
                    <a:gd name="connsiteX24" fmla="*/ 6404 w 10000"/>
                    <a:gd name="connsiteY24" fmla="*/ 311 h 10000"/>
                    <a:gd name="connsiteX25" fmla="*/ 5965 w 10000"/>
                    <a:gd name="connsiteY25" fmla="*/ 186 h 10000"/>
                    <a:gd name="connsiteX26" fmla="*/ 5526 w 10000"/>
                    <a:gd name="connsiteY26" fmla="*/ 0 h 10000"/>
                    <a:gd name="connsiteX27" fmla="*/ 5000 w 10000"/>
                    <a:gd name="connsiteY27" fmla="*/ 0 h 10000"/>
                    <a:gd name="connsiteX28" fmla="*/ 5000 w 10000"/>
                    <a:gd name="connsiteY28" fmla="*/ 0 h 10000"/>
                    <a:gd name="connsiteX29" fmla="*/ 4561 w 10000"/>
                    <a:gd name="connsiteY29" fmla="*/ 0 h 10000"/>
                    <a:gd name="connsiteX30" fmla="*/ 4123 w 10000"/>
                    <a:gd name="connsiteY30" fmla="*/ 186 h 10000"/>
                    <a:gd name="connsiteX31" fmla="*/ 3684 w 10000"/>
                    <a:gd name="connsiteY31" fmla="*/ 311 h 10000"/>
                    <a:gd name="connsiteX32" fmla="*/ 3246 w 10000"/>
                    <a:gd name="connsiteY32" fmla="*/ 559 h 10000"/>
                    <a:gd name="connsiteX33" fmla="*/ 2982 w 10000"/>
                    <a:gd name="connsiteY33" fmla="*/ 870 h 10000"/>
                    <a:gd name="connsiteX34" fmla="*/ 2719 w 10000"/>
                    <a:gd name="connsiteY34" fmla="*/ 1242 h 10000"/>
                    <a:gd name="connsiteX35" fmla="*/ 2544 w 10000"/>
                    <a:gd name="connsiteY35" fmla="*/ 1677 h 10000"/>
                    <a:gd name="connsiteX36" fmla="*/ 2544 w 10000"/>
                    <a:gd name="connsiteY36" fmla="*/ 2112 h 10000"/>
                    <a:gd name="connsiteX37" fmla="*/ 2544 w 10000"/>
                    <a:gd name="connsiteY37" fmla="*/ 2112 h 10000"/>
                    <a:gd name="connsiteX38" fmla="*/ 2632 w 10000"/>
                    <a:gd name="connsiteY38" fmla="*/ 2671 h 10000"/>
                    <a:gd name="connsiteX39" fmla="*/ 2982 w 10000"/>
                    <a:gd name="connsiteY39" fmla="*/ 3230 h 10000"/>
                    <a:gd name="connsiteX40" fmla="*/ 3421 w 10000"/>
                    <a:gd name="connsiteY40" fmla="*/ 3727 h 10000"/>
                    <a:gd name="connsiteX41" fmla="*/ 3860 w 10000"/>
                    <a:gd name="connsiteY41" fmla="*/ 4099 h 10000"/>
                    <a:gd name="connsiteX42" fmla="*/ 3860 w 10000"/>
                    <a:gd name="connsiteY42" fmla="*/ 4099 h 10000"/>
                    <a:gd name="connsiteX43" fmla="*/ 2895 w 10000"/>
                    <a:gd name="connsiteY43" fmla="*/ 4410 h 10000"/>
                    <a:gd name="connsiteX44" fmla="*/ 2105 w 10000"/>
                    <a:gd name="connsiteY44" fmla="*/ 4783 h 10000"/>
                    <a:gd name="connsiteX45" fmla="*/ 1404 w 10000"/>
                    <a:gd name="connsiteY45" fmla="*/ 5342 h 10000"/>
                    <a:gd name="connsiteX46" fmla="*/ 877 w 10000"/>
                    <a:gd name="connsiteY46" fmla="*/ 6087 h 10000"/>
                    <a:gd name="connsiteX47" fmla="*/ 439 w 10000"/>
                    <a:gd name="connsiteY47" fmla="*/ 6832 h 10000"/>
                    <a:gd name="connsiteX48" fmla="*/ 175 w 10000"/>
                    <a:gd name="connsiteY48" fmla="*/ 7702 h 10000"/>
                    <a:gd name="connsiteX49" fmla="*/ 0 w 10000"/>
                    <a:gd name="connsiteY49" fmla="*/ 8634 h 10000"/>
                    <a:gd name="connsiteX50" fmla="*/ 0 w 10000"/>
                    <a:gd name="connsiteY50" fmla="*/ 9689 h 10000"/>
                    <a:gd name="connsiteX0" fmla="*/ 4912 w 10000"/>
                    <a:gd name="connsiteY0" fmla="*/ 10000 h 10000"/>
                    <a:gd name="connsiteX1" fmla="*/ 9561 w 10000"/>
                    <a:gd name="connsiteY1" fmla="*/ 9814 h 10000"/>
                    <a:gd name="connsiteX2" fmla="*/ 9912 w 10000"/>
                    <a:gd name="connsiteY2" fmla="*/ 9752 h 10000"/>
                    <a:gd name="connsiteX3" fmla="*/ 10000 w 10000"/>
                    <a:gd name="connsiteY3" fmla="*/ 9689 h 10000"/>
                    <a:gd name="connsiteX4" fmla="*/ 10000 w 10000"/>
                    <a:gd name="connsiteY4" fmla="*/ 9689 h 10000"/>
                    <a:gd name="connsiteX5" fmla="*/ 10000 w 10000"/>
                    <a:gd name="connsiteY5" fmla="*/ 8634 h 10000"/>
                    <a:gd name="connsiteX6" fmla="*/ 9912 w 10000"/>
                    <a:gd name="connsiteY6" fmla="*/ 7702 h 10000"/>
                    <a:gd name="connsiteX7" fmla="*/ 9561 w 10000"/>
                    <a:gd name="connsiteY7" fmla="*/ 6832 h 10000"/>
                    <a:gd name="connsiteX8" fmla="*/ 9211 w 10000"/>
                    <a:gd name="connsiteY8" fmla="*/ 6087 h 10000"/>
                    <a:gd name="connsiteX9" fmla="*/ 8684 w 10000"/>
                    <a:gd name="connsiteY9" fmla="*/ 5342 h 10000"/>
                    <a:gd name="connsiteX10" fmla="*/ 7982 w 10000"/>
                    <a:gd name="connsiteY10" fmla="*/ 4783 h 10000"/>
                    <a:gd name="connsiteX11" fmla="*/ 7105 w 10000"/>
                    <a:gd name="connsiteY11" fmla="*/ 4410 h 10000"/>
                    <a:gd name="connsiteX12" fmla="*/ 6140 w 10000"/>
                    <a:gd name="connsiteY12" fmla="*/ 4099 h 10000"/>
                    <a:gd name="connsiteX13" fmla="*/ 6140 w 10000"/>
                    <a:gd name="connsiteY13" fmla="*/ 4099 h 10000"/>
                    <a:gd name="connsiteX14" fmla="*/ 6667 w 10000"/>
                    <a:gd name="connsiteY14" fmla="*/ 3727 h 10000"/>
                    <a:gd name="connsiteX15" fmla="*/ 7018 w 10000"/>
                    <a:gd name="connsiteY15" fmla="*/ 3230 h 10000"/>
                    <a:gd name="connsiteX16" fmla="*/ 7281 w 10000"/>
                    <a:gd name="connsiteY16" fmla="*/ 2671 h 10000"/>
                    <a:gd name="connsiteX17" fmla="*/ 7544 w 10000"/>
                    <a:gd name="connsiteY17" fmla="*/ 2112 h 10000"/>
                    <a:gd name="connsiteX18" fmla="*/ 7544 w 10000"/>
                    <a:gd name="connsiteY18" fmla="*/ 2112 h 10000"/>
                    <a:gd name="connsiteX19" fmla="*/ 7456 w 10000"/>
                    <a:gd name="connsiteY19" fmla="*/ 1677 h 10000"/>
                    <a:gd name="connsiteX20" fmla="*/ 7281 w 10000"/>
                    <a:gd name="connsiteY20" fmla="*/ 1242 h 10000"/>
                    <a:gd name="connsiteX21" fmla="*/ 7105 w 10000"/>
                    <a:gd name="connsiteY21" fmla="*/ 870 h 10000"/>
                    <a:gd name="connsiteX22" fmla="*/ 6754 w 10000"/>
                    <a:gd name="connsiteY22" fmla="*/ 559 h 10000"/>
                    <a:gd name="connsiteX23" fmla="*/ 6404 w 10000"/>
                    <a:gd name="connsiteY23" fmla="*/ 311 h 10000"/>
                    <a:gd name="connsiteX24" fmla="*/ 5965 w 10000"/>
                    <a:gd name="connsiteY24" fmla="*/ 186 h 10000"/>
                    <a:gd name="connsiteX25" fmla="*/ 5526 w 10000"/>
                    <a:gd name="connsiteY25" fmla="*/ 0 h 10000"/>
                    <a:gd name="connsiteX26" fmla="*/ 5000 w 10000"/>
                    <a:gd name="connsiteY26" fmla="*/ 0 h 10000"/>
                    <a:gd name="connsiteX27" fmla="*/ 5000 w 10000"/>
                    <a:gd name="connsiteY27" fmla="*/ 0 h 10000"/>
                    <a:gd name="connsiteX28" fmla="*/ 4561 w 10000"/>
                    <a:gd name="connsiteY28" fmla="*/ 0 h 10000"/>
                    <a:gd name="connsiteX29" fmla="*/ 4123 w 10000"/>
                    <a:gd name="connsiteY29" fmla="*/ 186 h 10000"/>
                    <a:gd name="connsiteX30" fmla="*/ 3684 w 10000"/>
                    <a:gd name="connsiteY30" fmla="*/ 311 h 10000"/>
                    <a:gd name="connsiteX31" fmla="*/ 3246 w 10000"/>
                    <a:gd name="connsiteY31" fmla="*/ 559 h 10000"/>
                    <a:gd name="connsiteX32" fmla="*/ 2982 w 10000"/>
                    <a:gd name="connsiteY32" fmla="*/ 870 h 10000"/>
                    <a:gd name="connsiteX33" fmla="*/ 2719 w 10000"/>
                    <a:gd name="connsiteY33" fmla="*/ 1242 h 10000"/>
                    <a:gd name="connsiteX34" fmla="*/ 2544 w 10000"/>
                    <a:gd name="connsiteY34" fmla="*/ 1677 h 10000"/>
                    <a:gd name="connsiteX35" fmla="*/ 2544 w 10000"/>
                    <a:gd name="connsiteY35" fmla="*/ 2112 h 10000"/>
                    <a:gd name="connsiteX36" fmla="*/ 2544 w 10000"/>
                    <a:gd name="connsiteY36" fmla="*/ 2112 h 10000"/>
                    <a:gd name="connsiteX37" fmla="*/ 2632 w 10000"/>
                    <a:gd name="connsiteY37" fmla="*/ 2671 h 10000"/>
                    <a:gd name="connsiteX38" fmla="*/ 2982 w 10000"/>
                    <a:gd name="connsiteY38" fmla="*/ 3230 h 10000"/>
                    <a:gd name="connsiteX39" fmla="*/ 3421 w 10000"/>
                    <a:gd name="connsiteY39" fmla="*/ 3727 h 10000"/>
                    <a:gd name="connsiteX40" fmla="*/ 3860 w 10000"/>
                    <a:gd name="connsiteY40" fmla="*/ 4099 h 10000"/>
                    <a:gd name="connsiteX41" fmla="*/ 3860 w 10000"/>
                    <a:gd name="connsiteY41" fmla="*/ 4099 h 10000"/>
                    <a:gd name="connsiteX42" fmla="*/ 2895 w 10000"/>
                    <a:gd name="connsiteY42" fmla="*/ 4410 h 10000"/>
                    <a:gd name="connsiteX43" fmla="*/ 2105 w 10000"/>
                    <a:gd name="connsiteY43" fmla="*/ 4783 h 10000"/>
                    <a:gd name="connsiteX44" fmla="*/ 1404 w 10000"/>
                    <a:gd name="connsiteY44" fmla="*/ 5342 h 10000"/>
                    <a:gd name="connsiteX45" fmla="*/ 877 w 10000"/>
                    <a:gd name="connsiteY45" fmla="*/ 6087 h 10000"/>
                    <a:gd name="connsiteX46" fmla="*/ 439 w 10000"/>
                    <a:gd name="connsiteY46" fmla="*/ 6832 h 10000"/>
                    <a:gd name="connsiteX47" fmla="*/ 175 w 10000"/>
                    <a:gd name="connsiteY47" fmla="*/ 7702 h 10000"/>
                    <a:gd name="connsiteX48" fmla="*/ 0 w 10000"/>
                    <a:gd name="connsiteY48" fmla="*/ 8634 h 10000"/>
                    <a:gd name="connsiteX49" fmla="*/ 0 w 10000"/>
                    <a:gd name="connsiteY49" fmla="*/ 9689 h 10000"/>
                    <a:gd name="connsiteX0" fmla="*/ 9561 w 10000"/>
                    <a:gd name="connsiteY0" fmla="*/ 9814 h 9814"/>
                    <a:gd name="connsiteX1" fmla="*/ 9912 w 10000"/>
                    <a:gd name="connsiteY1" fmla="*/ 9752 h 9814"/>
                    <a:gd name="connsiteX2" fmla="*/ 10000 w 10000"/>
                    <a:gd name="connsiteY2" fmla="*/ 9689 h 9814"/>
                    <a:gd name="connsiteX3" fmla="*/ 10000 w 10000"/>
                    <a:gd name="connsiteY3" fmla="*/ 9689 h 9814"/>
                    <a:gd name="connsiteX4" fmla="*/ 10000 w 10000"/>
                    <a:gd name="connsiteY4" fmla="*/ 8634 h 9814"/>
                    <a:gd name="connsiteX5" fmla="*/ 9912 w 10000"/>
                    <a:gd name="connsiteY5" fmla="*/ 7702 h 9814"/>
                    <a:gd name="connsiteX6" fmla="*/ 9561 w 10000"/>
                    <a:gd name="connsiteY6" fmla="*/ 6832 h 9814"/>
                    <a:gd name="connsiteX7" fmla="*/ 9211 w 10000"/>
                    <a:gd name="connsiteY7" fmla="*/ 6087 h 9814"/>
                    <a:gd name="connsiteX8" fmla="*/ 8684 w 10000"/>
                    <a:gd name="connsiteY8" fmla="*/ 5342 h 9814"/>
                    <a:gd name="connsiteX9" fmla="*/ 7982 w 10000"/>
                    <a:gd name="connsiteY9" fmla="*/ 4783 h 9814"/>
                    <a:gd name="connsiteX10" fmla="*/ 7105 w 10000"/>
                    <a:gd name="connsiteY10" fmla="*/ 4410 h 9814"/>
                    <a:gd name="connsiteX11" fmla="*/ 6140 w 10000"/>
                    <a:gd name="connsiteY11" fmla="*/ 4099 h 9814"/>
                    <a:gd name="connsiteX12" fmla="*/ 6140 w 10000"/>
                    <a:gd name="connsiteY12" fmla="*/ 4099 h 9814"/>
                    <a:gd name="connsiteX13" fmla="*/ 6667 w 10000"/>
                    <a:gd name="connsiteY13" fmla="*/ 3727 h 9814"/>
                    <a:gd name="connsiteX14" fmla="*/ 7018 w 10000"/>
                    <a:gd name="connsiteY14" fmla="*/ 3230 h 9814"/>
                    <a:gd name="connsiteX15" fmla="*/ 7281 w 10000"/>
                    <a:gd name="connsiteY15" fmla="*/ 2671 h 9814"/>
                    <a:gd name="connsiteX16" fmla="*/ 7544 w 10000"/>
                    <a:gd name="connsiteY16" fmla="*/ 2112 h 9814"/>
                    <a:gd name="connsiteX17" fmla="*/ 7544 w 10000"/>
                    <a:gd name="connsiteY17" fmla="*/ 2112 h 9814"/>
                    <a:gd name="connsiteX18" fmla="*/ 7456 w 10000"/>
                    <a:gd name="connsiteY18" fmla="*/ 1677 h 9814"/>
                    <a:gd name="connsiteX19" fmla="*/ 7281 w 10000"/>
                    <a:gd name="connsiteY19" fmla="*/ 1242 h 9814"/>
                    <a:gd name="connsiteX20" fmla="*/ 7105 w 10000"/>
                    <a:gd name="connsiteY20" fmla="*/ 870 h 9814"/>
                    <a:gd name="connsiteX21" fmla="*/ 6754 w 10000"/>
                    <a:gd name="connsiteY21" fmla="*/ 559 h 9814"/>
                    <a:gd name="connsiteX22" fmla="*/ 6404 w 10000"/>
                    <a:gd name="connsiteY22" fmla="*/ 311 h 9814"/>
                    <a:gd name="connsiteX23" fmla="*/ 5965 w 10000"/>
                    <a:gd name="connsiteY23" fmla="*/ 186 h 9814"/>
                    <a:gd name="connsiteX24" fmla="*/ 5526 w 10000"/>
                    <a:gd name="connsiteY24" fmla="*/ 0 h 9814"/>
                    <a:gd name="connsiteX25" fmla="*/ 5000 w 10000"/>
                    <a:gd name="connsiteY25" fmla="*/ 0 h 9814"/>
                    <a:gd name="connsiteX26" fmla="*/ 5000 w 10000"/>
                    <a:gd name="connsiteY26" fmla="*/ 0 h 9814"/>
                    <a:gd name="connsiteX27" fmla="*/ 4561 w 10000"/>
                    <a:gd name="connsiteY27" fmla="*/ 0 h 9814"/>
                    <a:gd name="connsiteX28" fmla="*/ 4123 w 10000"/>
                    <a:gd name="connsiteY28" fmla="*/ 186 h 9814"/>
                    <a:gd name="connsiteX29" fmla="*/ 3684 w 10000"/>
                    <a:gd name="connsiteY29" fmla="*/ 311 h 9814"/>
                    <a:gd name="connsiteX30" fmla="*/ 3246 w 10000"/>
                    <a:gd name="connsiteY30" fmla="*/ 559 h 9814"/>
                    <a:gd name="connsiteX31" fmla="*/ 2982 w 10000"/>
                    <a:gd name="connsiteY31" fmla="*/ 870 h 9814"/>
                    <a:gd name="connsiteX32" fmla="*/ 2719 w 10000"/>
                    <a:gd name="connsiteY32" fmla="*/ 1242 h 9814"/>
                    <a:gd name="connsiteX33" fmla="*/ 2544 w 10000"/>
                    <a:gd name="connsiteY33" fmla="*/ 1677 h 9814"/>
                    <a:gd name="connsiteX34" fmla="*/ 2544 w 10000"/>
                    <a:gd name="connsiteY34" fmla="*/ 2112 h 9814"/>
                    <a:gd name="connsiteX35" fmla="*/ 2544 w 10000"/>
                    <a:gd name="connsiteY35" fmla="*/ 2112 h 9814"/>
                    <a:gd name="connsiteX36" fmla="*/ 2632 w 10000"/>
                    <a:gd name="connsiteY36" fmla="*/ 2671 h 9814"/>
                    <a:gd name="connsiteX37" fmla="*/ 2982 w 10000"/>
                    <a:gd name="connsiteY37" fmla="*/ 3230 h 9814"/>
                    <a:gd name="connsiteX38" fmla="*/ 3421 w 10000"/>
                    <a:gd name="connsiteY38" fmla="*/ 3727 h 9814"/>
                    <a:gd name="connsiteX39" fmla="*/ 3860 w 10000"/>
                    <a:gd name="connsiteY39" fmla="*/ 4099 h 9814"/>
                    <a:gd name="connsiteX40" fmla="*/ 3860 w 10000"/>
                    <a:gd name="connsiteY40" fmla="*/ 4099 h 9814"/>
                    <a:gd name="connsiteX41" fmla="*/ 2895 w 10000"/>
                    <a:gd name="connsiteY41" fmla="*/ 4410 h 9814"/>
                    <a:gd name="connsiteX42" fmla="*/ 2105 w 10000"/>
                    <a:gd name="connsiteY42" fmla="*/ 4783 h 9814"/>
                    <a:gd name="connsiteX43" fmla="*/ 1404 w 10000"/>
                    <a:gd name="connsiteY43" fmla="*/ 5342 h 9814"/>
                    <a:gd name="connsiteX44" fmla="*/ 877 w 10000"/>
                    <a:gd name="connsiteY44" fmla="*/ 6087 h 9814"/>
                    <a:gd name="connsiteX45" fmla="*/ 439 w 10000"/>
                    <a:gd name="connsiteY45" fmla="*/ 6832 h 9814"/>
                    <a:gd name="connsiteX46" fmla="*/ 175 w 10000"/>
                    <a:gd name="connsiteY46" fmla="*/ 7702 h 9814"/>
                    <a:gd name="connsiteX47" fmla="*/ 0 w 10000"/>
                    <a:gd name="connsiteY47" fmla="*/ 8634 h 9814"/>
                    <a:gd name="connsiteX48" fmla="*/ 0 w 10000"/>
                    <a:gd name="connsiteY48" fmla="*/ 9689 h 9814"/>
                    <a:gd name="connsiteX0" fmla="*/ 9912 w 10000"/>
                    <a:gd name="connsiteY0" fmla="*/ 9937 h 9937"/>
                    <a:gd name="connsiteX1" fmla="*/ 10000 w 10000"/>
                    <a:gd name="connsiteY1" fmla="*/ 9873 h 9937"/>
                    <a:gd name="connsiteX2" fmla="*/ 10000 w 10000"/>
                    <a:gd name="connsiteY2" fmla="*/ 9873 h 9937"/>
                    <a:gd name="connsiteX3" fmla="*/ 10000 w 10000"/>
                    <a:gd name="connsiteY3" fmla="*/ 8798 h 9937"/>
                    <a:gd name="connsiteX4" fmla="*/ 9912 w 10000"/>
                    <a:gd name="connsiteY4" fmla="*/ 7848 h 9937"/>
                    <a:gd name="connsiteX5" fmla="*/ 9561 w 10000"/>
                    <a:gd name="connsiteY5" fmla="*/ 6961 h 9937"/>
                    <a:gd name="connsiteX6" fmla="*/ 9211 w 10000"/>
                    <a:gd name="connsiteY6" fmla="*/ 6202 h 9937"/>
                    <a:gd name="connsiteX7" fmla="*/ 8684 w 10000"/>
                    <a:gd name="connsiteY7" fmla="*/ 5443 h 9937"/>
                    <a:gd name="connsiteX8" fmla="*/ 7982 w 10000"/>
                    <a:gd name="connsiteY8" fmla="*/ 4874 h 9937"/>
                    <a:gd name="connsiteX9" fmla="*/ 7105 w 10000"/>
                    <a:gd name="connsiteY9" fmla="*/ 4494 h 9937"/>
                    <a:gd name="connsiteX10" fmla="*/ 6140 w 10000"/>
                    <a:gd name="connsiteY10" fmla="*/ 4177 h 9937"/>
                    <a:gd name="connsiteX11" fmla="*/ 6140 w 10000"/>
                    <a:gd name="connsiteY11" fmla="*/ 4177 h 9937"/>
                    <a:gd name="connsiteX12" fmla="*/ 6667 w 10000"/>
                    <a:gd name="connsiteY12" fmla="*/ 3798 h 9937"/>
                    <a:gd name="connsiteX13" fmla="*/ 7018 w 10000"/>
                    <a:gd name="connsiteY13" fmla="*/ 3291 h 9937"/>
                    <a:gd name="connsiteX14" fmla="*/ 7281 w 10000"/>
                    <a:gd name="connsiteY14" fmla="*/ 2722 h 9937"/>
                    <a:gd name="connsiteX15" fmla="*/ 7544 w 10000"/>
                    <a:gd name="connsiteY15" fmla="*/ 2152 h 9937"/>
                    <a:gd name="connsiteX16" fmla="*/ 7544 w 10000"/>
                    <a:gd name="connsiteY16" fmla="*/ 2152 h 9937"/>
                    <a:gd name="connsiteX17" fmla="*/ 7456 w 10000"/>
                    <a:gd name="connsiteY17" fmla="*/ 1709 h 9937"/>
                    <a:gd name="connsiteX18" fmla="*/ 7281 w 10000"/>
                    <a:gd name="connsiteY18" fmla="*/ 1266 h 9937"/>
                    <a:gd name="connsiteX19" fmla="*/ 7105 w 10000"/>
                    <a:gd name="connsiteY19" fmla="*/ 886 h 9937"/>
                    <a:gd name="connsiteX20" fmla="*/ 6754 w 10000"/>
                    <a:gd name="connsiteY20" fmla="*/ 570 h 9937"/>
                    <a:gd name="connsiteX21" fmla="*/ 6404 w 10000"/>
                    <a:gd name="connsiteY21" fmla="*/ 317 h 9937"/>
                    <a:gd name="connsiteX22" fmla="*/ 5965 w 10000"/>
                    <a:gd name="connsiteY22" fmla="*/ 190 h 9937"/>
                    <a:gd name="connsiteX23" fmla="*/ 5526 w 10000"/>
                    <a:gd name="connsiteY23" fmla="*/ 0 h 9937"/>
                    <a:gd name="connsiteX24" fmla="*/ 5000 w 10000"/>
                    <a:gd name="connsiteY24" fmla="*/ 0 h 9937"/>
                    <a:gd name="connsiteX25" fmla="*/ 5000 w 10000"/>
                    <a:gd name="connsiteY25" fmla="*/ 0 h 9937"/>
                    <a:gd name="connsiteX26" fmla="*/ 4561 w 10000"/>
                    <a:gd name="connsiteY26" fmla="*/ 0 h 9937"/>
                    <a:gd name="connsiteX27" fmla="*/ 4123 w 10000"/>
                    <a:gd name="connsiteY27" fmla="*/ 190 h 9937"/>
                    <a:gd name="connsiteX28" fmla="*/ 3684 w 10000"/>
                    <a:gd name="connsiteY28" fmla="*/ 317 h 9937"/>
                    <a:gd name="connsiteX29" fmla="*/ 3246 w 10000"/>
                    <a:gd name="connsiteY29" fmla="*/ 570 h 9937"/>
                    <a:gd name="connsiteX30" fmla="*/ 2982 w 10000"/>
                    <a:gd name="connsiteY30" fmla="*/ 886 h 9937"/>
                    <a:gd name="connsiteX31" fmla="*/ 2719 w 10000"/>
                    <a:gd name="connsiteY31" fmla="*/ 1266 h 9937"/>
                    <a:gd name="connsiteX32" fmla="*/ 2544 w 10000"/>
                    <a:gd name="connsiteY32" fmla="*/ 1709 h 9937"/>
                    <a:gd name="connsiteX33" fmla="*/ 2544 w 10000"/>
                    <a:gd name="connsiteY33" fmla="*/ 2152 h 9937"/>
                    <a:gd name="connsiteX34" fmla="*/ 2544 w 10000"/>
                    <a:gd name="connsiteY34" fmla="*/ 2152 h 9937"/>
                    <a:gd name="connsiteX35" fmla="*/ 2632 w 10000"/>
                    <a:gd name="connsiteY35" fmla="*/ 2722 h 9937"/>
                    <a:gd name="connsiteX36" fmla="*/ 2982 w 10000"/>
                    <a:gd name="connsiteY36" fmla="*/ 3291 h 9937"/>
                    <a:gd name="connsiteX37" fmla="*/ 3421 w 10000"/>
                    <a:gd name="connsiteY37" fmla="*/ 3798 h 9937"/>
                    <a:gd name="connsiteX38" fmla="*/ 3860 w 10000"/>
                    <a:gd name="connsiteY38" fmla="*/ 4177 h 9937"/>
                    <a:gd name="connsiteX39" fmla="*/ 3860 w 10000"/>
                    <a:gd name="connsiteY39" fmla="*/ 4177 h 9937"/>
                    <a:gd name="connsiteX40" fmla="*/ 2895 w 10000"/>
                    <a:gd name="connsiteY40" fmla="*/ 4494 h 9937"/>
                    <a:gd name="connsiteX41" fmla="*/ 2105 w 10000"/>
                    <a:gd name="connsiteY41" fmla="*/ 4874 h 9937"/>
                    <a:gd name="connsiteX42" fmla="*/ 1404 w 10000"/>
                    <a:gd name="connsiteY42" fmla="*/ 5443 h 9937"/>
                    <a:gd name="connsiteX43" fmla="*/ 877 w 10000"/>
                    <a:gd name="connsiteY43" fmla="*/ 6202 h 9937"/>
                    <a:gd name="connsiteX44" fmla="*/ 439 w 10000"/>
                    <a:gd name="connsiteY44" fmla="*/ 6961 h 9937"/>
                    <a:gd name="connsiteX45" fmla="*/ 175 w 10000"/>
                    <a:gd name="connsiteY45" fmla="*/ 7848 h 9937"/>
                    <a:gd name="connsiteX46" fmla="*/ 0 w 10000"/>
                    <a:gd name="connsiteY46" fmla="*/ 8798 h 9937"/>
                    <a:gd name="connsiteX47" fmla="*/ 0 w 10000"/>
                    <a:gd name="connsiteY47" fmla="*/ 9873 h 9937"/>
                    <a:gd name="connsiteX0" fmla="*/ 9912 w 10000"/>
                    <a:gd name="connsiteY0" fmla="*/ 10000 h 10000"/>
                    <a:gd name="connsiteX1" fmla="*/ 10000 w 10000"/>
                    <a:gd name="connsiteY1" fmla="*/ 9936 h 10000"/>
                    <a:gd name="connsiteX2" fmla="*/ 10000 w 10000"/>
                    <a:gd name="connsiteY2" fmla="*/ 8854 h 10000"/>
                    <a:gd name="connsiteX3" fmla="*/ 9912 w 10000"/>
                    <a:gd name="connsiteY3" fmla="*/ 7898 h 10000"/>
                    <a:gd name="connsiteX4" fmla="*/ 9561 w 10000"/>
                    <a:gd name="connsiteY4" fmla="*/ 7005 h 10000"/>
                    <a:gd name="connsiteX5" fmla="*/ 9211 w 10000"/>
                    <a:gd name="connsiteY5" fmla="*/ 6241 h 10000"/>
                    <a:gd name="connsiteX6" fmla="*/ 8684 w 10000"/>
                    <a:gd name="connsiteY6" fmla="*/ 5478 h 10000"/>
                    <a:gd name="connsiteX7" fmla="*/ 7982 w 10000"/>
                    <a:gd name="connsiteY7" fmla="*/ 4905 h 10000"/>
                    <a:gd name="connsiteX8" fmla="*/ 7105 w 10000"/>
                    <a:gd name="connsiteY8" fmla="*/ 4522 h 10000"/>
                    <a:gd name="connsiteX9" fmla="*/ 6140 w 10000"/>
                    <a:gd name="connsiteY9" fmla="*/ 4203 h 10000"/>
                    <a:gd name="connsiteX10" fmla="*/ 6140 w 10000"/>
                    <a:gd name="connsiteY10" fmla="*/ 4203 h 10000"/>
                    <a:gd name="connsiteX11" fmla="*/ 6667 w 10000"/>
                    <a:gd name="connsiteY11" fmla="*/ 3822 h 10000"/>
                    <a:gd name="connsiteX12" fmla="*/ 7018 w 10000"/>
                    <a:gd name="connsiteY12" fmla="*/ 3312 h 10000"/>
                    <a:gd name="connsiteX13" fmla="*/ 7281 w 10000"/>
                    <a:gd name="connsiteY13" fmla="*/ 2739 h 10000"/>
                    <a:gd name="connsiteX14" fmla="*/ 7544 w 10000"/>
                    <a:gd name="connsiteY14" fmla="*/ 2166 h 10000"/>
                    <a:gd name="connsiteX15" fmla="*/ 7544 w 10000"/>
                    <a:gd name="connsiteY15" fmla="*/ 2166 h 10000"/>
                    <a:gd name="connsiteX16" fmla="*/ 7456 w 10000"/>
                    <a:gd name="connsiteY16" fmla="*/ 1720 h 10000"/>
                    <a:gd name="connsiteX17" fmla="*/ 7281 w 10000"/>
                    <a:gd name="connsiteY17" fmla="*/ 1274 h 10000"/>
                    <a:gd name="connsiteX18" fmla="*/ 7105 w 10000"/>
                    <a:gd name="connsiteY18" fmla="*/ 892 h 10000"/>
                    <a:gd name="connsiteX19" fmla="*/ 6754 w 10000"/>
                    <a:gd name="connsiteY19" fmla="*/ 574 h 10000"/>
                    <a:gd name="connsiteX20" fmla="*/ 6404 w 10000"/>
                    <a:gd name="connsiteY20" fmla="*/ 319 h 10000"/>
                    <a:gd name="connsiteX21" fmla="*/ 5965 w 10000"/>
                    <a:gd name="connsiteY21" fmla="*/ 191 h 10000"/>
                    <a:gd name="connsiteX22" fmla="*/ 5526 w 10000"/>
                    <a:gd name="connsiteY22" fmla="*/ 0 h 10000"/>
                    <a:gd name="connsiteX23" fmla="*/ 5000 w 10000"/>
                    <a:gd name="connsiteY23" fmla="*/ 0 h 10000"/>
                    <a:gd name="connsiteX24" fmla="*/ 5000 w 10000"/>
                    <a:gd name="connsiteY24" fmla="*/ 0 h 10000"/>
                    <a:gd name="connsiteX25" fmla="*/ 4561 w 10000"/>
                    <a:gd name="connsiteY25" fmla="*/ 0 h 10000"/>
                    <a:gd name="connsiteX26" fmla="*/ 4123 w 10000"/>
                    <a:gd name="connsiteY26" fmla="*/ 191 h 10000"/>
                    <a:gd name="connsiteX27" fmla="*/ 3684 w 10000"/>
                    <a:gd name="connsiteY27" fmla="*/ 319 h 10000"/>
                    <a:gd name="connsiteX28" fmla="*/ 3246 w 10000"/>
                    <a:gd name="connsiteY28" fmla="*/ 574 h 10000"/>
                    <a:gd name="connsiteX29" fmla="*/ 2982 w 10000"/>
                    <a:gd name="connsiteY29" fmla="*/ 892 h 10000"/>
                    <a:gd name="connsiteX30" fmla="*/ 2719 w 10000"/>
                    <a:gd name="connsiteY30" fmla="*/ 1274 h 10000"/>
                    <a:gd name="connsiteX31" fmla="*/ 2544 w 10000"/>
                    <a:gd name="connsiteY31" fmla="*/ 1720 h 10000"/>
                    <a:gd name="connsiteX32" fmla="*/ 2544 w 10000"/>
                    <a:gd name="connsiteY32" fmla="*/ 2166 h 10000"/>
                    <a:gd name="connsiteX33" fmla="*/ 2544 w 10000"/>
                    <a:gd name="connsiteY33" fmla="*/ 2166 h 10000"/>
                    <a:gd name="connsiteX34" fmla="*/ 2632 w 10000"/>
                    <a:gd name="connsiteY34" fmla="*/ 2739 h 10000"/>
                    <a:gd name="connsiteX35" fmla="*/ 2982 w 10000"/>
                    <a:gd name="connsiteY35" fmla="*/ 3312 h 10000"/>
                    <a:gd name="connsiteX36" fmla="*/ 3421 w 10000"/>
                    <a:gd name="connsiteY36" fmla="*/ 3822 h 10000"/>
                    <a:gd name="connsiteX37" fmla="*/ 3860 w 10000"/>
                    <a:gd name="connsiteY37" fmla="*/ 4203 h 10000"/>
                    <a:gd name="connsiteX38" fmla="*/ 3860 w 10000"/>
                    <a:gd name="connsiteY38" fmla="*/ 4203 h 10000"/>
                    <a:gd name="connsiteX39" fmla="*/ 2895 w 10000"/>
                    <a:gd name="connsiteY39" fmla="*/ 4522 h 10000"/>
                    <a:gd name="connsiteX40" fmla="*/ 2105 w 10000"/>
                    <a:gd name="connsiteY40" fmla="*/ 4905 h 10000"/>
                    <a:gd name="connsiteX41" fmla="*/ 1404 w 10000"/>
                    <a:gd name="connsiteY41" fmla="*/ 5478 h 10000"/>
                    <a:gd name="connsiteX42" fmla="*/ 877 w 10000"/>
                    <a:gd name="connsiteY42" fmla="*/ 6241 h 10000"/>
                    <a:gd name="connsiteX43" fmla="*/ 439 w 10000"/>
                    <a:gd name="connsiteY43" fmla="*/ 7005 h 10000"/>
                    <a:gd name="connsiteX44" fmla="*/ 175 w 10000"/>
                    <a:gd name="connsiteY44" fmla="*/ 7898 h 10000"/>
                    <a:gd name="connsiteX45" fmla="*/ 0 w 10000"/>
                    <a:gd name="connsiteY45" fmla="*/ 8854 h 10000"/>
                    <a:gd name="connsiteX46" fmla="*/ 0 w 10000"/>
                    <a:gd name="connsiteY46" fmla="*/ 9936 h 10000"/>
                    <a:gd name="connsiteX0" fmla="*/ 9912 w 10000"/>
                    <a:gd name="connsiteY0" fmla="*/ 10000 h 10000"/>
                    <a:gd name="connsiteX1" fmla="*/ 10000 w 10000"/>
                    <a:gd name="connsiteY1" fmla="*/ 8854 h 10000"/>
                    <a:gd name="connsiteX2" fmla="*/ 9912 w 10000"/>
                    <a:gd name="connsiteY2" fmla="*/ 7898 h 10000"/>
                    <a:gd name="connsiteX3" fmla="*/ 9561 w 10000"/>
                    <a:gd name="connsiteY3" fmla="*/ 7005 h 10000"/>
                    <a:gd name="connsiteX4" fmla="*/ 9211 w 10000"/>
                    <a:gd name="connsiteY4" fmla="*/ 6241 h 10000"/>
                    <a:gd name="connsiteX5" fmla="*/ 8684 w 10000"/>
                    <a:gd name="connsiteY5" fmla="*/ 5478 h 10000"/>
                    <a:gd name="connsiteX6" fmla="*/ 7982 w 10000"/>
                    <a:gd name="connsiteY6" fmla="*/ 4905 h 10000"/>
                    <a:gd name="connsiteX7" fmla="*/ 7105 w 10000"/>
                    <a:gd name="connsiteY7" fmla="*/ 4522 h 10000"/>
                    <a:gd name="connsiteX8" fmla="*/ 6140 w 10000"/>
                    <a:gd name="connsiteY8" fmla="*/ 4203 h 10000"/>
                    <a:gd name="connsiteX9" fmla="*/ 6140 w 10000"/>
                    <a:gd name="connsiteY9" fmla="*/ 4203 h 10000"/>
                    <a:gd name="connsiteX10" fmla="*/ 6667 w 10000"/>
                    <a:gd name="connsiteY10" fmla="*/ 3822 h 10000"/>
                    <a:gd name="connsiteX11" fmla="*/ 7018 w 10000"/>
                    <a:gd name="connsiteY11" fmla="*/ 3312 h 10000"/>
                    <a:gd name="connsiteX12" fmla="*/ 7281 w 10000"/>
                    <a:gd name="connsiteY12" fmla="*/ 2739 h 10000"/>
                    <a:gd name="connsiteX13" fmla="*/ 7544 w 10000"/>
                    <a:gd name="connsiteY13" fmla="*/ 2166 h 10000"/>
                    <a:gd name="connsiteX14" fmla="*/ 7544 w 10000"/>
                    <a:gd name="connsiteY14" fmla="*/ 2166 h 10000"/>
                    <a:gd name="connsiteX15" fmla="*/ 7456 w 10000"/>
                    <a:gd name="connsiteY15" fmla="*/ 1720 h 10000"/>
                    <a:gd name="connsiteX16" fmla="*/ 7281 w 10000"/>
                    <a:gd name="connsiteY16" fmla="*/ 1274 h 10000"/>
                    <a:gd name="connsiteX17" fmla="*/ 7105 w 10000"/>
                    <a:gd name="connsiteY17" fmla="*/ 892 h 10000"/>
                    <a:gd name="connsiteX18" fmla="*/ 6754 w 10000"/>
                    <a:gd name="connsiteY18" fmla="*/ 574 h 10000"/>
                    <a:gd name="connsiteX19" fmla="*/ 6404 w 10000"/>
                    <a:gd name="connsiteY19" fmla="*/ 319 h 10000"/>
                    <a:gd name="connsiteX20" fmla="*/ 5965 w 10000"/>
                    <a:gd name="connsiteY20" fmla="*/ 191 h 10000"/>
                    <a:gd name="connsiteX21" fmla="*/ 5526 w 10000"/>
                    <a:gd name="connsiteY21" fmla="*/ 0 h 10000"/>
                    <a:gd name="connsiteX22" fmla="*/ 5000 w 10000"/>
                    <a:gd name="connsiteY22" fmla="*/ 0 h 10000"/>
                    <a:gd name="connsiteX23" fmla="*/ 5000 w 10000"/>
                    <a:gd name="connsiteY23" fmla="*/ 0 h 10000"/>
                    <a:gd name="connsiteX24" fmla="*/ 4561 w 10000"/>
                    <a:gd name="connsiteY24" fmla="*/ 0 h 10000"/>
                    <a:gd name="connsiteX25" fmla="*/ 4123 w 10000"/>
                    <a:gd name="connsiteY25" fmla="*/ 191 h 10000"/>
                    <a:gd name="connsiteX26" fmla="*/ 3684 w 10000"/>
                    <a:gd name="connsiteY26" fmla="*/ 319 h 10000"/>
                    <a:gd name="connsiteX27" fmla="*/ 3246 w 10000"/>
                    <a:gd name="connsiteY27" fmla="*/ 574 h 10000"/>
                    <a:gd name="connsiteX28" fmla="*/ 2982 w 10000"/>
                    <a:gd name="connsiteY28" fmla="*/ 892 h 10000"/>
                    <a:gd name="connsiteX29" fmla="*/ 2719 w 10000"/>
                    <a:gd name="connsiteY29" fmla="*/ 1274 h 10000"/>
                    <a:gd name="connsiteX30" fmla="*/ 2544 w 10000"/>
                    <a:gd name="connsiteY30" fmla="*/ 1720 h 10000"/>
                    <a:gd name="connsiteX31" fmla="*/ 2544 w 10000"/>
                    <a:gd name="connsiteY31" fmla="*/ 2166 h 10000"/>
                    <a:gd name="connsiteX32" fmla="*/ 2544 w 10000"/>
                    <a:gd name="connsiteY32" fmla="*/ 2166 h 10000"/>
                    <a:gd name="connsiteX33" fmla="*/ 2632 w 10000"/>
                    <a:gd name="connsiteY33" fmla="*/ 2739 h 10000"/>
                    <a:gd name="connsiteX34" fmla="*/ 2982 w 10000"/>
                    <a:gd name="connsiteY34" fmla="*/ 3312 h 10000"/>
                    <a:gd name="connsiteX35" fmla="*/ 3421 w 10000"/>
                    <a:gd name="connsiteY35" fmla="*/ 3822 h 10000"/>
                    <a:gd name="connsiteX36" fmla="*/ 3860 w 10000"/>
                    <a:gd name="connsiteY36" fmla="*/ 4203 h 10000"/>
                    <a:gd name="connsiteX37" fmla="*/ 3860 w 10000"/>
                    <a:gd name="connsiteY37" fmla="*/ 4203 h 10000"/>
                    <a:gd name="connsiteX38" fmla="*/ 2895 w 10000"/>
                    <a:gd name="connsiteY38" fmla="*/ 4522 h 10000"/>
                    <a:gd name="connsiteX39" fmla="*/ 2105 w 10000"/>
                    <a:gd name="connsiteY39" fmla="*/ 4905 h 10000"/>
                    <a:gd name="connsiteX40" fmla="*/ 1404 w 10000"/>
                    <a:gd name="connsiteY40" fmla="*/ 5478 h 10000"/>
                    <a:gd name="connsiteX41" fmla="*/ 877 w 10000"/>
                    <a:gd name="connsiteY41" fmla="*/ 6241 h 10000"/>
                    <a:gd name="connsiteX42" fmla="*/ 439 w 10000"/>
                    <a:gd name="connsiteY42" fmla="*/ 7005 h 10000"/>
                    <a:gd name="connsiteX43" fmla="*/ 175 w 10000"/>
                    <a:gd name="connsiteY43" fmla="*/ 7898 h 10000"/>
                    <a:gd name="connsiteX44" fmla="*/ 0 w 10000"/>
                    <a:gd name="connsiteY44" fmla="*/ 8854 h 10000"/>
                    <a:gd name="connsiteX45" fmla="*/ 0 w 10000"/>
                    <a:gd name="connsiteY45" fmla="*/ 9936 h 10000"/>
                    <a:gd name="connsiteX0" fmla="*/ 10000 w 10000"/>
                    <a:gd name="connsiteY0" fmla="*/ 8854 h 9936"/>
                    <a:gd name="connsiteX1" fmla="*/ 9912 w 10000"/>
                    <a:gd name="connsiteY1" fmla="*/ 7898 h 9936"/>
                    <a:gd name="connsiteX2" fmla="*/ 9561 w 10000"/>
                    <a:gd name="connsiteY2" fmla="*/ 7005 h 9936"/>
                    <a:gd name="connsiteX3" fmla="*/ 9211 w 10000"/>
                    <a:gd name="connsiteY3" fmla="*/ 6241 h 9936"/>
                    <a:gd name="connsiteX4" fmla="*/ 8684 w 10000"/>
                    <a:gd name="connsiteY4" fmla="*/ 5478 h 9936"/>
                    <a:gd name="connsiteX5" fmla="*/ 7982 w 10000"/>
                    <a:gd name="connsiteY5" fmla="*/ 4905 h 9936"/>
                    <a:gd name="connsiteX6" fmla="*/ 7105 w 10000"/>
                    <a:gd name="connsiteY6" fmla="*/ 4522 h 9936"/>
                    <a:gd name="connsiteX7" fmla="*/ 6140 w 10000"/>
                    <a:gd name="connsiteY7" fmla="*/ 4203 h 9936"/>
                    <a:gd name="connsiteX8" fmla="*/ 6140 w 10000"/>
                    <a:gd name="connsiteY8" fmla="*/ 4203 h 9936"/>
                    <a:gd name="connsiteX9" fmla="*/ 6667 w 10000"/>
                    <a:gd name="connsiteY9" fmla="*/ 3822 h 9936"/>
                    <a:gd name="connsiteX10" fmla="*/ 7018 w 10000"/>
                    <a:gd name="connsiteY10" fmla="*/ 3312 h 9936"/>
                    <a:gd name="connsiteX11" fmla="*/ 7281 w 10000"/>
                    <a:gd name="connsiteY11" fmla="*/ 2739 h 9936"/>
                    <a:gd name="connsiteX12" fmla="*/ 7544 w 10000"/>
                    <a:gd name="connsiteY12" fmla="*/ 2166 h 9936"/>
                    <a:gd name="connsiteX13" fmla="*/ 7544 w 10000"/>
                    <a:gd name="connsiteY13" fmla="*/ 2166 h 9936"/>
                    <a:gd name="connsiteX14" fmla="*/ 7456 w 10000"/>
                    <a:gd name="connsiteY14" fmla="*/ 1720 h 9936"/>
                    <a:gd name="connsiteX15" fmla="*/ 7281 w 10000"/>
                    <a:gd name="connsiteY15" fmla="*/ 1274 h 9936"/>
                    <a:gd name="connsiteX16" fmla="*/ 7105 w 10000"/>
                    <a:gd name="connsiteY16" fmla="*/ 892 h 9936"/>
                    <a:gd name="connsiteX17" fmla="*/ 6754 w 10000"/>
                    <a:gd name="connsiteY17" fmla="*/ 574 h 9936"/>
                    <a:gd name="connsiteX18" fmla="*/ 6404 w 10000"/>
                    <a:gd name="connsiteY18" fmla="*/ 319 h 9936"/>
                    <a:gd name="connsiteX19" fmla="*/ 5965 w 10000"/>
                    <a:gd name="connsiteY19" fmla="*/ 191 h 9936"/>
                    <a:gd name="connsiteX20" fmla="*/ 5526 w 10000"/>
                    <a:gd name="connsiteY20" fmla="*/ 0 h 9936"/>
                    <a:gd name="connsiteX21" fmla="*/ 5000 w 10000"/>
                    <a:gd name="connsiteY21" fmla="*/ 0 h 9936"/>
                    <a:gd name="connsiteX22" fmla="*/ 5000 w 10000"/>
                    <a:gd name="connsiteY22" fmla="*/ 0 h 9936"/>
                    <a:gd name="connsiteX23" fmla="*/ 4561 w 10000"/>
                    <a:gd name="connsiteY23" fmla="*/ 0 h 9936"/>
                    <a:gd name="connsiteX24" fmla="*/ 4123 w 10000"/>
                    <a:gd name="connsiteY24" fmla="*/ 191 h 9936"/>
                    <a:gd name="connsiteX25" fmla="*/ 3684 w 10000"/>
                    <a:gd name="connsiteY25" fmla="*/ 319 h 9936"/>
                    <a:gd name="connsiteX26" fmla="*/ 3246 w 10000"/>
                    <a:gd name="connsiteY26" fmla="*/ 574 h 9936"/>
                    <a:gd name="connsiteX27" fmla="*/ 2982 w 10000"/>
                    <a:gd name="connsiteY27" fmla="*/ 892 h 9936"/>
                    <a:gd name="connsiteX28" fmla="*/ 2719 w 10000"/>
                    <a:gd name="connsiteY28" fmla="*/ 1274 h 9936"/>
                    <a:gd name="connsiteX29" fmla="*/ 2544 w 10000"/>
                    <a:gd name="connsiteY29" fmla="*/ 1720 h 9936"/>
                    <a:gd name="connsiteX30" fmla="*/ 2544 w 10000"/>
                    <a:gd name="connsiteY30" fmla="*/ 2166 h 9936"/>
                    <a:gd name="connsiteX31" fmla="*/ 2544 w 10000"/>
                    <a:gd name="connsiteY31" fmla="*/ 2166 h 9936"/>
                    <a:gd name="connsiteX32" fmla="*/ 2632 w 10000"/>
                    <a:gd name="connsiteY32" fmla="*/ 2739 h 9936"/>
                    <a:gd name="connsiteX33" fmla="*/ 2982 w 10000"/>
                    <a:gd name="connsiteY33" fmla="*/ 3312 h 9936"/>
                    <a:gd name="connsiteX34" fmla="*/ 3421 w 10000"/>
                    <a:gd name="connsiteY34" fmla="*/ 3822 h 9936"/>
                    <a:gd name="connsiteX35" fmla="*/ 3860 w 10000"/>
                    <a:gd name="connsiteY35" fmla="*/ 4203 h 9936"/>
                    <a:gd name="connsiteX36" fmla="*/ 3860 w 10000"/>
                    <a:gd name="connsiteY36" fmla="*/ 4203 h 9936"/>
                    <a:gd name="connsiteX37" fmla="*/ 2895 w 10000"/>
                    <a:gd name="connsiteY37" fmla="*/ 4522 h 9936"/>
                    <a:gd name="connsiteX38" fmla="*/ 2105 w 10000"/>
                    <a:gd name="connsiteY38" fmla="*/ 4905 h 9936"/>
                    <a:gd name="connsiteX39" fmla="*/ 1404 w 10000"/>
                    <a:gd name="connsiteY39" fmla="*/ 5478 h 9936"/>
                    <a:gd name="connsiteX40" fmla="*/ 877 w 10000"/>
                    <a:gd name="connsiteY40" fmla="*/ 6241 h 9936"/>
                    <a:gd name="connsiteX41" fmla="*/ 439 w 10000"/>
                    <a:gd name="connsiteY41" fmla="*/ 7005 h 9936"/>
                    <a:gd name="connsiteX42" fmla="*/ 175 w 10000"/>
                    <a:gd name="connsiteY42" fmla="*/ 7898 h 9936"/>
                    <a:gd name="connsiteX43" fmla="*/ 0 w 10000"/>
                    <a:gd name="connsiteY43" fmla="*/ 8854 h 9936"/>
                    <a:gd name="connsiteX44" fmla="*/ 0 w 10000"/>
                    <a:gd name="connsiteY44" fmla="*/ 9936 h 9936"/>
                    <a:gd name="connsiteX0" fmla="*/ 9912 w 9912"/>
                    <a:gd name="connsiteY0" fmla="*/ 7949 h 10000"/>
                    <a:gd name="connsiteX1" fmla="*/ 9561 w 9912"/>
                    <a:gd name="connsiteY1" fmla="*/ 7050 h 10000"/>
                    <a:gd name="connsiteX2" fmla="*/ 9211 w 9912"/>
                    <a:gd name="connsiteY2" fmla="*/ 6281 h 10000"/>
                    <a:gd name="connsiteX3" fmla="*/ 8684 w 9912"/>
                    <a:gd name="connsiteY3" fmla="*/ 5513 h 10000"/>
                    <a:gd name="connsiteX4" fmla="*/ 7982 w 9912"/>
                    <a:gd name="connsiteY4" fmla="*/ 4937 h 10000"/>
                    <a:gd name="connsiteX5" fmla="*/ 7105 w 9912"/>
                    <a:gd name="connsiteY5" fmla="*/ 4551 h 10000"/>
                    <a:gd name="connsiteX6" fmla="*/ 6140 w 9912"/>
                    <a:gd name="connsiteY6" fmla="*/ 4230 h 10000"/>
                    <a:gd name="connsiteX7" fmla="*/ 6140 w 9912"/>
                    <a:gd name="connsiteY7" fmla="*/ 4230 h 10000"/>
                    <a:gd name="connsiteX8" fmla="*/ 6667 w 9912"/>
                    <a:gd name="connsiteY8" fmla="*/ 3847 h 10000"/>
                    <a:gd name="connsiteX9" fmla="*/ 7018 w 9912"/>
                    <a:gd name="connsiteY9" fmla="*/ 3333 h 10000"/>
                    <a:gd name="connsiteX10" fmla="*/ 7281 w 9912"/>
                    <a:gd name="connsiteY10" fmla="*/ 2757 h 10000"/>
                    <a:gd name="connsiteX11" fmla="*/ 7544 w 9912"/>
                    <a:gd name="connsiteY11" fmla="*/ 2180 h 10000"/>
                    <a:gd name="connsiteX12" fmla="*/ 7544 w 9912"/>
                    <a:gd name="connsiteY12" fmla="*/ 2180 h 10000"/>
                    <a:gd name="connsiteX13" fmla="*/ 7456 w 9912"/>
                    <a:gd name="connsiteY13" fmla="*/ 1731 h 10000"/>
                    <a:gd name="connsiteX14" fmla="*/ 7281 w 9912"/>
                    <a:gd name="connsiteY14" fmla="*/ 1282 h 10000"/>
                    <a:gd name="connsiteX15" fmla="*/ 7105 w 9912"/>
                    <a:gd name="connsiteY15" fmla="*/ 898 h 10000"/>
                    <a:gd name="connsiteX16" fmla="*/ 6754 w 9912"/>
                    <a:gd name="connsiteY16" fmla="*/ 578 h 10000"/>
                    <a:gd name="connsiteX17" fmla="*/ 6404 w 9912"/>
                    <a:gd name="connsiteY17" fmla="*/ 321 h 10000"/>
                    <a:gd name="connsiteX18" fmla="*/ 5965 w 9912"/>
                    <a:gd name="connsiteY18" fmla="*/ 192 h 10000"/>
                    <a:gd name="connsiteX19" fmla="*/ 5526 w 9912"/>
                    <a:gd name="connsiteY19" fmla="*/ 0 h 10000"/>
                    <a:gd name="connsiteX20" fmla="*/ 5000 w 9912"/>
                    <a:gd name="connsiteY20" fmla="*/ 0 h 10000"/>
                    <a:gd name="connsiteX21" fmla="*/ 5000 w 9912"/>
                    <a:gd name="connsiteY21" fmla="*/ 0 h 10000"/>
                    <a:gd name="connsiteX22" fmla="*/ 4561 w 9912"/>
                    <a:gd name="connsiteY22" fmla="*/ 0 h 10000"/>
                    <a:gd name="connsiteX23" fmla="*/ 4123 w 9912"/>
                    <a:gd name="connsiteY23" fmla="*/ 192 h 10000"/>
                    <a:gd name="connsiteX24" fmla="*/ 3684 w 9912"/>
                    <a:gd name="connsiteY24" fmla="*/ 321 h 10000"/>
                    <a:gd name="connsiteX25" fmla="*/ 3246 w 9912"/>
                    <a:gd name="connsiteY25" fmla="*/ 578 h 10000"/>
                    <a:gd name="connsiteX26" fmla="*/ 2982 w 9912"/>
                    <a:gd name="connsiteY26" fmla="*/ 898 h 10000"/>
                    <a:gd name="connsiteX27" fmla="*/ 2719 w 9912"/>
                    <a:gd name="connsiteY27" fmla="*/ 1282 h 10000"/>
                    <a:gd name="connsiteX28" fmla="*/ 2544 w 9912"/>
                    <a:gd name="connsiteY28" fmla="*/ 1731 h 10000"/>
                    <a:gd name="connsiteX29" fmla="*/ 2544 w 9912"/>
                    <a:gd name="connsiteY29" fmla="*/ 2180 h 10000"/>
                    <a:gd name="connsiteX30" fmla="*/ 2544 w 9912"/>
                    <a:gd name="connsiteY30" fmla="*/ 2180 h 10000"/>
                    <a:gd name="connsiteX31" fmla="*/ 2632 w 9912"/>
                    <a:gd name="connsiteY31" fmla="*/ 2757 h 10000"/>
                    <a:gd name="connsiteX32" fmla="*/ 2982 w 9912"/>
                    <a:gd name="connsiteY32" fmla="*/ 3333 h 10000"/>
                    <a:gd name="connsiteX33" fmla="*/ 3421 w 9912"/>
                    <a:gd name="connsiteY33" fmla="*/ 3847 h 10000"/>
                    <a:gd name="connsiteX34" fmla="*/ 3860 w 9912"/>
                    <a:gd name="connsiteY34" fmla="*/ 4230 h 10000"/>
                    <a:gd name="connsiteX35" fmla="*/ 3860 w 9912"/>
                    <a:gd name="connsiteY35" fmla="*/ 4230 h 10000"/>
                    <a:gd name="connsiteX36" fmla="*/ 2895 w 9912"/>
                    <a:gd name="connsiteY36" fmla="*/ 4551 h 10000"/>
                    <a:gd name="connsiteX37" fmla="*/ 2105 w 9912"/>
                    <a:gd name="connsiteY37" fmla="*/ 4937 h 10000"/>
                    <a:gd name="connsiteX38" fmla="*/ 1404 w 9912"/>
                    <a:gd name="connsiteY38" fmla="*/ 5513 h 10000"/>
                    <a:gd name="connsiteX39" fmla="*/ 877 w 9912"/>
                    <a:gd name="connsiteY39" fmla="*/ 6281 h 10000"/>
                    <a:gd name="connsiteX40" fmla="*/ 439 w 9912"/>
                    <a:gd name="connsiteY40" fmla="*/ 7050 h 10000"/>
                    <a:gd name="connsiteX41" fmla="*/ 175 w 9912"/>
                    <a:gd name="connsiteY41" fmla="*/ 7949 h 10000"/>
                    <a:gd name="connsiteX42" fmla="*/ 0 w 9912"/>
                    <a:gd name="connsiteY42" fmla="*/ 8911 h 10000"/>
                    <a:gd name="connsiteX43" fmla="*/ 0 w 9912"/>
                    <a:gd name="connsiteY43" fmla="*/ 10000 h 10000"/>
                    <a:gd name="connsiteX0" fmla="*/ 9646 w 9646"/>
                    <a:gd name="connsiteY0" fmla="*/ 7050 h 10000"/>
                    <a:gd name="connsiteX1" fmla="*/ 9293 w 9646"/>
                    <a:gd name="connsiteY1" fmla="*/ 6281 h 10000"/>
                    <a:gd name="connsiteX2" fmla="*/ 8761 w 9646"/>
                    <a:gd name="connsiteY2" fmla="*/ 5513 h 10000"/>
                    <a:gd name="connsiteX3" fmla="*/ 8053 w 9646"/>
                    <a:gd name="connsiteY3" fmla="*/ 4937 h 10000"/>
                    <a:gd name="connsiteX4" fmla="*/ 7168 w 9646"/>
                    <a:gd name="connsiteY4" fmla="*/ 4551 h 10000"/>
                    <a:gd name="connsiteX5" fmla="*/ 6195 w 9646"/>
                    <a:gd name="connsiteY5" fmla="*/ 4230 h 10000"/>
                    <a:gd name="connsiteX6" fmla="*/ 6195 w 9646"/>
                    <a:gd name="connsiteY6" fmla="*/ 4230 h 10000"/>
                    <a:gd name="connsiteX7" fmla="*/ 6726 w 9646"/>
                    <a:gd name="connsiteY7" fmla="*/ 3847 h 10000"/>
                    <a:gd name="connsiteX8" fmla="*/ 7080 w 9646"/>
                    <a:gd name="connsiteY8" fmla="*/ 3333 h 10000"/>
                    <a:gd name="connsiteX9" fmla="*/ 7346 w 9646"/>
                    <a:gd name="connsiteY9" fmla="*/ 2757 h 10000"/>
                    <a:gd name="connsiteX10" fmla="*/ 7611 w 9646"/>
                    <a:gd name="connsiteY10" fmla="*/ 2180 h 10000"/>
                    <a:gd name="connsiteX11" fmla="*/ 7611 w 9646"/>
                    <a:gd name="connsiteY11" fmla="*/ 2180 h 10000"/>
                    <a:gd name="connsiteX12" fmla="*/ 7522 w 9646"/>
                    <a:gd name="connsiteY12" fmla="*/ 1731 h 10000"/>
                    <a:gd name="connsiteX13" fmla="*/ 7346 w 9646"/>
                    <a:gd name="connsiteY13" fmla="*/ 1282 h 10000"/>
                    <a:gd name="connsiteX14" fmla="*/ 7168 w 9646"/>
                    <a:gd name="connsiteY14" fmla="*/ 898 h 10000"/>
                    <a:gd name="connsiteX15" fmla="*/ 6814 w 9646"/>
                    <a:gd name="connsiteY15" fmla="*/ 578 h 10000"/>
                    <a:gd name="connsiteX16" fmla="*/ 6461 w 9646"/>
                    <a:gd name="connsiteY16" fmla="*/ 321 h 10000"/>
                    <a:gd name="connsiteX17" fmla="*/ 6018 w 9646"/>
                    <a:gd name="connsiteY17" fmla="*/ 192 h 10000"/>
                    <a:gd name="connsiteX18" fmla="*/ 5575 w 9646"/>
                    <a:gd name="connsiteY18" fmla="*/ 0 h 10000"/>
                    <a:gd name="connsiteX19" fmla="*/ 5044 w 9646"/>
                    <a:gd name="connsiteY19" fmla="*/ 0 h 10000"/>
                    <a:gd name="connsiteX20" fmla="*/ 5044 w 9646"/>
                    <a:gd name="connsiteY20" fmla="*/ 0 h 10000"/>
                    <a:gd name="connsiteX21" fmla="*/ 4601 w 9646"/>
                    <a:gd name="connsiteY21" fmla="*/ 0 h 10000"/>
                    <a:gd name="connsiteX22" fmla="*/ 4160 w 9646"/>
                    <a:gd name="connsiteY22" fmla="*/ 192 h 10000"/>
                    <a:gd name="connsiteX23" fmla="*/ 3717 w 9646"/>
                    <a:gd name="connsiteY23" fmla="*/ 321 h 10000"/>
                    <a:gd name="connsiteX24" fmla="*/ 3275 w 9646"/>
                    <a:gd name="connsiteY24" fmla="*/ 578 h 10000"/>
                    <a:gd name="connsiteX25" fmla="*/ 3008 w 9646"/>
                    <a:gd name="connsiteY25" fmla="*/ 898 h 10000"/>
                    <a:gd name="connsiteX26" fmla="*/ 2743 w 9646"/>
                    <a:gd name="connsiteY26" fmla="*/ 1282 h 10000"/>
                    <a:gd name="connsiteX27" fmla="*/ 2567 w 9646"/>
                    <a:gd name="connsiteY27" fmla="*/ 1731 h 10000"/>
                    <a:gd name="connsiteX28" fmla="*/ 2567 w 9646"/>
                    <a:gd name="connsiteY28" fmla="*/ 2180 h 10000"/>
                    <a:gd name="connsiteX29" fmla="*/ 2567 w 9646"/>
                    <a:gd name="connsiteY29" fmla="*/ 2180 h 10000"/>
                    <a:gd name="connsiteX30" fmla="*/ 2655 w 9646"/>
                    <a:gd name="connsiteY30" fmla="*/ 2757 h 10000"/>
                    <a:gd name="connsiteX31" fmla="*/ 3008 w 9646"/>
                    <a:gd name="connsiteY31" fmla="*/ 3333 h 10000"/>
                    <a:gd name="connsiteX32" fmla="*/ 3451 w 9646"/>
                    <a:gd name="connsiteY32" fmla="*/ 3847 h 10000"/>
                    <a:gd name="connsiteX33" fmla="*/ 3894 w 9646"/>
                    <a:gd name="connsiteY33" fmla="*/ 4230 h 10000"/>
                    <a:gd name="connsiteX34" fmla="*/ 3894 w 9646"/>
                    <a:gd name="connsiteY34" fmla="*/ 4230 h 10000"/>
                    <a:gd name="connsiteX35" fmla="*/ 2921 w 9646"/>
                    <a:gd name="connsiteY35" fmla="*/ 4551 h 10000"/>
                    <a:gd name="connsiteX36" fmla="*/ 2124 w 9646"/>
                    <a:gd name="connsiteY36" fmla="*/ 4937 h 10000"/>
                    <a:gd name="connsiteX37" fmla="*/ 1416 w 9646"/>
                    <a:gd name="connsiteY37" fmla="*/ 5513 h 10000"/>
                    <a:gd name="connsiteX38" fmla="*/ 885 w 9646"/>
                    <a:gd name="connsiteY38" fmla="*/ 6281 h 10000"/>
                    <a:gd name="connsiteX39" fmla="*/ 443 w 9646"/>
                    <a:gd name="connsiteY39" fmla="*/ 7050 h 10000"/>
                    <a:gd name="connsiteX40" fmla="*/ 177 w 9646"/>
                    <a:gd name="connsiteY40" fmla="*/ 7949 h 10000"/>
                    <a:gd name="connsiteX41" fmla="*/ 0 w 9646"/>
                    <a:gd name="connsiteY41" fmla="*/ 8911 h 10000"/>
                    <a:gd name="connsiteX42" fmla="*/ 0 w 9646"/>
                    <a:gd name="connsiteY42" fmla="*/ 10000 h 10000"/>
                    <a:gd name="connsiteX0" fmla="*/ 9634 w 9634"/>
                    <a:gd name="connsiteY0" fmla="*/ 6281 h 10000"/>
                    <a:gd name="connsiteX1" fmla="*/ 9083 w 9634"/>
                    <a:gd name="connsiteY1" fmla="*/ 5513 h 10000"/>
                    <a:gd name="connsiteX2" fmla="*/ 8349 w 9634"/>
                    <a:gd name="connsiteY2" fmla="*/ 4937 h 10000"/>
                    <a:gd name="connsiteX3" fmla="*/ 7431 w 9634"/>
                    <a:gd name="connsiteY3" fmla="*/ 4551 h 10000"/>
                    <a:gd name="connsiteX4" fmla="*/ 6422 w 9634"/>
                    <a:gd name="connsiteY4" fmla="*/ 4230 h 10000"/>
                    <a:gd name="connsiteX5" fmla="*/ 6422 w 9634"/>
                    <a:gd name="connsiteY5" fmla="*/ 4230 h 10000"/>
                    <a:gd name="connsiteX6" fmla="*/ 6973 w 9634"/>
                    <a:gd name="connsiteY6" fmla="*/ 3847 h 10000"/>
                    <a:gd name="connsiteX7" fmla="*/ 7340 w 9634"/>
                    <a:gd name="connsiteY7" fmla="*/ 3333 h 10000"/>
                    <a:gd name="connsiteX8" fmla="*/ 7616 w 9634"/>
                    <a:gd name="connsiteY8" fmla="*/ 2757 h 10000"/>
                    <a:gd name="connsiteX9" fmla="*/ 7890 w 9634"/>
                    <a:gd name="connsiteY9" fmla="*/ 2180 h 10000"/>
                    <a:gd name="connsiteX10" fmla="*/ 7890 w 9634"/>
                    <a:gd name="connsiteY10" fmla="*/ 2180 h 10000"/>
                    <a:gd name="connsiteX11" fmla="*/ 7798 w 9634"/>
                    <a:gd name="connsiteY11" fmla="*/ 1731 h 10000"/>
                    <a:gd name="connsiteX12" fmla="*/ 7616 w 9634"/>
                    <a:gd name="connsiteY12" fmla="*/ 1282 h 10000"/>
                    <a:gd name="connsiteX13" fmla="*/ 7431 w 9634"/>
                    <a:gd name="connsiteY13" fmla="*/ 898 h 10000"/>
                    <a:gd name="connsiteX14" fmla="*/ 7064 w 9634"/>
                    <a:gd name="connsiteY14" fmla="*/ 578 h 10000"/>
                    <a:gd name="connsiteX15" fmla="*/ 6698 w 9634"/>
                    <a:gd name="connsiteY15" fmla="*/ 321 h 10000"/>
                    <a:gd name="connsiteX16" fmla="*/ 6239 w 9634"/>
                    <a:gd name="connsiteY16" fmla="*/ 192 h 10000"/>
                    <a:gd name="connsiteX17" fmla="*/ 5780 w 9634"/>
                    <a:gd name="connsiteY17" fmla="*/ 0 h 10000"/>
                    <a:gd name="connsiteX18" fmla="*/ 5229 w 9634"/>
                    <a:gd name="connsiteY18" fmla="*/ 0 h 10000"/>
                    <a:gd name="connsiteX19" fmla="*/ 5229 w 9634"/>
                    <a:gd name="connsiteY19" fmla="*/ 0 h 10000"/>
                    <a:gd name="connsiteX20" fmla="*/ 4770 w 9634"/>
                    <a:gd name="connsiteY20" fmla="*/ 0 h 10000"/>
                    <a:gd name="connsiteX21" fmla="*/ 4313 w 9634"/>
                    <a:gd name="connsiteY21" fmla="*/ 192 h 10000"/>
                    <a:gd name="connsiteX22" fmla="*/ 3853 w 9634"/>
                    <a:gd name="connsiteY22" fmla="*/ 321 h 10000"/>
                    <a:gd name="connsiteX23" fmla="*/ 3395 w 9634"/>
                    <a:gd name="connsiteY23" fmla="*/ 578 h 10000"/>
                    <a:gd name="connsiteX24" fmla="*/ 3118 w 9634"/>
                    <a:gd name="connsiteY24" fmla="*/ 898 h 10000"/>
                    <a:gd name="connsiteX25" fmla="*/ 2844 w 9634"/>
                    <a:gd name="connsiteY25" fmla="*/ 1282 h 10000"/>
                    <a:gd name="connsiteX26" fmla="*/ 2661 w 9634"/>
                    <a:gd name="connsiteY26" fmla="*/ 1731 h 10000"/>
                    <a:gd name="connsiteX27" fmla="*/ 2661 w 9634"/>
                    <a:gd name="connsiteY27" fmla="*/ 2180 h 10000"/>
                    <a:gd name="connsiteX28" fmla="*/ 2661 w 9634"/>
                    <a:gd name="connsiteY28" fmla="*/ 2180 h 10000"/>
                    <a:gd name="connsiteX29" fmla="*/ 2752 w 9634"/>
                    <a:gd name="connsiteY29" fmla="*/ 2757 h 10000"/>
                    <a:gd name="connsiteX30" fmla="*/ 3118 w 9634"/>
                    <a:gd name="connsiteY30" fmla="*/ 3333 h 10000"/>
                    <a:gd name="connsiteX31" fmla="*/ 3578 w 9634"/>
                    <a:gd name="connsiteY31" fmla="*/ 3847 h 10000"/>
                    <a:gd name="connsiteX32" fmla="*/ 4037 w 9634"/>
                    <a:gd name="connsiteY32" fmla="*/ 4230 h 10000"/>
                    <a:gd name="connsiteX33" fmla="*/ 4037 w 9634"/>
                    <a:gd name="connsiteY33" fmla="*/ 4230 h 10000"/>
                    <a:gd name="connsiteX34" fmla="*/ 3028 w 9634"/>
                    <a:gd name="connsiteY34" fmla="*/ 4551 h 10000"/>
                    <a:gd name="connsiteX35" fmla="*/ 2202 w 9634"/>
                    <a:gd name="connsiteY35" fmla="*/ 4937 h 10000"/>
                    <a:gd name="connsiteX36" fmla="*/ 1468 w 9634"/>
                    <a:gd name="connsiteY36" fmla="*/ 5513 h 10000"/>
                    <a:gd name="connsiteX37" fmla="*/ 917 w 9634"/>
                    <a:gd name="connsiteY37" fmla="*/ 6281 h 10000"/>
                    <a:gd name="connsiteX38" fmla="*/ 459 w 9634"/>
                    <a:gd name="connsiteY38" fmla="*/ 7050 h 10000"/>
                    <a:gd name="connsiteX39" fmla="*/ 183 w 9634"/>
                    <a:gd name="connsiteY39" fmla="*/ 7949 h 10000"/>
                    <a:gd name="connsiteX40" fmla="*/ 0 w 9634"/>
                    <a:gd name="connsiteY40" fmla="*/ 8911 h 10000"/>
                    <a:gd name="connsiteX41" fmla="*/ 0 w 9634"/>
                    <a:gd name="connsiteY41" fmla="*/ 1000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9634" h="10000">
                      <a:moveTo>
                        <a:pt x="9634" y="6281"/>
                      </a:moveTo>
                      <a:lnTo>
                        <a:pt x="9083" y="5513"/>
                      </a:lnTo>
                      <a:lnTo>
                        <a:pt x="8349" y="4937"/>
                      </a:lnTo>
                      <a:lnTo>
                        <a:pt x="7431" y="4551"/>
                      </a:lnTo>
                      <a:lnTo>
                        <a:pt x="6422" y="4230"/>
                      </a:lnTo>
                      <a:lnTo>
                        <a:pt x="6422" y="4230"/>
                      </a:lnTo>
                      <a:lnTo>
                        <a:pt x="6973" y="3847"/>
                      </a:lnTo>
                      <a:lnTo>
                        <a:pt x="7340" y="3333"/>
                      </a:lnTo>
                      <a:cubicBezTo>
                        <a:pt x="7432" y="3142"/>
                        <a:pt x="7523" y="2948"/>
                        <a:pt x="7616" y="2757"/>
                      </a:cubicBezTo>
                      <a:lnTo>
                        <a:pt x="7890" y="2180"/>
                      </a:lnTo>
                      <a:lnTo>
                        <a:pt x="7890" y="2180"/>
                      </a:lnTo>
                      <a:cubicBezTo>
                        <a:pt x="7860" y="2030"/>
                        <a:pt x="7828" y="1881"/>
                        <a:pt x="7798" y="1731"/>
                      </a:cubicBezTo>
                      <a:cubicBezTo>
                        <a:pt x="7738" y="1581"/>
                        <a:pt x="7676" y="1431"/>
                        <a:pt x="7616" y="1282"/>
                      </a:cubicBezTo>
                      <a:cubicBezTo>
                        <a:pt x="7553" y="1154"/>
                        <a:pt x="7493" y="1026"/>
                        <a:pt x="7431" y="898"/>
                      </a:cubicBezTo>
                      <a:lnTo>
                        <a:pt x="7064" y="578"/>
                      </a:lnTo>
                      <a:lnTo>
                        <a:pt x="6698" y="321"/>
                      </a:lnTo>
                      <a:lnTo>
                        <a:pt x="6239" y="192"/>
                      </a:lnTo>
                      <a:lnTo>
                        <a:pt x="5780" y="0"/>
                      </a:lnTo>
                      <a:lnTo>
                        <a:pt x="5229" y="0"/>
                      </a:lnTo>
                      <a:lnTo>
                        <a:pt x="5229" y="0"/>
                      </a:lnTo>
                      <a:lnTo>
                        <a:pt x="4770" y="0"/>
                      </a:lnTo>
                      <a:lnTo>
                        <a:pt x="4313" y="192"/>
                      </a:lnTo>
                      <a:lnTo>
                        <a:pt x="3853" y="321"/>
                      </a:lnTo>
                      <a:lnTo>
                        <a:pt x="3395" y="578"/>
                      </a:lnTo>
                      <a:lnTo>
                        <a:pt x="3118" y="898"/>
                      </a:lnTo>
                      <a:lnTo>
                        <a:pt x="2844" y="1282"/>
                      </a:lnTo>
                      <a:cubicBezTo>
                        <a:pt x="2784" y="1431"/>
                        <a:pt x="2721" y="1581"/>
                        <a:pt x="2661" y="1731"/>
                      </a:cubicBezTo>
                      <a:lnTo>
                        <a:pt x="2661" y="2180"/>
                      </a:lnTo>
                      <a:lnTo>
                        <a:pt x="2661" y="2180"/>
                      </a:lnTo>
                      <a:cubicBezTo>
                        <a:pt x="2691" y="2372"/>
                        <a:pt x="2722" y="2564"/>
                        <a:pt x="2752" y="2757"/>
                      </a:cubicBezTo>
                      <a:lnTo>
                        <a:pt x="3118" y="3333"/>
                      </a:lnTo>
                      <a:lnTo>
                        <a:pt x="3578" y="3847"/>
                      </a:lnTo>
                      <a:lnTo>
                        <a:pt x="4037" y="4230"/>
                      </a:lnTo>
                      <a:lnTo>
                        <a:pt x="4037" y="4230"/>
                      </a:lnTo>
                      <a:lnTo>
                        <a:pt x="3028" y="4551"/>
                      </a:lnTo>
                      <a:lnTo>
                        <a:pt x="2202" y="4937"/>
                      </a:lnTo>
                      <a:lnTo>
                        <a:pt x="1468" y="5513"/>
                      </a:lnTo>
                      <a:lnTo>
                        <a:pt x="917" y="6281"/>
                      </a:lnTo>
                      <a:lnTo>
                        <a:pt x="459" y="7050"/>
                      </a:lnTo>
                      <a:lnTo>
                        <a:pt x="183" y="7949"/>
                      </a:lnTo>
                      <a:lnTo>
                        <a:pt x="0" y="8911"/>
                      </a:lnTo>
                      <a:lnTo>
                        <a:pt x="0" y="10000"/>
                      </a:lnTo>
                    </a:path>
                  </a:pathLst>
                </a:custGeom>
                <a:noFill/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>
                    <a:defRPr/>
                  </a:pPr>
                  <a:endParaRPr lang="en-US" sz="1800">
                    <a:solidFill>
                      <a:srgbClr val="263147"/>
                    </a:solidFill>
                    <a:cs typeface="Arial" charset="0"/>
                  </a:endParaRPr>
                </a:p>
              </p:txBody>
            </p:sp>
            <p:cxnSp>
              <p:nvCxnSpPr>
                <p:cNvPr id="25" name="Connecteur droit 325"/>
                <p:cNvCxnSpPr/>
                <p:nvPr/>
              </p:nvCxnSpPr>
              <p:spPr>
                <a:xfrm flipV="1">
                  <a:off x="4476193" y="4957472"/>
                  <a:ext cx="87297" cy="4115"/>
                </a:xfrm>
                <a:prstGeom prst="line">
                  <a:avLst/>
                </a:prstGeom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9" name="Groupe 32"/>
            <p:cNvGrpSpPr>
              <a:grpSpLocks/>
            </p:cNvGrpSpPr>
            <p:nvPr userDrawn="1"/>
          </p:nvGrpSpPr>
          <p:grpSpPr bwMode="auto">
            <a:xfrm>
              <a:off x="8691235" y="2740981"/>
              <a:ext cx="389203" cy="362534"/>
              <a:chOff x="4999013" y="3508177"/>
              <a:chExt cx="228601" cy="217487"/>
            </a:xfrm>
          </p:grpSpPr>
          <p:sp>
            <p:nvSpPr>
              <p:cNvPr id="16" name="Freeform 213"/>
              <p:cNvSpPr>
                <a:spLocks/>
              </p:cNvSpPr>
              <p:nvPr/>
            </p:nvSpPr>
            <p:spPr bwMode="auto">
              <a:xfrm>
                <a:off x="4999361" y="3508591"/>
                <a:ext cx="85862" cy="83804"/>
              </a:xfrm>
              <a:custGeom>
                <a:avLst/>
                <a:gdLst/>
                <a:ahLst/>
                <a:cxnLst>
                  <a:cxn ang="0">
                    <a:pos x="54" y="42"/>
                  </a:cxn>
                  <a:cxn ang="0">
                    <a:pos x="54" y="42"/>
                  </a:cxn>
                  <a:cxn ang="0">
                    <a:pos x="54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2" y="53"/>
                  </a:cxn>
                  <a:cxn ang="0">
                    <a:pos x="12" y="53"/>
                  </a:cxn>
                  <a:cxn ang="0">
                    <a:pos x="7" y="53"/>
                  </a:cxn>
                  <a:cxn ang="0">
                    <a:pos x="3" y="51"/>
                  </a:cxn>
                  <a:cxn ang="0">
                    <a:pos x="0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7"/>
                  </a:cxn>
                  <a:cxn ang="0">
                    <a:pos x="3" y="3"/>
                  </a:cxn>
                  <a:cxn ang="0">
                    <a:pos x="7" y="0"/>
                  </a:cxn>
                  <a:cxn ang="0">
                    <a:pos x="12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4" y="7"/>
                  </a:cxn>
                  <a:cxn ang="0">
                    <a:pos x="54" y="12"/>
                  </a:cxn>
                  <a:cxn ang="0">
                    <a:pos x="54" y="42"/>
                  </a:cxn>
                </a:cxnLst>
                <a:rect l="0" t="0" r="r" b="b"/>
                <a:pathLst>
                  <a:path w="54" h="53">
                    <a:moveTo>
                      <a:pt x="54" y="42"/>
                    </a:moveTo>
                    <a:lnTo>
                      <a:pt x="54" y="42"/>
                    </a:lnTo>
                    <a:lnTo>
                      <a:pt x="54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2" y="53"/>
                    </a:lnTo>
                    <a:lnTo>
                      <a:pt x="12" y="53"/>
                    </a:lnTo>
                    <a:lnTo>
                      <a:pt x="7" y="53"/>
                    </a:lnTo>
                    <a:lnTo>
                      <a:pt x="3" y="51"/>
                    </a:lnTo>
                    <a:lnTo>
                      <a:pt x="0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7" y="0"/>
                    </a:lnTo>
                    <a:lnTo>
                      <a:pt x="1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4" y="7"/>
                    </a:lnTo>
                    <a:lnTo>
                      <a:pt x="54" y="12"/>
                    </a:lnTo>
                    <a:lnTo>
                      <a:pt x="54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7" name="Freeform 214"/>
              <p:cNvSpPr>
                <a:spLocks/>
              </p:cNvSpPr>
              <p:nvPr/>
            </p:nvSpPr>
            <p:spPr bwMode="auto">
              <a:xfrm>
                <a:off x="5139770" y="3508591"/>
                <a:ext cx="87881" cy="83804"/>
              </a:xfrm>
              <a:custGeom>
                <a:avLst/>
                <a:gdLst/>
                <a:ahLst/>
                <a:cxnLst>
                  <a:cxn ang="0">
                    <a:pos x="55" y="42"/>
                  </a:cxn>
                  <a:cxn ang="0">
                    <a:pos x="55" y="42"/>
                  </a:cxn>
                  <a:cxn ang="0">
                    <a:pos x="53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1" y="53"/>
                  </a:cxn>
                  <a:cxn ang="0">
                    <a:pos x="11" y="53"/>
                  </a:cxn>
                  <a:cxn ang="0">
                    <a:pos x="8" y="53"/>
                  </a:cxn>
                  <a:cxn ang="0">
                    <a:pos x="4" y="51"/>
                  </a:cxn>
                  <a:cxn ang="0">
                    <a:pos x="1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4" y="3"/>
                  </a:cxn>
                  <a:cxn ang="0">
                    <a:pos x="8" y="0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3" y="7"/>
                  </a:cxn>
                  <a:cxn ang="0">
                    <a:pos x="55" y="12"/>
                  </a:cxn>
                  <a:cxn ang="0">
                    <a:pos x="55" y="42"/>
                  </a:cxn>
                </a:cxnLst>
                <a:rect l="0" t="0" r="r" b="b"/>
                <a:pathLst>
                  <a:path w="55" h="53">
                    <a:moveTo>
                      <a:pt x="55" y="42"/>
                    </a:moveTo>
                    <a:lnTo>
                      <a:pt x="55" y="42"/>
                    </a:lnTo>
                    <a:lnTo>
                      <a:pt x="53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1" y="53"/>
                    </a:lnTo>
                    <a:lnTo>
                      <a:pt x="11" y="53"/>
                    </a:lnTo>
                    <a:lnTo>
                      <a:pt x="8" y="53"/>
                    </a:lnTo>
                    <a:lnTo>
                      <a:pt x="4" y="51"/>
                    </a:lnTo>
                    <a:lnTo>
                      <a:pt x="1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4" y="3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3" y="7"/>
                    </a:lnTo>
                    <a:lnTo>
                      <a:pt x="55" y="12"/>
                    </a:lnTo>
                    <a:lnTo>
                      <a:pt x="55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8" name="Freeform 215"/>
              <p:cNvSpPr>
                <a:spLocks/>
              </p:cNvSpPr>
              <p:nvPr/>
            </p:nvSpPr>
            <p:spPr bwMode="auto">
              <a:xfrm>
                <a:off x="5071081" y="3640011"/>
                <a:ext cx="84851" cy="85709"/>
              </a:xfrm>
              <a:custGeom>
                <a:avLst/>
                <a:gdLst/>
                <a:ahLst/>
                <a:cxnLst>
                  <a:cxn ang="0">
                    <a:pos x="36" y="54"/>
                  </a:cxn>
                  <a:cxn ang="0">
                    <a:pos x="29" y="54"/>
                  </a:cxn>
                  <a:cxn ang="0">
                    <a:pos x="11" y="54"/>
                  </a:cxn>
                  <a:cxn ang="0">
                    <a:pos x="11" y="54"/>
                  </a:cxn>
                  <a:cxn ang="0">
                    <a:pos x="7" y="53"/>
                  </a:cxn>
                  <a:cxn ang="0">
                    <a:pos x="3" y="50"/>
                  </a:cxn>
                  <a:cxn ang="0">
                    <a:pos x="1" y="46"/>
                  </a:cxn>
                  <a:cxn ang="0">
                    <a:pos x="0" y="43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3" y="3"/>
                  </a:cxn>
                  <a:cxn ang="0">
                    <a:pos x="7" y="1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1"/>
                  </a:cxn>
                  <a:cxn ang="0">
                    <a:pos x="50" y="3"/>
                  </a:cxn>
                  <a:cxn ang="0">
                    <a:pos x="53" y="7"/>
                  </a:cxn>
                  <a:cxn ang="0">
                    <a:pos x="54" y="12"/>
                  </a:cxn>
                  <a:cxn ang="0">
                    <a:pos x="54" y="43"/>
                  </a:cxn>
                </a:cxnLst>
                <a:rect l="0" t="0" r="r" b="b"/>
                <a:pathLst>
                  <a:path w="54" h="54">
                    <a:moveTo>
                      <a:pt x="36" y="54"/>
                    </a:moveTo>
                    <a:lnTo>
                      <a:pt x="29" y="54"/>
                    </a:lnTo>
                    <a:lnTo>
                      <a:pt x="11" y="54"/>
                    </a:lnTo>
                    <a:lnTo>
                      <a:pt x="11" y="54"/>
                    </a:lnTo>
                    <a:lnTo>
                      <a:pt x="7" y="53"/>
                    </a:lnTo>
                    <a:lnTo>
                      <a:pt x="3" y="50"/>
                    </a:lnTo>
                    <a:lnTo>
                      <a:pt x="1" y="46"/>
                    </a:lnTo>
                    <a:lnTo>
                      <a:pt x="0" y="43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3" y="3"/>
                    </a:lnTo>
                    <a:lnTo>
                      <a:pt x="7" y="1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1"/>
                    </a:lnTo>
                    <a:lnTo>
                      <a:pt x="50" y="3"/>
                    </a:lnTo>
                    <a:lnTo>
                      <a:pt x="53" y="7"/>
                    </a:lnTo>
                    <a:lnTo>
                      <a:pt x="54" y="12"/>
                    </a:lnTo>
                    <a:lnTo>
                      <a:pt x="54" y="43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9" name="Freeform 216"/>
              <p:cNvSpPr>
                <a:spLocks/>
              </p:cNvSpPr>
              <p:nvPr/>
            </p:nvSpPr>
            <p:spPr bwMode="auto">
              <a:xfrm>
                <a:off x="5037746" y="3596204"/>
                <a:ext cx="148490" cy="17142"/>
              </a:xfrm>
              <a:custGeom>
                <a:avLst/>
                <a:gdLst/>
                <a:ahLst/>
                <a:cxnLst>
                  <a:cxn ang="0">
                    <a:pos x="94" y="0"/>
                  </a:cxn>
                  <a:cxn ang="0">
                    <a:pos x="94" y="0"/>
                  </a:cxn>
                  <a:cxn ang="0">
                    <a:pos x="94" y="5"/>
                  </a:cxn>
                  <a:cxn ang="0">
                    <a:pos x="92" y="9"/>
                  </a:cxn>
                  <a:cxn ang="0">
                    <a:pos x="88" y="10"/>
                  </a:cxn>
                  <a:cxn ang="0">
                    <a:pos x="83" y="11"/>
                  </a:cxn>
                  <a:cxn ang="0">
                    <a:pos x="47" y="11"/>
                  </a:cxn>
                  <a:cxn ang="0">
                    <a:pos x="12" y="11"/>
                  </a:cxn>
                  <a:cxn ang="0">
                    <a:pos x="12" y="11"/>
                  </a:cxn>
                  <a:cxn ang="0">
                    <a:pos x="8" y="10"/>
                  </a:cxn>
                  <a:cxn ang="0">
                    <a:pos x="4" y="9"/>
                  </a:cxn>
                  <a:cxn ang="0">
                    <a:pos x="2" y="5"/>
                  </a:cxn>
                  <a:cxn ang="0">
                    <a:pos x="0" y="0"/>
                  </a:cxn>
                </a:cxnLst>
                <a:rect l="0" t="0" r="r" b="b"/>
                <a:pathLst>
                  <a:path w="94" h="11">
                    <a:moveTo>
                      <a:pt x="94" y="0"/>
                    </a:moveTo>
                    <a:lnTo>
                      <a:pt x="94" y="0"/>
                    </a:lnTo>
                    <a:lnTo>
                      <a:pt x="94" y="5"/>
                    </a:lnTo>
                    <a:lnTo>
                      <a:pt x="92" y="9"/>
                    </a:lnTo>
                    <a:lnTo>
                      <a:pt x="88" y="10"/>
                    </a:lnTo>
                    <a:lnTo>
                      <a:pt x="83" y="11"/>
                    </a:lnTo>
                    <a:lnTo>
                      <a:pt x="47" y="11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8" y="10"/>
                    </a:lnTo>
                    <a:lnTo>
                      <a:pt x="4" y="9"/>
                    </a:lnTo>
                    <a:lnTo>
                      <a:pt x="2" y="5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0" name="Line 217"/>
              <p:cNvSpPr>
                <a:spLocks noChangeShapeType="1"/>
              </p:cNvSpPr>
              <p:nvPr/>
            </p:nvSpPr>
            <p:spPr bwMode="auto">
              <a:xfrm flipV="1">
                <a:off x="5112496" y="3613346"/>
                <a:ext cx="2020" cy="26665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10" name="Groupe 281"/>
            <p:cNvGrpSpPr>
              <a:grpSpLocks/>
            </p:cNvGrpSpPr>
            <p:nvPr userDrawn="1"/>
          </p:nvGrpSpPr>
          <p:grpSpPr bwMode="auto">
            <a:xfrm>
              <a:off x="5543115" y="3570780"/>
              <a:ext cx="562532" cy="335672"/>
              <a:chOff x="3909988" y="7116564"/>
              <a:chExt cx="268288" cy="163512"/>
            </a:xfrm>
          </p:grpSpPr>
          <p:sp>
            <p:nvSpPr>
              <p:cNvPr id="12" name="Line 326"/>
              <p:cNvSpPr>
                <a:spLocks noChangeShapeType="1"/>
              </p:cNvSpPr>
              <p:nvPr/>
            </p:nvSpPr>
            <p:spPr bwMode="auto">
              <a:xfrm>
                <a:off x="3909880" y="7120976"/>
                <a:ext cx="1640" cy="1577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3" name="Line 327"/>
              <p:cNvSpPr>
                <a:spLocks noChangeShapeType="1"/>
              </p:cNvSpPr>
              <p:nvPr/>
            </p:nvSpPr>
            <p:spPr bwMode="auto">
              <a:xfrm>
                <a:off x="3911520" y="7278723"/>
                <a:ext cx="266571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4" name="Freeform 328"/>
              <p:cNvSpPr>
                <a:spLocks/>
              </p:cNvSpPr>
              <p:nvPr/>
            </p:nvSpPr>
            <p:spPr bwMode="auto">
              <a:xfrm>
                <a:off x="3936127" y="7143401"/>
                <a:ext cx="179628" cy="115991"/>
              </a:xfrm>
              <a:custGeom>
                <a:avLst/>
                <a:gdLst/>
                <a:ahLst/>
                <a:cxnLst>
                  <a:cxn ang="0">
                    <a:pos x="0" y="73"/>
                  </a:cxn>
                  <a:cxn ang="0">
                    <a:pos x="34" y="39"/>
                  </a:cxn>
                  <a:cxn ang="0">
                    <a:pos x="55" y="59"/>
                  </a:cxn>
                  <a:cxn ang="0">
                    <a:pos x="114" y="0"/>
                  </a:cxn>
                </a:cxnLst>
                <a:rect l="0" t="0" r="r" b="b"/>
                <a:pathLst>
                  <a:path w="114" h="73">
                    <a:moveTo>
                      <a:pt x="0" y="73"/>
                    </a:moveTo>
                    <a:lnTo>
                      <a:pt x="34" y="39"/>
                    </a:lnTo>
                    <a:lnTo>
                      <a:pt x="55" y="59"/>
                    </a:lnTo>
                    <a:lnTo>
                      <a:pt x="114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5" name="Freeform 329"/>
              <p:cNvSpPr>
                <a:spLocks/>
              </p:cNvSpPr>
              <p:nvPr/>
            </p:nvSpPr>
            <p:spPr bwMode="auto">
              <a:xfrm>
                <a:off x="4087867" y="7116337"/>
                <a:ext cx="50854" cy="556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2" y="0"/>
                  </a:cxn>
                  <a:cxn ang="0">
                    <a:pos x="32" y="35"/>
                  </a:cxn>
                </a:cxnLst>
                <a:rect l="0" t="0" r="r" b="b"/>
                <a:pathLst>
                  <a:path w="32" h="35">
                    <a:moveTo>
                      <a:pt x="0" y="0"/>
                    </a:moveTo>
                    <a:lnTo>
                      <a:pt x="32" y="0"/>
                    </a:lnTo>
                    <a:lnTo>
                      <a:pt x="32" y="3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sp>
          <p:nvSpPr>
            <p:cNvPr id="11" name="Freeform 72"/>
            <p:cNvSpPr>
              <a:spLocks/>
            </p:cNvSpPr>
            <p:nvPr userDrawn="1"/>
          </p:nvSpPr>
          <p:spPr bwMode="auto">
            <a:xfrm>
              <a:off x="2579688" y="3656035"/>
              <a:ext cx="581290" cy="349236"/>
            </a:xfrm>
            <a:custGeom>
              <a:avLst/>
              <a:gdLst/>
              <a:ahLst/>
              <a:cxnLst>
                <a:cxn ang="0">
                  <a:pos x="180" y="132"/>
                </a:cxn>
                <a:cxn ang="0">
                  <a:pos x="193" y="129"/>
                </a:cxn>
                <a:cxn ang="0">
                  <a:pos x="204" y="121"/>
                </a:cxn>
                <a:cxn ang="0">
                  <a:pos x="212" y="110"/>
                </a:cxn>
                <a:cxn ang="0">
                  <a:pos x="215" y="97"/>
                </a:cxn>
                <a:cxn ang="0">
                  <a:pos x="215" y="90"/>
                </a:cxn>
                <a:cxn ang="0">
                  <a:pos x="208" y="77"/>
                </a:cxn>
                <a:cxn ang="0">
                  <a:pos x="199" y="68"/>
                </a:cxn>
                <a:cxn ang="0">
                  <a:pos x="187" y="63"/>
                </a:cxn>
                <a:cxn ang="0">
                  <a:pos x="180" y="62"/>
                </a:cxn>
                <a:cxn ang="0">
                  <a:pos x="179" y="62"/>
                </a:cxn>
                <a:cxn ang="0">
                  <a:pos x="179" y="61"/>
                </a:cxn>
                <a:cxn ang="0">
                  <a:pos x="174" y="36"/>
                </a:cxn>
                <a:cxn ang="0">
                  <a:pos x="161" y="17"/>
                </a:cxn>
                <a:cxn ang="0">
                  <a:pos x="142" y="5"/>
                </a:cxn>
                <a:cxn ang="0">
                  <a:pos x="120" y="0"/>
                </a:cxn>
                <a:cxn ang="0">
                  <a:pos x="109" y="1"/>
                </a:cxn>
                <a:cxn ang="0">
                  <a:pos x="92" y="6"/>
                </a:cxn>
                <a:cxn ang="0">
                  <a:pos x="78" y="17"/>
                </a:cxn>
                <a:cxn ang="0">
                  <a:pos x="66" y="31"/>
                </a:cxn>
                <a:cxn ang="0">
                  <a:pos x="62" y="39"/>
                </a:cxn>
                <a:cxn ang="0">
                  <a:pos x="47" y="36"/>
                </a:cxn>
                <a:cxn ang="0">
                  <a:pos x="38" y="38"/>
                </a:cxn>
                <a:cxn ang="0">
                  <a:pos x="21" y="45"/>
                </a:cxn>
                <a:cxn ang="0">
                  <a:pos x="8" y="58"/>
                </a:cxn>
                <a:cxn ang="0">
                  <a:pos x="2" y="75"/>
                </a:cxn>
                <a:cxn ang="0">
                  <a:pos x="0" y="85"/>
                </a:cxn>
                <a:cxn ang="0">
                  <a:pos x="4" y="102"/>
                </a:cxn>
                <a:cxn ang="0">
                  <a:pos x="14" y="118"/>
                </a:cxn>
                <a:cxn ang="0">
                  <a:pos x="30" y="128"/>
                </a:cxn>
                <a:cxn ang="0">
                  <a:pos x="47" y="132"/>
                </a:cxn>
                <a:cxn ang="0">
                  <a:pos x="147" y="132"/>
                </a:cxn>
              </a:cxnLst>
              <a:rect l="0" t="0" r="r" b="b"/>
              <a:pathLst>
                <a:path w="215" h="132">
                  <a:moveTo>
                    <a:pt x="180" y="132"/>
                  </a:moveTo>
                  <a:lnTo>
                    <a:pt x="180" y="132"/>
                  </a:lnTo>
                  <a:lnTo>
                    <a:pt x="187" y="132"/>
                  </a:lnTo>
                  <a:lnTo>
                    <a:pt x="193" y="129"/>
                  </a:lnTo>
                  <a:lnTo>
                    <a:pt x="199" y="125"/>
                  </a:lnTo>
                  <a:lnTo>
                    <a:pt x="204" y="121"/>
                  </a:lnTo>
                  <a:lnTo>
                    <a:pt x="208" y="116"/>
                  </a:lnTo>
                  <a:lnTo>
                    <a:pt x="212" y="110"/>
                  </a:lnTo>
                  <a:lnTo>
                    <a:pt x="215" y="104"/>
                  </a:lnTo>
                  <a:lnTo>
                    <a:pt x="215" y="97"/>
                  </a:lnTo>
                  <a:lnTo>
                    <a:pt x="215" y="97"/>
                  </a:lnTo>
                  <a:lnTo>
                    <a:pt x="215" y="90"/>
                  </a:lnTo>
                  <a:lnTo>
                    <a:pt x="212" y="83"/>
                  </a:lnTo>
                  <a:lnTo>
                    <a:pt x="208" y="77"/>
                  </a:lnTo>
                  <a:lnTo>
                    <a:pt x="204" y="72"/>
                  </a:lnTo>
                  <a:lnTo>
                    <a:pt x="199" y="68"/>
                  </a:lnTo>
                  <a:lnTo>
                    <a:pt x="193" y="64"/>
                  </a:lnTo>
                  <a:lnTo>
                    <a:pt x="187" y="63"/>
                  </a:lnTo>
                  <a:lnTo>
                    <a:pt x="180" y="62"/>
                  </a:lnTo>
                  <a:lnTo>
                    <a:pt x="180" y="62"/>
                  </a:lnTo>
                  <a:lnTo>
                    <a:pt x="179" y="62"/>
                  </a:lnTo>
                  <a:lnTo>
                    <a:pt x="179" y="62"/>
                  </a:lnTo>
                  <a:lnTo>
                    <a:pt x="179" y="61"/>
                  </a:lnTo>
                  <a:lnTo>
                    <a:pt x="179" y="61"/>
                  </a:lnTo>
                  <a:lnTo>
                    <a:pt x="178" y="48"/>
                  </a:lnTo>
                  <a:lnTo>
                    <a:pt x="174" y="36"/>
                  </a:lnTo>
                  <a:lnTo>
                    <a:pt x="169" y="26"/>
                  </a:lnTo>
                  <a:lnTo>
                    <a:pt x="161" y="17"/>
                  </a:lnTo>
                  <a:lnTo>
                    <a:pt x="152" y="10"/>
                  </a:lnTo>
                  <a:lnTo>
                    <a:pt x="142" y="5"/>
                  </a:lnTo>
                  <a:lnTo>
                    <a:pt x="131" y="1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09" y="1"/>
                  </a:lnTo>
                  <a:lnTo>
                    <a:pt x="101" y="2"/>
                  </a:lnTo>
                  <a:lnTo>
                    <a:pt x="92" y="6"/>
                  </a:lnTo>
                  <a:lnTo>
                    <a:pt x="84" y="11"/>
                  </a:lnTo>
                  <a:lnTo>
                    <a:pt x="78" y="17"/>
                  </a:lnTo>
                  <a:lnTo>
                    <a:pt x="71" y="24"/>
                  </a:lnTo>
                  <a:lnTo>
                    <a:pt x="66" y="31"/>
                  </a:lnTo>
                  <a:lnTo>
                    <a:pt x="62" y="39"/>
                  </a:lnTo>
                  <a:lnTo>
                    <a:pt x="62" y="39"/>
                  </a:lnTo>
                  <a:lnTo>
                    <a:pt x="55" y="38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38" y="38"/>
                  </a:lnTo>
                  <a:lnTo>
                    <a:pt x="30" y="40"/>
                  </a:lnTo>
                  <a:lnTo>
                    <a:pt x="21" y="45"/>
                  </a:lnTo>
                  <a:lnTo>
                    <a:pt x="14" y="50"/>
                  </a:lnTo>
                  <a:lnTo>
                    <a:pt x="8" y="58"/>
                  </a:lnTo>
                  <a:lnTo>
                    <a:pt x="4" y="66"/>
                  </a:lnTo>
                  <a:lnTo>
                    <a:pt x="2" y="7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2" y="94"/>
                  </a:lnTo>
                  <a:lnTo>
                    <a:pt x="4" y="102"/>
                  </a:lnTo>
                  <a:lnTo>
                    <a:pt x="8" y="111"/>
                  </a:lnTo>
                  <a:lnTo>
                    <a:pt x="14" y="118"/>
                  </a:lnTo>
                  <a:lnTo>
                    <a:pt x="21" y="124"/>
                  </a:lnTo>
                  <a:lnTo>
                    <a:pt x="30" y="128"/>
                  </a:lnTo>
                  <a:lnTo>
                    <a:pt x="38" y="130"/>
                  </a:lnTo>
                  <a:lnTo>
                    <a:pt x="47" y="132"/>
                  </a:lnTo>
                  <a:lnTo>
                    <a:pt x="47" y="132"/>
                  </a:lnTo>
                  <a:lnTo>
                    <a:pt x="147" y="132"/>
                  </a:lnTo>
                </a:path>
              </a:pathLst>
            </a:custGeom>
            <a:noFill/>
            <a:ln w="1905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lIns="83969" tIns="41985" rIns="83969" bIns="41985"/>
            <a:lstStyle/>
            <a:p>
              <a:pPr defTabSz="914400">
                <a:defRPr/>
              </a:pPr>
              <a:endParaRPr lang="en-US" sz="1800">
                <a:solidFill>
                  <a:srgbClr val="263147"/>
                </a:solidFill>
                <a:cs typeface="Arial" charset="0"/>
              </a:endParaRPr>
            </a:p>
          </p:txBody>
        </p:sp>
      </p:grpSp>
      <p:graphicFrame>
        <p:nvGraphicFramePr>
          <p:cNvPr id="42" name="Object 2" hidden="1"/>
          <p:cNvGraphicFramePr>
            <a:graphicFrameLocks noChangeAspect="1"/>
          </p:cNvGraphicFramePr>
          <p:nvPr/>
        </p:nvGraphicFramePr>
        <p:xfrm>
          <a:off x="0" y="0"/>
          <a:ext cx="158222" cy="158750"/>
        </p:xfrm>
        <a:graphic>
          <a:graphicData uri="http://schemas.openxmlformats.org/presentationml/2006/ole">
            <p:oleObj spid="_x0000_s1384451" name="think-cell Slide" r:id="rId6" imgW="360" imgH="360" progId="">
              <p:embed/>
            </p:oleObj>
          </a:graphicData>
        </a:graphic>
      </p:graphicFrame>
      <p:sp>
        <p:nvSpPr>
          <p:cNvPr id="43" name="Rectangle 7"/>
          <p:cNvSpPr/>
          <p:nvPr>
            <p:custDataLst>
              <p:tags r:id="rId2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xmlns="" val="4143894643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6679" name="Picture 7" descr="Isis-Mobile-Wallet"/>
          <p:cNvPicPr>
            <a:picLocks noChangeAspect="1" noChangeArrowheads="1"/>
          </p:cNvPicPr>
          <p:nvPr userDrawn="1"/>
        </p:nvPicPr>
        <p:blipFill>
          <a:blip r:embed="rId4" cstate="print"/>
          <a:srcRect r="27500"/>
          <a:stretch>
            <a:fillRect/>
          </a:stretch>
        </p:blipFill>
        <p:spPr bwMode="auto">
          <a:xfrm>
            <a:off x="0" y="0"/>
            <a:ext cx="9906000" cy="49530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222" cy="158750"/>
        </p:xfrm>
        <a:graphic>
          <a:graphicData uri="http://schemas.openxmlformats.org/presentationml/2006/ole">
            <p:oleObj spid="_x0000_s1385474" name="think-cell Slide" r:id="rId5" imgW="360" imgH="360" progId="">
              <p:embed/>
            </p:oleObj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/>
        </p:nvGraphicFramePr>
        <p:xfrm>
          <a:off x="0" y="0"/>
          <a:ext cx="158222" cy="158750"/>
        </p:xfrm>
        <a:graphic>
          <a:graphicData uri="http://schemas.openxmlformats.org/presentationml/2006/ole">
            <p:oleObj spid="_x0000_s1385475" name="think-cell Slide" r:id="rId6" imgW="360" imgH="360" progId="">
              <p:embed/>
            </p:oleObj>
          </a:graphicData>
        </a:graphic>
      </p:graphicFrame>
      <p:sp>
        <p:nvSpPr>
          <p:cNvPr id="43" name="Rectangle 7"/>
          <p:cNvSpPr/>
          <p:nvPr>
            <p:custDataLst>
              <p:tags r:id="rId2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xmlns="" val="414389464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69314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388546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389570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90594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391618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392642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93666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94690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395714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70338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399810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400834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1858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402882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403906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4930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5954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406978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19963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 descr="D:\Users\skhamkar\Downloads\ThinkstockPhotos-474726969.jpg"/>
          <p:cNvPicPr>
            <a:picLocks noChangeAspect="1" noChangeArrowheads="1"/>
          </p:cNvPicPr>
          <p:nvPr userDrawn="1"/>
        </p:nvPicPr>
        <p:blipFill>
          <a:blip r:embed="rId7" cstate="print">
            <a:lum bright="-20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-1" y="457200"/>
            <a:ext cx="9906001" cy="610235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" name="Group 12"/>
          <p:cNvGrpSpPr/>
          <p:nvPr userDrawn="1"/>
        </p:nvGrpSpPr>
        <p:grpSpPr>
          <a:xfrm>
            <a:off x="5" y="0"/>
            <a:ext cx="9906003" cy="6858000"/>
            <a:chOff x="0" y="0"/>
            <a:chExt cx="9144003" cy="6858000"/>
          </a:xfrm>
        </p:grpSpPr>
        <p:grpSp>
          <p:nvGrpSpPr>
            <p:cNvPr id="3" name="Group 15"/>
            <p:cNvGrpSpPr/>
            <p:nvPr userDrawn="1"/>
          </p:nvGrpSpPr>
          <p:grpSpPr>
            <a:xfrm>
              <a:off x="0" y="0"/>
              <a:ext cx="9144003" cy="1404524"/>
              <a:chOff x="1219200" y="3352800"/>
              <a:chExt cx="9144003" cy="1404524"/>
            </a:xfrm>
          </p:grpSpPr>
          <p:grpSp>
            <p:nvGrpSpPr>
              <p:cNvPr id="4" name="Group 16"/>
              <p:cNvGrpSpPr/>
              <p:nvPr userDrawn="1"/>
            </p:nvGrpSpPr>
            <p:grpSpPr>
              <a:xfrm>
                <a:off x="1219200" y="3352800"/>
                <a:ext cx="9144000" cy="1398896"/>
                <a:chOff x="0" y="0"/>
                <a:chExt cx="9144000" cy="1398896"/>
              </a:xfrm>
            </p:grpSpPr>
            <p:pic>
              <p:nvPicPr>
                <p:cNvPr id="20" name="Picture 19" descr="Header_Title Slide_PPT Template_3.png"/>
                <p:cNvPicPr>
                  <a:picLocks noChangeAspect="1"/>
                </p:cNvPicPr>
                <p:nvPr userDrawn="1"/>
              </p:nvPicPr>
              <p:blipFill>
                <a:blip r:embed="rId8" cstate="email"/>
                <a:srcRect l="2081" r="-1029"/>
                <a:stretch>
                  <a:fillRect/>
                </a:stretch>
              </p:blipFill>
              <p:spPr>
                <a:xfrm>
                  <a:off x="0" y="0"/>
                  <a:ext cx="5029200" cy="1398896"/>
                </a:xfrm>
                <a:prstGeom prst="rect">
                  <a:avLst/>
                </a:prstGeom>
              </p:spPr>
            </p:pic>
            <p:pic>
              <p:nvPicPr>
                <p:cNvPr id="21" name="Picture 20" descr="Header_Title Slide_PPT Template_3.png"/>
                <p:cNvPicPr>
                  <a:picLocks noChangeAspect="1"/>
                </p:cNvPicPr>
                <p:nvPr userDrawn="1"/>
              </p:nvPicPr>
              <p:blipFill>
                <a:blip r:embed="rId8" cstate="email"/>
                <a:srcRect b="29091"/>
                <a:stretch>
                  <a:fillRect/>
                </a:stretch>
              </p:blipFill>
              <p:spPr>
                <a:xfrm>
                  <a:off x="3879273" y="0"/>
                  <a:ext cx="5264727" cy="1026625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</p:grpSp>
          <p:sp>
            <p:nvSpPr>
              <p:cNvPr id="19" name="Freeform 4"/>
              <p:cNvSpPr>
                <a:spLocks/>
              </p:cNvSpPr>
              <p:nvPr userDrawn="1">
                <p:custDataLst>
                  <p:tags r:id="rId5"/>
                </p:custDataLst>
              </p:nvPr>
            </p:nvSpPr>
            <p:spPr bwMode="auto">
              <a:xfrm>
                <a:off x="1219204" y="4029202"/>
                <a:ext cx="9143999" cy="728122"/>
              </a:xfrm>
              <a:custGeom>
                <a:avLst/>
                <a:gdLst/>
                <a:ahLst/>
                <a:cxnLst>
                  <a:cxn ang="0">
                    <a:pos x="2965" y="93"/>
                  </a:cxn>
                  <a:cxn ang="0">
                    <a:pos x="303" y="93"/>
                  </a:cxn>
                  <a:cxn ang="0">
                    <a:pos x="151" y="187"/>
                  </a:cxn>
                  <a:cxn ang="0">
                    <a:pos x="0" y="93"/>
                  </a:cxn>
                  <a:cxn ang="0">
                    <a:pos x="0" y="112"/>
                  </a:cxn>
                  <a:cxn ang="0">
                    <a:pos x="151" y="205"/>
                  </a:cxn>
                  <a:cxn ang="0">
                    <a:pos x="303" y="112"/>
                  </a:cxn>
                  <a:cxn ang="0">
                    <a:pos x="2965" y="112"/>
                  </a:cxn>
                  <a:cxn ang="0">
                    <a:pos x="3118" y="19"/>
                  </a:cxn>
                  <a:cxn ang="0">
                    <a:pos x="3118" y="0"/>
                  </a:cxn>
                  <a:cxn ang="0">
                    <a:pos x="2965" y="93"/>
                  </a:cxn>
                </a:cxnLst>
                <a:rect l="0" t="0" r="r" b="b"/>
                <a:pathLst>
                  <a:path w="3118" h="205">
                    <a:moveTo>
                      <a:pt x="2965" y="93"/>
                    </a:moveTo>
                    <a:cubicBezTo>
                      <a:pt x="303" y="93"/>
                      <a:pt x="303" y="93"/>
                      <a:pt x="303" y="93"/>
                    </a:cubicBezTo>
                    <a:cubicBezTo>
                      <a:pt x="183" y="93"/>
                      <a:pt x="151" y="187"/>
                      <a:pt x="151" y="187"/>
                    </a:cubicBezTo>
                    <a:cubicBezTo>
                      <a:pt x="151" y="187"/>
                      <a:pt x="119" y="93"/>
                      <a:pt x="0" y="93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119" y="112"/>
                      <a:pt x="151" y="205"/>
                      <a:pt x="151" y="205"/>
                    </a:cubicBezTo>
                    <a:cubicBezTo>
                      <a:pt x="151" y="205"/>
                      <a:pt x="183" y="112"/>
                      <a:pt x="303" y="112"/>
                    </a:cubicBezTo>
                    <a:cubicBezTo>
                      <a:pt x="2965" y="112"/>
                      <a:pt x="2965" y="112"/>
                      <a:pt x="2965" y="112"/>
                    </a:cubicBezTo>
                    <a:cubicBezTo>
                      <a:pt x="3085" y="112"/>
                      <a:pt x="3118" y="19"/>
                      <a:pt x="3118" y="19"/>
                    </a:cubicBezTo>
                    <a:cubicBezTo>
                      <a:pt x="3118" y="0"/>
                      <a:pt x="3118" y="0"/>
                      <a:pt x="3118" y="0"/>
                    </a:cubicBezTo>
                    <a:cubicBezTo>
                      <a:pt x="3118" y="0"/>
                      <a:pt x="3085" y="93"/>
                      <a:pt x="2965" y="93"/>
                    </a:cubicBezTo>
                    <a:close/>
                  </a:path>
                </a:pathLst>
              </a:custGeom>
              <a:solidFill>
                <a:schemeClr val="accent5"/>
              </a:solidFill>
              <a:ln w="9525">
                <a:noFill/>
                <a:round/>
                <a:headEnd/>
                <a:tailEnd/>
              </a:ln>
              <a:effectLst>
                <a:outerShdw blurRad="50800" dist="25400" dir="5400000" algn="t" rotWithShape="0">
                  <a:prstClr val="black">
                    <a:alpha val="31000"/>
                  </a:prstClr>
                </a:outerShdw>
              </a:effectLst>
            </p:spPr>
            <p:txBody>
              <a:bodyPr vert="horz" wrap="square" lIns="99563" tIns="49782" rIns="99563" bIns="49782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solidFill>
                    <a:srgbClr val="263147"/>
                  </a:solidFill>
                </a:endParaRPr>
              </a:p>
            </p:txBody>
          </p:sp>
        </p:grpSp>
        <p:sp>
          <p:nvSpPr>
            <p:cNvPr id="17" name="Rectangle 16"/>
            <p:cNvSpPr/>
            <p:nvPr userDrawn="1"/>
          </p:nvSpPr>
          <p:spPr>
            <a:xfrm>
              <a:off x="0" y="6355080"/>
              <a:ext cx="9144000" cy="5029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2400" dirty="0" err="1" smtClean="0">
                <a:solidFill>
                  <a:srgbClr val="1F497D">
                    <a:lumMod val="50000"/>
                  </a:srgbClr>
                </a:solidFill>
              </a:endParaRPr>
            </a:p>
          </p:txBody>
        </p:sp>
      </p:grpSp>
      <p:sp>
        <p:nvSpPr>
          <p:cNvPr id="24" name="Rectangle 23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741834" y="662341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apgemini 2016. </a:t>
            </a: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All Rights Reserved</a:t>
            </a:r>
          </a:p>
        </p:txBody>
      </p:sp>
      <p:sp>
        <p:nvSpPr>
          <p:cNvPr id="28" name="Rectangle 27"/>
          <p:cNvSpPr/>
          <p:nvPr userDrawn="1">
            <p:custDataLst>
              <p:tags r:id="rId2"/>
            </p:custDataLst>
          </p:nvPr>
        </p:nvSpPr>
        <p:spPr>
          <a:xfrm>
            <a:off x="7487926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omerica Card Services SOA Solution | February 2016 </a:t>
            </a:r>
            <a:r>
              <a:rPr lang="en-US" sz="700" dirty="0">
                <a:solidFill>
                  <a:srgbClr val="998C85"/>
                </a:solidFill>
              </a:rPr>
              <a:t>| Financial Services</a:t>
            </a:r>
          </a:p>
        </p:txBody>
      </p:sp>
      <p:pic>
        <p:nvPicPr>
          <p:cNvPr id="29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30" name="Straight Connector 5"/>
          <p:cNvCxnSpPr/>
          <p:nvPr userDrawn="1">
            <p:custDataLst>
              <p:tags r:id="rId4"/>
            </p:custDataLst>
          </p:nvPr>
        </p:nvCxnSpPr>
        <p:spPr>
          <a:xfrm flipH="1">
            <a:off x="9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861365275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418242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419266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20290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421314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422338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23362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24386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425410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430530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431554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32578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433602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434626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35650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36674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437698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Footer_PPT Template_2.png"/>
          <p:cNvPicPr preferRelativeResize="0">
            <a:picLocks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0" y="6238877"/>
            <a:ext cx="9906000" cy="619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8" descr="capgemini logo.png"/>
          <p:cNvPicPr>
            <a:picLocks noChangeAspect="1"/>
          </p:cNvPicPr>
          <p:nvPr/>
        </p:nvPicPr>
        <p:blipFill>
          <a:blip r:embed="rId4" cstate="email">
            <a:lum bright="100000"/>
          </a:blip>
          <a:srcRect/>
          <a:stretch>
            <a:fillRect/>
          </a:stretch>
        </p:blipFill>
        <p:spPr bwMode="auto">
          <a:xfrm>
            <a:off x="495310" y="6381871"/>
            <a:ext cx="1559852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9" descr="logo.png"/>
          <p:cNvPicPr>
            <a:picLocks noChangeAspect="1"/>
          </p:cNvPicPr>
          <p:nvPr/>
        </p:nvPicPr>
        <p:blipFill>
          <a:blip r:embed="rId5" cstate="email">
            <a:lum bright="100000"/>
          </a:blip>
          <a:srcRect/>
          <a:stretch>
            <a:fillRect/>
          </a:stretch>
        </p:blipFill>
        <p:spPr bwMode="auto">
          <a:xfrm>
            <a:off x="8547432" y="6237407"/>
            <a:ext cx="930409" cy="6476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7"/>
          <p:cNvSpPr/>
          <p:nvPr/>
        </p:nvSpPr>
        <p:spPr>
          <a:xfrm>
            <a:off x="2543576" y="6545264"/>
            <a:ext cx="5114660" cy="24923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 eaLnBrk="0" hangingPunct="0">
              <a:lnSpc>
                <a:spcPct val="85000"/>
              </a:lnSpc>
              <a:defRPr/>
            </a:pPr>
            <a:r>
              <a:rPr lang="en-US" sz="800" b="1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800" b="1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800" b="1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800" b="1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800" b="1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800" b="1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600202"/>
            <a:ext cx="8915400" cy="4525962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4200" spc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0" y="612778"/>
            <a:ext cx="9906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94C3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116339" tIns="58170" rIns="116339" bIns="58170"/>
          <a:lstStyle/>
          <a:p>
            <a:pPr algn="ctr" defTabSz="1119138" eaLnBrk="0" hangingPunct="0">
              <a:lnSpc>
                <a:spcPct val="85000"/>
              </a:lnSpc>
              <a:defRPr/>
            </a:pPr>
            <a:endParaRPr lang="fr-FR" sz="2400" b="1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441794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442818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43842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44486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445890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46914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47938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448962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x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/>
          <a:lstStyle/>
          <a:p>
            <a:pPr defTabSz="457200">
              <a:defRPr/>
            </a:pPr>
            <a:endParaRPr lang="en-US" sz="1800">
              <a:solidFill>
                <a:srgbClr val="263147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89250" y="6356361"/>
            <a:ext cx="3632200" cy="365125"/>
          </a:xfrm>
          <a:prstGeom prst="rect">
            <a:avLst/>
          </a:prstGeom>
        </p:spPr>
        <p:txBody>
          <a:bodyPr/>
          <a:lstStyle/>
          <a:p>
            <a:pPr defTabSz="457200">
              <a:defRPr/>
            </a:pPr>
            <a:endParaRPr lang="en-US" sz="1800">
              <a:solidFill>
                <a:srgbClr val="263147"/>
              </a:solidFill>
            </a:endParaRPr>
          </a:p>
        </p:txBody>
      </p:sp>
    </p:spTree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453058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454082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55106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456130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457154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58178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59202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460226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600204"/>
            <a:ext cx="8915400" cy="4525963"/>
          </a:xfrm>
          <a:prstGeom prst="rect">
            <a:avLst/>
          </a:prstGeo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464322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465346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66370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467394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468418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69442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70466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471490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2" name="Picture 2" descr="D:\Users\sbandyop\Downloads\ACE VI_FINAL_woman with mobile.png"/>
          <p:cNvPicPr>
            <a:picLocks noChangeAspect="1" noChangeArrowheads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3302000" y="1905005"/>
            <a:ext cx="6438900" cy="2960117"/>
          </a:xfrm>
          <a:prstGeom prst="rect">
            <a:avLst/>
          </a:prstGeom>
          <a:noFill/>
        </p:spPr>
      </p:pic>
      <p:pic>
        <p:nvPicPr>
          <p:cNvPr id="12" name="Picture 11" descr="Header_Title Slide_PPT Template_3.png"/>
          <p:cNvPicPr>
            <a:picLocks noChangeAspect="1"/>
          </p:cNvPicPr>
          <p:nvPr/>
        </p:nvPicPr>
        <p:blipFill>
          <a:blip r:embed="rId5" cstate="email"/>
          <a:stretch>
            <a:fillRect/>
          </a:stretch>
        </p:blipFill>
        <p:spPr>
          <a:xfrm>
            <a:off x="0" y="6"/>
            <a:ext cx="9906000" cy="2516697"/>
          </a:xfrm>
          <a:prstGeom prst="rect">
            <a:avLst/>
          </a:prstGeom>
        </p:spPr>
      </p:pic>
      <p:pic>
        <p:nvPicPr>
          <p:cNvPr id="22" name="Picture 21" descr="Header_PPT Template.png"/>
          <p:cNvPicPr>
            <a:picLocks noChangeAspect="1"/>
          </p:cNvPicPr>
          <p:nvPr/>
        </p:nvPicPr>
        <p:blipFill>
          <a:blip r:embed="rId6" cstate="email"/>
          <a:stretch>
            <a:fillRect/>
          </a:stretch>
        </p:blipFill>
        <p:spPr>
          <a:xfrm>
            <a:off x="0" y="0"/>
            <a:ext cx="9906000" cy="2516696"/>
          </a:xfrm>
          <a:prstGeom prst="rect">
            <a:avLst/>
          </a:prstGeom>
        </p:spPr>
      </p:pic>
      <p:pic>
        <p:nvPicPr>
          <p:cNvPr id="23" name="Picture 22" descr="capgemini logo.png"/>
          <p:cNvPicPr>
            <a:picLocks noChangeAspect="1"/>
          </p:cNvPicPr>
          <p:nvPr/>
        </p:nvPicPr>
        <p:blipFill>
          <a:blip r:embed="rId7" cstate="email">
            <a:lum bright="100000"/>
          </a:blip>
          <a:stretch>
            <a:fillRect/>
          </a:stretch>
        </p:blipFill>
        <p:spPr>
          <a:xfrm>
            <a:off x="428497" y="625237"/>
            <a:ext cx="2995200" cy="643531"/>
          </a:xfrm>
          <a:prstGeom prst="rect">
            <a:avLst/>
          </a:prstGeom>
        </p:spPr>
      </p:pic>
      <p:pic>
        <p:nvPicPr>
          <p:cNvPr id="26" name="Picture 25" descr="Footer_PPT Template_2.png"/>
          <p:cNvPicPr preferRelativeResize="0">
            <a:picLocks/>
          </p:cNvPicPr>
          <p:nvPr/>
        </p:nvPicPr>
        <p:blipFill>
          <a:blip r:embed="rId8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7" name="Image 7" descr="Capgemini_Slogan_RGB.png"/>
          <p:cNvPicPr>
            <a:picLocks noChangeAspect="1"/>
          </p:cNvPicPr>
          <p:nvPr/>
        </p:nvPicPr>
        <p:blipFill>
          <a:blip r:embed="rId9" cstate="email">
            <a:lum bright="100000"/>
          </a:blip>
          <a:stretch>
            <a:fillRect/>
          </a:stretch>
        </p:blipFill>
        <p:spPr>
          <a:xfrm>
            <a:off x="6747199" y="6390281"/>
            <a:ext cx="2925000" cy="27908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4" y="4202089"/>
            <a:ext cx="9905999" cy="1512168"/>
          </a:xfrm>
        </p:spPr>
        <p:txBody>
          <a:bodyPr anchor="b">
            <a:noAutofit/>
          </a:bodyPr>
          <a:lstStyle>
            <a:lvl1pPr algn="l">
              <a:defRPr sz="4800" b="0" spc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-2746" y="5672400"/>
            <a:ext cx="9910389" cy="576000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11" name="Picture 10" descr="logo.png"/>
          <p:cNvPicPr>
            <a:picLocks noChangeAspect="1"/>
          </p:cNvPicPr>
          <p:nvPr userDrawn="1"/>
        </p:nvPicPr>
        <p:blipFill>
          <a:blip r:embed="rId10" cstate="email">
            <a:lum bright="100000"/>
          </a:blip>
          <a:stretch>
            <a:fillRect/>
          </a:stretch>
        </p:blipFill>
        <p:spPr>
          <a:xfrm>
            <a:off x="7800511" y="260649"/>
            <a:ext cx="1755000" cy="122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861365275"/>
      </p:ext>
    </p:extLst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475586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476610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77634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478658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479682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80706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81730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482754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486850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487874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88898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489922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490946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91970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92994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494018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498114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499138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00162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5011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502210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03234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04258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505282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 descr="mw2.jpg"/>
          <p:cNvPicPr>
            <a:picLocks noChangeAspect="1"/>
          </p:cNvPicPr>
          <p:nvPr userDrawn="1"/>
        </p:nvPicPr>
        <p:blipFill>
          <a:blip r:embed="rId4" cstate="email"/>
          <a:stretch>
            <a:fillRect/>
          </a:stretch>
        </p:blipFill>
        <p:spPr>
          <a:xfrm>
            <a:off x="0" y="2"/>
            <a:ext cx="9906000" cy="5325133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222" cy="158750"/>
        </p:xfrm>
        <a:graphic>
          <a:graphicData uri="http://schemas.openxmlformats.org/presentationml/2006/ole">
            <p:oleObj spid="_x0000_s372738" name="think-cell Slide" r:id="rId5" imgW="360" imgH="360" progId="">
              <p:embed/>
            </p:oleObj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/>
        </p:nvGraphicFramePr>
        <p:xfrm>
          <a:off x="0" y="0"/>
          <a:ext cx="158222" cy="158750"/>
        </p:xfrm>
        <a:graphic>
          <a:graphicData uri="http://schemas.openxmlformats.org/presentationml/2006/ole">
            <p:oleObj spid="_x0000_s372739" name="think-cell Slide" r:id="rId6" imgW="360" imgH="360" progId="">
              <p:embed/>
            </p:oleObj>
          </a:graphicData>
        </a:graphic>
      </p:graphicFrame>
      <p:sp>
        <p:nvSpPr>
          <p:cNvPr id="43" name="Rectangle 7"/>
          <p:cNvSpPr/>
          <p:nvPr>
            <p:custDataLst>
              <p:tags r:id="rId2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xmlns="" val="4143894643"/>
      </p:ext>
    </p:extLst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510402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511426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2450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513474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514498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22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6546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517570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7701" name="Picture 5" descr="http://talent.capgemini.com/media_library/Medias/News_Illustrations/mobile_transformation.jpg"/>
          <p:cNvPicPr>
            <a:picLocks noChangeAspect="1" noChangeArrowheads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" y="0"/>
            <a:ext cx="9905999" cy="48006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222" cy="158750"/>
        </p:xfrm>
        <a:graphic>
          <a:graphicData uri="http://schemas.openxmlformats.org/presentationml/2006/ole">
            <p:oleObj spid="_x0000_s373762" name="think-cell Slide" r:id="rId5" imgW="360" imgH="360" progId="">
              <p:embed/>
            </p:oleObj>
          </a:graphicData>
        </a:graphic>
      </p:graphicFrame>
      <p:grpSp>
        <p:nvGrpSpPr>
          <p:cNvPr id="4" name="Group 18"/>
          <p:cNvGrpSpPr>
            <a:grpSpLocks/>
          </p:cNvGrpSpPr>
          <p:nvPr/>
        </p:nvGrpSpPr>
        <p:grpSpPr bwMode="auto">
          <a:xfrm>
            <a:off x="2579688" y="700734"/>
            <a:ext cx="6500750" cy="1502721"/>
            <a:chOff x="2579688" y="2502608"/>
            <a:chExt cx="6500750" cy="1502663"/>
          </a:xfrm>
        </p:grpSpPr>
        <p:grpSp>
          <p:nvGrpSpPr>
            <p:cNvPr id="5" name="Groupe 709"/>
            <p:cNvGrpSpPr>
              <a:grpSpLocks/>
            </p:cNvGrpSpPr>
            <p:nvPr userDrawn="1"/>
          </p:nvGrpSpPr>
          <p:grpSpPr bwMode="auto">
            <a:xfrm>
              <a:off x="8084783" y="2883520"/>
              <a:ext cx="386117" cy="518177"/>
              <a:chOff x="2344714" y="4924226"/>
              <a:chExt cx="184150" cy="252413"/>
            </a:xfrm>
          </p:grpSpPr>
          <p:sp>
            <p:nvSpPr>
              <p:cNvPr id="40" name="Freeform 449"/>
              <p:cNvSpPr>
                <a:spLocks/>
              </p:cNvSpPr>
              <p:nvPr/>
            </p:nvSpPr>
            <p:spPr bwMode="auto">
              <a:xfrm>
                <a:off x="2344694" y="4923950"/>
                <a:ext cx="184548" cy="252859"/>
              </a:xfrm>
              <a:custGeom>
                <a:avLst/>
                <a:gdLst/>
                <a:ahLst/>
                <a:cxnLst>
                  <a:cxn ang="0">
                    <a:pos x="97" y="159"/>
                  </a:cxn>
                  <a:cxn ang="0">
                    <a:pos x="20" y="159"/>
                  </a:cxn>
                  <a:cxn ang="0">
                    <a:pos x="20" y="159"/>
                  </a:cxn>
                  <a:cxn ang="0">
                    <a:pos x="15" y="159"/>
                  </a:cxn>
                  <a:cxn ang="0">
                    <a:pos x="13" y="157"/>
                  </a:cxn>
                  <a:cxn ang="0">
                    <a:pos x="6" y="154"/>
                  </a:cxn>
                  <a:cxn ang="0">
                    <a:pos x="1" y="147"/>
                  </a:cxn>
                  <a:cxn ang="0">
                    <a:pos x="0" y="143"/>
                  </a:cxn>
                  <a:cxn ang="0">
                    <a:pos x="0" y="140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15"/>
                  </a:cxn>
                  <a:cxn ang="0">
                    <a:pos x="1" y="12"/>
                  </a:cxn>
                  <a:cxn ang="0">
                    <a:pos x="6" y="5"/>
                  </a:cxn>
                  <a:cxn ang="0">
                    <a:pos x="13" y="2"/>
                  </a:cxn>
                  <a:cxn ang="0">
                    <a:pos x="15" y="0"/>
                  </a:cxn>
                  <a:cxn ang="0">
                    <a:pos x="20" y="0"/>
                  </a:cxn>
                  <a:cxn ang="0">
                    <a:pos x="97" y="0"/>
                  </a:cxn>
                  <a:cxn ang="0">
                    <a:pos x="97" y="0"/>
                  </a:cxn>
                  <a:cxn ang="0">
                    <a:pos x="101" y="0"/>
                  </a:cxn>
                  <a:cxn ang="0">
                    <a:pos x="105" y="2"/>
                  </a:cxn>
                  <a:cxn ang="0">
                    <a:pos x="111" y="5"/>
                  </a:cxn>
                  <a:cxn ang="0">
                    <a:pos x="115" y="12"/>
                  </a:cxn>
                  <a:cxn ang="0">
                    <a:pos x="116" y="15"/>
                  </a:cxn>
                  <a:cxn ang="0">
                    <a:pos x="116" y="19"/>
                  </a:cxn>
                  <a:cxn ang="0">
                    <a:pos x="116" y="159"/>
                  </a:cxn>
                </a:cxnLst>
                <a:rect l="0" t="0" r="r" b="b"/>
                <a:pathLst>
                  <a:path w="116" h="159">
                    <a:moveTo>
                      <a:pt x="97" y="159"/>
                    </a:moveTo>
                    <a:lnTo>
                      <a:pt x="20" y="159"/>
                    </a:lnTo>
                    <a:lnTo>
                      <a:pt x="20" y="159"/>
                    </a:lnTo>
                    <a:lnTo>
                      <a:pt x="15" y="159"/>
                    </a:lnTo>
                    <a:lnTo>
                      <a:pt x="13" y="157"/>
                    </a:lnTo>
                    <a:lnTo>
                      <a:pt x="6" y="154"/>
                    </a:lnTo>
                    <a:lnTo>
                      <a:pt x="1" y="147"/>
                    </a:lnTo>
                    <a:lnTo>
                      <a:pt x="0" y="143"/>
                    </a:lnTo>
                    <a:lnTo>
                      <a:pt x="0" y="140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5"/>
                    </a:lnTo>
                    <a:lnTo>
                      <a:pt x="1" y="12"/>
                    </a:lnTo>
                    <a:lnTo>
                      <a:pt x="6" y="5"/>
                    </a:lnTo>
                    <a:lnTo>
                      <a:pt x="13" y="2"/>
                    </a:lnTo>
                    <a:lnTo>
                      <a:pt x="15" y="0"/>
                    </a:lnTo>
                    <a:lnTo>
                      <a:pt x="20" y="0"/>
                    </a:lnTo>
                    <a:lnTo>
                      <a:pt x="97" y="0"/>
                    </a:lnTo>
                    <a:lnTo>
                      <a:pt x="97" y="0"/>
                    </a:lnTo>
                    <a:lnTo>
                      <a:pt x="101" y="0"/>
                    </a:lnTo>
                    <a:lnTo>
                      <a:pt x="105" y="2"/>
                    </a:lnTo>
                    <a:lnTo>
                      <a:pt x="111" y="5"/>
                    </a:lnTo>
                    <a:lnTo>
                      <a:pt x="115" y="12"/>
                    </a:lnTo>
                    <a:lnTo>
                      <a:pt x="116" y="15"/>
                    </a:lnTo>
                    <a:lnTo>
                      <a:pt x="116" y="19"/>
                    </a:lnTo>
                    <a:lnTo>
                      <a:pt x="116" y="15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41" name="Freeform 450"/>
              <p:cNvSpPr>
                <a:spLocks/>
              </p:cNvSpPr>
              <p:nvPr/>
            </p:nvSpPr>
            <p:spPr bwMode="auto">
              <a:xfrm>
                <a:off x="2365199" y="4944828"/>
                <a:ext cx="145178" cy="231981"/>
              </a:xfrm>
              <a:custGeom>
                <a:avLst/>
                <a:gdLst/>
                <a:ahLst/>
                <a:cxnLst>
                  <a:cxn ang="0">
                    <a:pos x="32" y="129"/>
                  </a:cxn>
                  <a:cxn ang="0">
                    <a:pos x="32" y="129"/>
                  </a:cxn>
                  <a:cxn ang="0">
                    <a:pos x="34" y="133"/>
                  </a:cxn>
                  <a:cxn ang="0">
                    <a:pos x="35" y="136"/>
                  </a:cxn>
                  <a:cxn ang="0">
                    <a:pos x="39" y="137"/>
                  </a:cxn>
                  <a:cxn ang="0">
                    <a:pos x="41" y="138"/>
                  </a:cxn>
                  <a:cxn ang="0">
                    <a:pos x="41" y="138"/>
                  </a:cxn>
                  <a:cxn ang="0">
                    <a:pos x="45" y="137"/>
                  </a:cxn>
                  <a:cxn ang="0">
                    <a:pos x="48" y="136"/>
                  </a:cxn>
                  <a:cxn ang="0">
                    <a:pos x="49" y="133"/>
                  </a:cxn>
                  <a:cxn ang="0">
                    <a:pos x="50" y="129"/>
                  </a:cxn>
                  <a:cxn ang="0">
                    <a:pos x="50" y="129"/>
                  </a:cxn>
                  <a:cxn ang="0">
                    <a:pos x="49" y="125"/>
                  </a:cxn>
                  <a:cxn ang="0">
                    <a:pos x="48" y="123"/>
                  </a:cxn>
                  <a:cxn ang="0">
                    <a:pos x="45" y="122"/>
                  </a:cxn>
                  <a:cxn ang="0">
                    <a:pos x="41" y="120"/>
                  </a:cxn>
                  <a:cxn ang="0">
                    <a:pos x="7" y="120"/>
                  </a:cxn>
                  <a:cxn ang="0">
                    <a:pos x="7" y="120"/>
                  </a:cxn>
                  <a:cxn ang="0">
                    <a:pos x="5" y="120"/>
                  </a:cxn>
                  <a:cxn ang="0">
                    <a:pos x="2" y="119"/>
                  </a:cxn>
                  <a:cxn ang="0">
                    <a:pos x="1" y="117"/>
                  </a:cxn>
                  <a:cxn ang="0">
                    <a:pos x="0" y="11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1" y="4"/>
                  </a:cxn>
                  <a:cxn ang="0">
                    <a:pos x="2" y="2"/>
                  </a:cxn>
                  <a:cxn ang="0">
                    <a:pos x="5" y="1"/>
                  </a:cxn>
                  <a:cxn ang="0">
                    <a:pos x="7" y="0"/>
                  </a:cxn>
                  <a:cxn ang="0">
                    <a:pos x="84" y="0"/>
                  </a:cxn>
                  <a:cxn ang="0">
                    <a:pos x="84" y="0"/>
                  </a:cxn>
                  <a:cxn ang="0">
                    <a:pos x="87" y="1"/>
                  </a:cxn>
                  <a:cxn ang="0">
                    <a:pos x="88" y="2"/>
                  </a:cxn>
                  <a:cxn ang="0">
                    <a:pos x="89" y="4"/>
                  </a:cxn>
                  <a:cxn ang="0">
                    <a:pos x="91" y="6"/>
                  </a:cxn>
                  <a:cxn ang="0">
                    <a:pos x="91" y="139"/>
                  </a:cxn>
                  <a:cxn ang="0">
                    <a:pos x="91" y="139"/>
                  </a:cxn>
                  <a:cxn ang="0">
                    <a:pos x="89" y="142"/>
                  </a:cxn>
                  <a:cxn ang="0">
                    <a:pos x="88" y="144"/>
                  </a:cxn>
                  <a:cxn ang="0">
                    <a:pos x="87" y="146"/>
                  </a:cxn>
                  <a:cxn ang="0">
                    <a:pos x="84" y="146"/>
                  </a:cxn>
                </a:cxnLst>
                <a:rect l="0" t="0" r="r" b="b"/>
                <a:pathLst>
                  <a:path w="91" h="146">
                    <a:moveTo>
                      <a:pt x="32" y="129"/>
                    </a:moveTo>
                    <a:lnTo>
                      <a:pt x="32" y="129"/>
                    </a:lnTo>
                    <a:lnTo>
                      <a:pt x="34" y="133"/>
                    </a:lnTo>
                    <a:lnTo>
                      <a:pt x="35" y="136"/>
                    </a:lnTo>
                    <a:lnTo>
                      <a:pt x="39" y="137"/>
                    </a:lnTo>
                    <a:lnTo>
                      <a:pt x="41" y="138"/>
                    </a:lnTo>
                    <a:lnTo>
                      <a:pt x="41" y="138"/>
                    </a:lnTo>
                    <a:lnTo>
                      <a:pt x="45" y="137"/>
                    </a:lnTo>
                    <a:lnTo>
                      <a:pt x="48" y="136"/>
                    </a:lnTo>
                    <a:lnTo>
                      <a:pt x="49" y="133"/>
                    </a:lnTo>
                    <a:lnTo>
                      <a:pt x="50" y="129"/>
                    </a:lnTo>
                    <a:lnTo>
                      <a:pt x="50" y="129"/>
                    </a:lnTo>
                    <a:lnTo>
                      <a:pt x="49" y="125"/>
                    </a:lnTo>
                    <a:lnTo>
                      <a:pt x="48" y="123"/>
                    </a:lnTo>
                    <a:lnTo>
                      <a:pt x="45" y="122"/>
                    </a:lnTo>
                    <a:lnTo>
                      <a:pt x="41" y="120"/>
                    </a:lnTo>
                    <a:lnTo>
                      <a:pt x="7" y="120"/>
                    </a:lnTo>
                    <a:lnTo>
                      <a:pt x="7" y="120"/>
                    </a:lnTo>
                    <a:lnTo>
                      <a:pt x="5" y="120"/>
                    </a:lnTo>
                    <a:lnTo>
                      <a:pt x="2" y="119"/>
                    </a:lnTo>
                    <a:lnTo>
                      <a:pt x="1" y="117"/>
                    </a:lnTo>
                    <a:lnTo>
                      <a:pt x="0" y="11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5" y="1"/>
                    </a:lnTo>
                    <a:lnTo>
                      <a:pt x="7" y="0"/>
                    </a:lnTo>
                    <a:lnTo>
                      <a:pt x="84" y="0"/>
                    </a:lnTo>
                    <a:lnTo>
                      <a:pt x="84" y="0"/>
                    </a:lnTo>
                    <a:lnTo>
                      <a:pt x="87" y="1"/>
                    </a:lnTo>
                    <a:lnTo>
                      <a:pt x="88" y="2"/>
                    </a:lnTo>
                    <a:lnTo>
                      <a:pt x="89" y="4"/>
                    </a:lnTo>
                    <a:lnTo>
                      <a:pt x="91" y="6"/>
                    </a:lnTo>
                    <a:lnTo>
                      <a:pt x="91" y="139"/>
                    </a:lnTo>
                    <a:lnTo>
                      <a:pt x="91" y="139"/>
                    </a:lnTo>
                    <a:lnTo>
                      <a:pt x="89" y="142"/>
                    </a:lnTo>
                    <a:lnTo>
                      <a:pt x="88" y="144"/>
                    </a:lnTo>
                    <a:lnTo>
                      <a:pt x="87" y="146"/>
                    </a:lnTo>
                    <a:lnTo>
                      <a:pt x="84" y="146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6" name="Groupe 836"/>
            <p:cNvGrpSpPr>
              <a:grpSpLocks/>
            </p:cNvGrpSpPr>
            <p:nvPr userDrawn="1"/>
          </p:nvGrpSpPr>
          <p:grpSpPr bwMode="auto">
            <a:xfrm>
              <a:off x="6165033" y="2867225"/>
              <a:ext cx="722304" cy="534472"/>
              <a:chOff x="1163614" y="7062589"/>
              <a:chExt cx="344488" cy="260350"/>
            </a:xfrm>
          </p:grpSpPr>
          <p:sp>
            <p:nvSpPr>
              <p:cNvPr id="26" name="Freeform 578"/>
              <p:cNvSpPr>
                <a:spLocks/>
              </p:cNvSpPr>
              <p:nvPr/>
            </p:nvSpPr>
            <p:spPr bwMode="auto">
              <a:xfrm>
                <a:off x="1477958" y="7108914"/>
                <a:ext cx="30348" cy="166252"/>
              </a:xfrm>
              <a:custGeom>
                <a:avLst/>
                <a:gdLst/>
                <a:ahLst/>
                <a:cxnLst>
                  <a:cxn ang="0">
                    <a:pos x="0" y="105"/>
                  </a:cxn>
                  <a:cxn ang="0">
                    <a:pos x="0" y="105"/>
                  </a:cxn>
                  <a:cxn ang="0">
                    <a:pos x="7" y="94"/>
                  </a:cxn>
                  <a:cxn ang="0">
                    <a:pos x="14" y="81"/>
                  </a:cxn>
                  <a:cxn ang="0">
                    <a:pos x="17" y="67"/>
                  </a:cxn>
                  <a:cxn ang="0">
                    <a:pos x="19" y="52"/>
                  </a:cxn>
                  <a:cxn ang="0">
                    <a:pos x="19" y="52"/>
                  </a:cxn>
                  <a:cxn ang="0">
                    <a:pos x="17" y="38"/>
                  </a:cxn>
                  <a:cxn ang="0">
                    <a:pos x="14" y="24"/>
                  </a:cxn>
                  <a:cxn ang="0">
                    <a:pos x="7" y="12"/>
                  </a:cxn>
                  <a:cxn ang="0">
                    <a:pos x="0" y="0"/>
                  </a:cxn>
                </a:cxnLst>
                <a:rect l="0" t="0" r="r" b="b"/>
                <a:pathLst>
                  <a:path w="19" h="105">
                    <a:moveTo>
                      <a:pt x="0" y="105"/>
                    </a:moveTo>
                    <a:lnTo>
                      <a:pt x="0" y="105"/>
                    </a:lnTo>
                    <a:lnTo>
                      <a:pt x="7" y="94"/>
                    </a:lnTo>
                    <a:lnTo>
                      <a:pt x="14" y="81"/>
                    </a:lnTo>
                    <a:lnTo>
                      <a:pt x="17" y="67"/>
                    </a:lnTo>
                    <a:lnTo>
                      <a:pt x="19" y="52"/>
                    </a:lnTo>
                    <a:lnTo>
                      <a:pt x="19" y="52"/>
                    </a:lnTo>
                    <a:lnTo>
                      <a:pt x="17" y="38"/>
                    </a:lnTo>
                    <a:lnTo>
                      <a:pt x="14" y="24"/>
                    </a:lnTo>
                    <a:lnTo>
                      <a:pt x="7" y="12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7" name="Freeform 579"/>
              <p:cNvSpPr>
                <a:spLocks/>
              </p:cNvSpPr>
              <p:nvPr/>
            </p:nvSpPr>
            <p:spPr bwMode="auto">
              <a:xfrm>
                <a:off x="1277825" y="7273619"/>
                <a:ext cx="10170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7" y="7"/>
                  </a:cxn>
                  <a:cxn ang="0">
                    <a:pos x="13" y="13"/>
                  </a:cxn>
                  <a:cxn ang="0">
                    <a:pos x="21" y="18"/>
                  </a:cxn>
                  <a:cxn ang="0">
                    <a:pos x="28" y="22"/>
                  </a:cxn>
                  <a:cxn ang="0">
                    <a:pos x="36" y="26"/>
                  </a:cxn>
                  <a:cxn ang="0">
                    <a:pos x="45" y="28"/>
                  </a:cxn>
                  <a:cxn ang="0">
                    <a:pos x="54" y="29"/>
                  </a:cxn>
                  <a:cxn ang="0">
                    <a:pos x="64" y="31"/>
                  </a:cxn>
                </a:cxnLst>
                <a:rect l="0" t="0" r="r" b="b"/>
                <a:pathLst>
                  <a:path w="64" h="31">
                    <a:moveTo>
                      <a:pt x="0" y="0"/>
                    </a:moveTo>
                    <a:lnTo>
                      <a:pt x="0" y="0"/>
                    </a:lnTo>
                    <a:lnTo>
                      <a:pt x="7" y="7"/>
                    </a:lnTo>
                    <a:lnTo>
                      <a:pt x="13" y="13"/>
                    </a:lnTo>
                    <a:lnTo>
                      <a:pt x="21" y="18"/>
                    </a:lnTo>
                    <a:lnTo>
                      <a:pt x="28" y="22"/>
                    </a:lnTo>
                    <a:lnTo>
                      <a:pt x="36" y="26"/>
                    </a:lnTo>
                    <a:lnTo>
                      <a:pt x="45" y="28"/>
                    </a:lnTo>
                    <a:lnTo>
                      <a:pt x="54" y="29"/>
                    </a:lnTo>
                    <a:lnTo>
                      <a:pt x="64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8" name="Line 580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9" name="Line 581"/>
              <p:cNvSpPr>
                <a:spLocks noChangeShapeType="1"/>
              </p:cNvSpPr>
              <p:nvPr/>
            </p:nvSpPr>
            <p:spPr bwMode="auto">
              <a:xfrm>
                <a:off x="1277825" y="7108914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0" name="Freeform 582"/>
              <p:cNvSpPr>
                <a:spLocks/>
              </p:cNvSpPr>
              <p:nvPr/>
            </p:nvSpPr>
            <p:spPr bwMode="auto">
              <a:xfrm>
                <a:off x="1277825" y="7062518"/>
                <a:ext cx="200134" cy="46396"/>
              </a:xfrm>
              <a:custGeom>
                <a:avLst/>
                <a:gdLst/>
                <a:ahLst/>
                <a:cxnLst>
                  <a:cxn ang="0">
                    <a:pos x="0" y="29"/>
                  </a:cxn>
                  <a:cxn ang="0">
                    <a:pos x="0" y="29"/>
                  </a:cxn>
                  <a:cxn ang="0">
                    <a:pos x="7" y="23"/>
                  </a:cxn>
                  <a:cxn ang="0">
                    <a:pos x="13" y="17"/>
                  </a:cxn>
                  <a:cxn ang="0">
                    <a:pos x="21" y="12"/>
                  </a:cxn>
                  <a:cxn ang="0">
                    <a:pos x="28" y="8"/>
                  </a:cxn>
                  <a:cxn ang="0">
                    <a:pos x="37" y="4"/>
                  </a:cxn>
                  <a:cxn ang="0">
                    <a:pos x="45" y="3"/>
                  </a:cxn>
                  <a:cxn ang="0">
                    <a:pos x="54" y="0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73" y="0"/>
                  </a:cxn>
                  <a:cxn ang="0">
                    <a:pos x="81" y="3"/>
                  </a:cxn>
                  <a:cxn ang="0">
                    <a:pos x="90" y="4"/>
                  </a:cxn>
                  <a:cxn ang="0">
                    <a:pos x="98" y="8"/>
                  </a:cxn>
                  <a:cxn ang="0">
                    <a:pos x="105" y="12"/>
                  </a:cxn>
                  <a:cxn ang="0">
                    <a:pos x="113" y="17"/>
                  </a:cxn>
                  <a:cxn ang="0">
                    <a:pos x="119" y="23"/>
                  </a:cxn>
                  <a:cxn ang="0">
                    <a:pos x="126" y="29"/>
                  </a:cxn>
                </a:cxnLst>
                <a:rect l="0" t="0" r="r" b="b"/>
                <a:pathLst>
                  <a:path w="126" h="29">
                    <a:moveTo>
                      <a:pt x="0" y="29"/>
                    </a:moveTo>
                    <a:lnTo>
                      <a:pt x="0" y="29"/>
                    </a:lnTo>
                    <a:lnTo>
                      <a:pt x="7" y="23"/>
                    </a:lnTo>
                    <a:lnTo>
                      <a:pt x="13" y="17"/>
                    </a:lnTo>
                    <a:lnTo>
                      <a:pt x="21" y="12"/>
                    </a:lnTo>
                    <a:lnTo>
                      <a:pt x="28" y="8"/>
                    </a:lnTo>
                    <a:lnTo>
                      <a:pt x="37" y="4"/>
                    </a:lnTo>
                    <a:lnTo>
                      <a:pt x="45" y="3"/>
                    </a:lnTo>
                    <a:lnTo>
                      <a:pt x="5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73" y="0"/>
                    </a:lnTo>
                    <a:lnTo>
                      <a:pt x="81" y="3"/>
                    </a:lnTo>
                    <a:lnTo>
                      <a:pt x="90" y="4"/>
                    </a:lnTo>
                    <a:lnTo>
                      <a:pt x="98" y="8"/>
                    </a:lnTo>
                    <a:lnTo>
                      <a:pt x="105" y="12"/>
                    </a:lnTo>
                    <a:lnTo>
                      <a:pt x="113" y="17"/>
                    </a:lnTo>
                    <a:lnTo>
                      <a:pt x="119" y="23"/>
                    </a:lnTo>
                    <a:lnTo>
                      <a:pt x="126" y="2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1" name="Freeform 583"/>
              <p:cNvSpPr>
                <a:spLocks/>
              </p:cNvSpPr>
              <p:nvPr/>
            </p:nvSpPr>
            <p:spPr bwMode="auto">
              <a:xfrm>
                <a:off x="1277825" y="7108914"/>
                <a:ext cx="200134" cy="2165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3" y="7"/>
                  </a:cxn>
                  <a:cxn ang="0">
                    <a:pos x="28" y="10"/>
                  </a:cxn>
                  <a:cxn ang="0">
                    <a:pos x="45" y="13"/>
                  </a:cxn>
                  <a:cxn ang="0">
                    <a:pos x="62" y="14"/>
                  </a:cxn>
                  <a:cxn ang="0">
                    <a:pos x="62" y="14"/>
                  </a:cxn>
                  <a:cxn ang="0">
                    <a:pos x="81" y="13"/>
                  </a:cxn>
                  <a:cxn ang="0">
                    <a:pos x="98" y="10"/>
                  </a:cxn>
                  <a:cxn ang="0">
                    <a:pos x="113" y="5"/>
                  </a:cxn>
                  <a:cxn ang="0">
                    <a:pos x="126" y="0"/>
                  </a:cxn>
                </a:cxnLst>
                <a:rect l="0" t="0" r="r" b="b"/>
                <a:pathLst>
                  <a:path w="126" h="14">
                    <a:moveTo>
                      <a:pt x="0" y="0"/>
                    </a:moveTo>
                    <a:lnTo>
                      <a:pt x="0" y="0"/>
                    </a:lnTo>
                    <a:lnTo>
                      <a:pt x="13" y="7"/>
                    </a:lnTo>
                    <a:lnTo>
                      <a:pt x="28" y="10"/>
                    </a:lnTo>
                    <a:lnTo>
                      <a:pt x="45" y="13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1" y="13"/>
                    </a:lnTo>
                    <a:lnTo>
                      <a:pt x="98" y="10"/>
                    </a:lnTo>
                    <a:lnTo>
                      <a:pt x="113" y="5"/>
                    </a:lnTo>
                    <a:lnTo>
                      <a:pt x="126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2" name="Freeform 584"/>
              <p:cNvSpPr>
                <a:spLocks/>
              </p:cNvSpPr>
              <p:nvPr/>
            </p:nvSpPr>
            <p:spPr bwMode="auto">
              <a:xfrm>
                <a:off x="1277825" y="7251968"/>
                <a:ext cx="200134" cy="23198"/>
              </a:xfrm>
              <a:custGeom>
                <a:avLst/>
                <a:gdLst/>
                <a:ahLst/>
                <a:cxnLst>
                  <a:cxn ang="0">
                    <a:pos x="126" y="14"/>
                  </a:cxn>
                  <a:cxn ang="0">
                    <a:pos x="126" y="14"/>
                  </a:cxn>
                  <a:cxn ang="0">
                    <a:pos x="113" y="9"/>
                  </a:cxn>
                  <a:cxn ang="0">
                    <a:pos x="98" y="4"/>
                  </a:cxn>
                  <a:cxn ang="0">
                    <a:pos x="81" y="2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45" y="2"/>
                  </a:cxn>
                  <a:cxn ang="0">
                    <a:pos x="28" y="4"/>
                  </a:cxn>
                  <a:cxn ang="0">
                    <a:pos x="13" y="9"/>
                  </a:cxn>
                  <a:cxn ang="0">
                    <a:pos x="0" y="15"/>
                  </a:cxn>
                </a:cxnLst>
                <a:rect l="0" t="0" r="r" b="b"/>
                <a:pathLst>
                  <a:path w="126" h="15">
                    <a:moveTo>
                      <a:pt x="126" y="14"/>
                    </a:moveTo>
                    <a:lnTo>
                      <a:pt x="126" y="14"/>
                    </a:lnTo>
                    <a:lnTo>
                      <a:pt x="113" y="9"/>
                    </a:lnTo>
                    <a:lnTo>
                      <a:pt x="98" y="4"/>
                    </a:lnTo>
                    <a:lnTo>
                      <a:pt x="81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45" y="2"/>
                    </a:lnTo>
                    <a:lnTo>
                      <a:pt x="28" y="4"/>
                    </a:lnTo>
                    <a:lnTo>
                      <a:pt x="13" y="9"/>
                    </a:lnTo>
                    <a:lnTo>
                      <a:pt x="0" y="1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3" name="Freeform 585"/>
              <p:cNvSpPr>
                <a:spLocks/>
              </p:cNvSpPr>
              <p:nvPr/>
            </p:nvSpPr>
            <p:spPr bwMode="auto">
              <a:xfrm>
                <a:off x="1308173" y="7062518"/>
                <a:ext cx="141078" cy="260591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81"/>
                  </a:cxn>
                  <a:cxn ang="0">
                    <a:pos x="2" y="65"/>
                  </a:cxn>
                  <a:cxn ang="0">
                    <a:pos x="4" y="50"/>
                  </a:cxn>
                  <a:cxn ang="0">
                    <a:pos x="8" y="36"/>
                  </a:cxn>
                  <a:cxn ang="0">
                    <a:pos x="13" y="24"/>
                  </a:cxn>
                  <a:cxn ang="0">
                    <a:pos x="19" y="14"/>
                  </a:cxn>
                  <a:cxn ang="0">
                    <a:pos x="27" y="7"/>
                  </a:cxn>
                  <a:cxn ang="0">
                    <a:pos x="36" y="1"/>
                  </a:cxn>
                  <a:cxn ang="0">
                    <a:pos x="40" y="0"/>
                  </a:cxn>
                  <a:cxn ang="0">
                    <a:pos x="45" y="0"/>
                  </a:cxn>
                  <a:cxn ang="0">
                    <a:pos x="45" y="0"/>
                  </a:cxn>
                  <a:cxn ang="0">
                    <a:pos x="48" y="0"/>
                  </a:cxn>
                  <a:cxn ang="0">
                    <a:pos x="54" y="1"/>
                  </a:cxn>
                  <a:cxn ang="0">
                    <a:pos x="61" y="7"/>
                  </a:cxn>
                  <a:cxn ang="0">
                    <a:pos x="69" y="14"/>
                  </a:cxn>
                  <a:cxn ang="0">
                    <a:pos x="75" y="24"/>
                  </a:cxn>
                  <a:cxn ang="0">
                    <a:pos x="81" y="36"/>
                  </a:cxn>
                  <a:cxn ang="0">
                    <a:pos x="85" y="50"/>
                  </a:cxn>
                  <a:cxn ang="0">
                    <a:pos x="88" y="65"/>
                  </a:cxn>
                  <a:cxn ang="0">
                    <a:pos x="89" y="81"/>
                  </a:cxn>
                  <a:cxn ang="0">
                    <a:pos x="89" y="81"/>
                  </a:cxn>
                  <a:cxn ang="0">
                    <a:pos x="88" y="98"/>
                  </a:cxn>
                  <a:cxn ang="0">
                    <a:pos x="85" y="113"/>
                  </a:cxn>
                  <a:cxn ang="0">
                    <a:pos x="81" y="127"/>
                  </a:cxn>
                  <a:cxn ang="0">
                    <a:pos x="75" y="140"/>
                  </a:cxn>
                  <a:cxn ang="0">
                    <a:pos x="69" y="150"/>
                  </a:cxn>
                  <a:cxn ang="0">
                    <a:pos x="61" y="157"/>
                  </a:cxn>
                  <a:cxn ang="0">
                    <a:pos x="54" y="161"/>
                  </a:cxn>
                  <a:cxn ang="0">
                    <a:pos x="48" y="162"/>
                  </a:cxn>
                  <a:cxn ang="0">
                    <a:pos x="45" y="164"/>
                  </a:cxn>
                  <a:cxn ang="0">
                    <a:pos x="45" y="164"/>
                  </a:cxn>
                  <a:cxn ang="0">
                    <a:pos x="38" y="162"/>
                  </a:cxn>
                  <a:cxn ang="0">
                    <a:pos x="33" y="160"/>
                  </a:cxn>
                  <a:cxn ang="0">
                    <a:pos x="27" y="157"/>
                  </a:cxn>
                  <a:cxn ang="0">
                    <a:pos x="22" y="152"/>
                  </a:cxn>
                  <a:cxn ang="0">
                    <a:pos x="18" y="147"/>
                  </a:cxn>
                  <a:cxn ang="0">
                    <a:pos x="13" y="140"/>
                  </a:cxn>
                  <a:cxn ang="0">
                    <a:pos x="9" y="132"/>
                  </a:cxn>
                  <a:cxn ang="0">
                    <a:pos x="7" y="124"/>
                  </a:cxn>
                </a:cxnLst>
                <a:rect l="0" t="0" r="r" b="b"/>
                <a:pathLst>
                  <a:path w="89" h="164">
                    <a:moveTo>
                      <a:pt x="0" y="81"/>
                    </a:moveTo>
                    <a:lnTo>
                      <a:pt x="0" y="81"/>
                    </a:lnTo>
                    <a:lnTo>
                      <a:pt x="2" y="65"/>
                    </a:lnTo>
                    <a:lnTo>
                      <a:pt x="4" y="50"/>
                    </a:lnTo>
                    <a:lnTo>
                      <a:pt x="8" y="36"/>
                    </a:lnTo>
                    <a:lnTo>
                      <a:pt x="13" y="24"/>
                    </a:lnTo>
                    <a:lnTo>
                      <a:pt x="19" y="14"/>
                    </a:lnTo>
                    <a:lnTo>
                      <a:pt x="27" y="7"/>
                    </a:lnTo>
                    <a:lnTo>
                      <a:pt x="36" y="1"/>
                    </a:lnTo>
                    <a:lnTo>
                      <a:pt x="40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8" y="0"/>
                    </a:lnTo>
                    <a:lnTo>
                      <a:pt x="54" y="1"/>
                    </a:lnTo>
                    <a:lnTo>
                      <a:pt x="61" y="7"/>
                    </a:lnTo>
                    <a:lnTo>
                      <a:pt x="69" y="14"/>
                    </a:lnTo>
                    <a:lnTo>
                      <a:pt x="75" y="24"/>
                    </a:lnTo>
                    <a:lnTo>
                      <a:pt x="81" y="36"/>
                    </a:lnTo>
                    <a:lnTo>
                      <a:pt x="85" y="50"/>
                    </a:lnTo>
                    <a:lnTo>
                      <a:pt x="88" y="65"/>
                    </a:lnTo>
                    <a:lnTo>
                      <a:pt x="89" y="81"/>
                    </a:lnTo>
                    <a:lnTo>
                      <a:pt x="89" y="81"/>
                    </a:lnTo>
                    <a:lnTo>
                      <a:pt x="88" y="98"/>
                    </a:lnTo>
                    <a:lnTo>
                      <a:pt x="85" y="113"/>
                    </a:lnTo>
                    <a:lnTo>
                      <a:pt x="81" y="127"/>
                    </a:lnTo>
                    <a:lnTo>
                      <a:pt x="75" y="140"/>
                    </a:lnTo>
                    <a:lnTo>
                      <a:pt x="69" y="150"/>
                    </a:lnTo>
                    <a:lnTo>
                      <a:pt x="61" y="157"/>
                    </a:lnTo>
                    <a:lnTo>
                      <a:pt x="54" y="161"/>
                    </a:lnTo>
                    <a:lnTo>
                      <a:pt x="48" y="162"/>
                    </a:lnTo>
                    <a:lnTo>
                      <a:pt x="45" y="164"/>
                    </a:lnTo>
                    <a:lnTo>
                      <a:pt x="45" y="164"/>
                    </a:lnTo>
                    <a:lnTo>
                      <a:pt x="38" y="162"/>
                    </a:lnTo>
                    <a:lnTo>
                      <a:pt x="33" y="160"/>
                    </a:lnTo>
                    <a:lnTo>
                      <a:pt x="27" y="157"/>
                    </a:lnTo>
                    <a:lnTo>
                      <a:pt x="22" y="152"/>
                    </a:lnTo>
                    <a:lnTo>
                      <a:pt x="18" y="147"/>
                    </a:lnTo>
                    <a:lnTo>
                      <a:pt x="13" y="140"/>
                    </a:lnTo>
                    <a:lnTo>
                      <a:pt x="9" y="132"/>
                    </a:lnTo>
                    <a:lnTo>
                      <a:pt x="7" y="124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4" name="Line 586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26083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5" name="Line 587"/>
              <p:cNvSpPr>
                <a:spLocks noChangeShapeType="1"/>
              </p:cNvSpPr>
              <p:nvPr/>
            </p:nvSpPr>
            <p:spPr bwMode="auto">
              <a:xfrm flipV="1">
                <a:off x="1379532" y="7062518"/>
                <a:ext cx="820" cy="260591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6" name="Line 588"/>
              <p:cNvSpPr>
                <a:spLocks noChangeShapeType="1"/>
              </p:cNvSpPr>
              <p:nvPr/>
            </p:nvSpPr>
            <p:spPr bwMode="auto">
              <a:xfrm>
                <a:off x="1163814" y="7167682"/>
                <a:ext cx="83662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7" name="Freeform 589"/>
              <p:cNvSpPr>
                <a:spLocks/>
              </p:cNvSpPr>
              <p:nvPr/>
            </p:nvSpPr>
            <p:spPr bwMode="auto">
              <a:xfrm>
                <a:off x="1247477" y="7143711"/>
                <a:ext cx="25427" cy="4717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" y="15"/>
                  </a:cxn>
                  <a:cxn ang="0">
                    <a:pos x="0" y="30"/>
                  </a:cxn>
                </a:cxnLst>
                <a:rect l="0" t="0" r="r" b="b"/>
                <a:pathLst>
                  <a:path w="16" h="30">
                    <a:moveTo>
                      <a:pt x="0" y="0"/>
                    </a:moveTo>
                    <a:lnTo>
                      <a:pt x="16" y="15"/>
                    </a:lnTo>
                    <a:lnTo>
                      <a:pt x="0" y="3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8" name="Line 590"/>
              <p:cNvSpPr>
                <a:spLocks noChangeShapeType="1"/>
              </p:cNvSpPr>
              <p:nvPr/>
            </p:nvSpPr>
            <p:spPr bwMode="auto">
              <a:xfrm>
                <a:off x="1231892" y="7235730"/>
                <a:ext cx="86943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9" name="Freeform 591"/>
              <p:cNvSpPr>
                <a:spLocks/>
              </p:cNvSpPr>
              <p:nvPr/>
            </p:nvSpPr>
            <p:spPr bwMode="auto">
              <a:xfrm>
                <a:off x="1318836" y="7210212"/>
                <a:ext cx="2378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" y="16"/>
                  </a:cxn>
                  <a:cxn ang="0">
                    <a:pos x="0" y="31"/>
                  </a:cxn>
                </a:cxnLst>
                <a:rect l="0" t="0" r="r" b="b"/>
                <a:pathLst>
                  <a:path w="15" h="31">
                    <a:moveTo>
                      <a:pt x="0" y="0"/>
                    </a:moveTo>
                    <a:lnTo>
                      <a:pt x="15" y="16"/>
                    </a:lnTo>
                    <a:lnTo>
                      <a:pt x="0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7" name="Groupe 320"/>
            <p:cNvGrpSpPr>
              <a:grpSpLocks/>
            </p:cNvGrpSpPr>
            <p:nvPr userDrawn="1"/>
          </p:nvGrpSpPr>
          <p:grpSpPr bwMode="auto">
            <a:xfrm>
              <a:off x="4610305" y="2502608"/>
              <a:ext cx="442816" cy="482367"/>
              <a:chOff x="4430703" y="4715239"/>
              <a:chExt cx="374626" cy="416805"/>
            </a:xfrm>
          </p:grpSpPr>
          <p:sp>
            <p:nvSpPr>
              <p:cNvPr id="21" name="Freeform 897"/>
              <p:cNvSpPr>
                <a:spLocks/>
              </p:cNvSpPr>
              <p:nvPr/>
            </p:nvSpPr>
            <p:spPr bwMode="auto">
              <a:xfrm>
                <a:off x="4649334" y="4788757"/>
                <a:ext cx="155680" cy="256503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4912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0" fmla="*/ 4737 w 9825"/>
                  <a:gd name="connsiteY0" fmla="*/ 10000 h 10000"/>
                  <a:gd name="connsiteX1" fmla="*/ 4737 w 9825"/>
                  <a:gd name="connsiteY1" fmla="*/ 10000 h 10000"/>
                  <a:gd name="connsiteX2" fmla="*/ 6579 w 9825"/>
                  <a:gd name="connsiteY2" fmla="*/ 10000 h 10000"/>
                  <a:gd name="connsiteX3" fmla="*/ 8246 w 9825"/>
                  <a:gd name="connsiteY3" fmla="*/ 9938 h 10000"/>
                  <a:gd name="connsiteX4" fmla="*/ 9386 w 9825"/>
                  <a:gd name="connsiteY4" fmla="*/ 9814 h 10000"/>
                  <a:gd name="connsiteX5" fmla="*/ 9737 w 9825"/>
                  <a:gd name="connsiteY5" fmla="*/ 9752 h 10000"/>
                  <a:gd name="connsiteX6" fmla="*/ 9825 w 9825"/>
                  <a:gd name="connsiteY6" fmla="*/ 9689 h 10000"/>
                  <a:gd name="connsiteX7" fmla="*/ 9825 w 9825"/>
                  <a:gd name="connsiteY7" fmla="*/ 9689 h 10000"/>
                  <a:gd name="connsiteX8" fmla="*/ 9825 w 9825"/>
                  <a:gd name="connsiteY8" fmla="*/ 8634 h 10000"/>
                  <a:gd name="connsiteX9" fmla="*/ 9737 w 9825"/>
                  <a:gd name="connsiteY9" fmla="*/ 7702 h 10000"/>
                  <a:gd name="connsiteX10" fmla="*/ 9386 w 9825"/>
                  <a:gd name="connsiteY10" fmla="*/ 6832 h 10000"/>
                  <a:gd name="connsiteX11" fmla="*/ 9036 w 9825"/>
                  <a:gd name="connsiteY11" fmla="*/ 6087 h 10000"/>
                  <a:gd name="connsiteX12" fmla="*/ 8509 w 9825"/>
                  <a:gd name="connsiteY12" fmla="*/ 5342 h 10000"/>
                  <a:gd name="connsiteX13" fmla="*/ 7807 w 9825"/>
                  <a:gd name="connsiteY13" fmla="*/ 4783 h 10000"/>
                  <a:gd name="connsiteX14" fmla="*/ 6930 w 9825"/>
                  <a:gd name="connsiteY14" fmla="*/ 4410 h 10000"/>
                  <a:gd name="connsiteX15" fmla="*/ 5965 w 9825"/>
                  <a:gd name="connsiteY15" fmla="*/ 4099 h 10000"/>
                  <a:gd name="connsiteX16" fmla="*/ 5965 w 9825"/>
                  <a:gd name="connsiteY16" fmla="*/ 4099 h 10000"/>
                  <a:gd name="connsiteX17" fmla="*/ 6492 w 9825"/>
                  <a:gd name="connsiteY17" fmla="*/ 3727 h 10000"/>
                  <a:gd name="connsiteX18" fmla="*/ 6843 w 9825"/>
                  <a:gd name="connsiteY18" fmla="*/ 3230 h 10000"/>
                  <a:gd name="connsiteX19" fmla="*/ 7106 w 9825"/>
                  <a:gd name="connsiteY19" fmla="*/ 2671 h 10000"/>
                  <a:gd name="connsiteX20" fmla="*/ 7369 w 9825"/>
                  <a:gd name="connsiteY20" fmla="*/ 2112 h 10000"/>
                  <a:gd name="connsiteX21" fmla="*/ 7369 w 9825"/>
                  <a:gd name="connsiteY21" fmla="*/ 2112 h 10000"/>
                  <a:gd name="connsiteX22" fmla="*/ 7281 w 9825"/>
                  <a:gd name="connsiteY22" fmla="*/ 1677 h 10000"/>
                  <a:gd name="connsiteX23" fmla="*/ 7106 w 9825"/>
                  <a:gd name="connsiteY23" fmla="*/ 1242 h 10000"/>
                  <a:gd name="connsiteX24" fmla="*/ 6930 w 9825"/>
                  <a:gd name="connsiteY24" fmla="*/ 870 h 10000"/>
                  <a:gd name="connsiteX25" fmla="*/ 6579 w 9825"/>
                  <a:gd name="connsiteY25" fmla="*/ 559 h 10000"/>
                  <a:gd name="connsiteX26" fmla="*/ 6229 w 9825"/>
                  <a:gd name="connsiteY26" fmla="*/ 311 h 10000"/>
                  <a:gd name="connsiteX27" fmla="*/ 5790 w 9825"/>
                  <a:gd name="connsiteY27" fmla="*/ 186 h 10000"/>
                  <a:gd name="connsiteX28" fmla="*/ 5351 w 9825"/>
                  <a:gd name="connsiteY28" fmla="*/ 0 h 10000"/>
                  <a:gd name="connsiteX29" fmla="*/ 4825 w 9825"/>
                  <a:gd name="connsiteY29" fmla="*/ 0 h 10000"/>
                  <a:gd name="connsiteX30" fmla="*/ 4825 w 9825"/>
                  <a:gd name="connsiteY30" fmla="*/ 0 h 10000"/>
                  <a:gd name="connsiteX31" fmla="*/ 4386 w 9825"/>
                  <a:gd name="connsiteY31" fmla="*/ 0 h 10000"/>
                  <a:gd name="connsiteX32" fmla="*/ 3948 w 9825"/>
                  <a:gd name="connsiteY32" fmla="*/ 186 h 10000"/>
                  <a:gd name="connsiteX33" fmla="*/ 3509 w 9825"/>
                  <a:gd name="connsiteY33" fmla="*/ 311 h 10000"/>
                  <a:gd name="connsiteX34" fmla="*/ 3071 w 9825"/>
                  <a:gd name="connsiteY34" fmla="*/ 559 h 10000"/>
                  <a:gd name="connsiteX35" fmla="*/ 2807 w 9825"/>
                  <a:gd name="connsiteY35" fmla="*/ 870 h 10000"/>
                  <a:gd name="connsiteX36" fmla="*/ 2544 w 9825"/>
                  <a:gd name="connsiteY36" fmla="*/ 1242 h 10000"/>
                  <a:gd name="connsiteX37" fmla="*/ 2369 w 9825"/>
                  <a:gd name="connsiteY37" fmla="*/ 1677 h 10000"/>
                  <a:gd name="connsiteX38" fmla="*/ 2369 w 9825"/>
                  <a:gd name="connsiteY38" fmla="*/ 2112 h 10000"/>
                  <a:gd name="connsiteX39" fmla="*/ 2369 w 9825"/>
                  <a:gd name="connsiteY39" fmla="*/ 2112 h 10000"/>
                  <a:gd name="connsiteX40" fmla="*/ 2457 w 9825"/>
                  <a:gd name="connsiteY40" fmla="*/ 2671 h 10000"/>
                  <a:gd name="connsiteX41" fmla="*/ 2807 w 9825"/>
                  <a:gd name="connsiteY41" fmla="*/ 3230 h 10000"/>
                  <a:gd name="connsiteX42" fmla="*/ 3246 w 9825"/>
                  <a:gd name="connsiteY42" fmla="*/ 3727 h 10000"/>
                  <a:gd name="connsiteX43" fmla="*/ 3685 w 9825"/>
                  <a:gd name="connsiteY43" fmla="*/ 4099 h 10000"/>
                  <a:gd name="connsiteX44" fmla="*/ 3685 w 9825"/>
                  <a:gd name="connsiteY44" fmla="*/ 4099 h 10000"/>
                  <a:gd name="connsiteX45" fmla="*/ 2720 w 9825"/>
                  <a:gd name="connsiteY45" fmla="*/ 4410 h 10000"/>
                  <a:gd name="connsiteX46" fmla="*/ 1930 w 9825"/>
                  <a:gd name="connsiteY46" fmla="*/ 4783 h 10000"/>
                  <a:gd name="connsiteX47" fmla="*/ 1229 w 9825"/>
                  <a:gd name="connsiteY47" fmla="*/ 5342 h 10000"/>
                  <a:gd name="connsiteX48" fmla="*/ 702 w 9825"/>
                  <a:gd name="connsiteY48" fmla="*/ 6087 h 10000"/>
                  <a:gd name="connsiteX49" fmla="*/ 264 w 9825"/>
                  <a:gd name="connsiteY49" fmla="*/ 6832 h 10000"/>
                  <a:gd name="connsiteX50" fmla="*/ 0 w 9825"/>
                  <a:gd name="connsiteY50" fmla="*/ 7702 h 10000"/>
                  <a:gd name="connsiteX0" fmla="*/ 4552 w 9731"/>
                  <a:gd name="connsiteY0" fmla="*/ 10000 h 10000"/>
                  <a:gd name="connsiteX1" fmla="*/ 4552 w 9731"/>
                  <a:gd name="connsiteY1" fmla="*/ 10000 h 10000"/>
                  <a:gd name="connsiteX2" fmla="*/ 6427 w 9731"/>
                  <a:gd name="connsiteY2" fmla="*/ 10000 h 10000"/>
                  <a:gd name="connsiteX3" fmla="*/ 8124 w 9731"/>
                  <a:gd name="connsiteY3" fmla="*/ 9938 h 10000"/>
                  <a:gd name="connsiteX4" fmla="*/ 9284 w 9731"/>
                  <a:gd name="connsiteY4" fmla="*/ 9814 h 10000"/>
                  <a:gd name="connsiteX5" fmla="*/ 9641 w 9731"/>
                  <a:gd name="connsiteY5" fmla="*/ 9752 h 10000"/>
                  <a:gd name="connsiteX6" fmla="*/ 9731 w 9731"/>
                  <a:gd name="connsiteY6" fmla="*/ 9689 h 10000"/>
                  <a:gd name="connsiteX7" fmla="*/ 9731 w 9731"/>
                  <a:gd name="connsiteY7" fmla="*/ 9689 h 10000"/>
                  <a:gd name="connsiteX8" fmla="*/ 9731 w 9731"/>
                  <a:gd name="connsiteY8" fmla="*/ 8634 h 10000"/>
                  <a:gd name="connsiteX9" fmla="*/ 9641 w 9731"/>
                  <a:gd name="connsiteY9" fmla="*/ 7702 h 10000"/>
                  <a:gd name="connsiteX10" fmla="*/ 9284 w 9731"/>
                  <a:gd name="connsiteY10" fmla="*/ 6832 h 10000"/>
                  <a:gd name="connsiteX11" fmla="*/ 8928 w 9731"/>
                  <a:gd name="connsiteY11" fmla="*/ 6087 h 10000"/>
                  <a:gd name="connsiteX12" fmla="*/ 8392 w 9731"/>
                  <a:gd name="connsiteY12" fmla="*/ 5342 h 10000"/>
                  <a:gd name="connsiteX13" fmla="*/ 7677 w 9731"/>
                  <a:gd name="connsiteY13" fmla="*/ 4783 h 10000"/>
                  <a:gd name="connsiteX14" fmla="*/ 6784 w 9731"/>
                  <a:gd name="connsiteY14" fmla="*/ 4410 h 10000"/>
                  <a:gd name="connsiteX15" fmla="*/ 5802 w 9731"/>
                  <a:gd name="connsiteY15" fmla="*/ 4099 h 10000"/>
                  <a:gd name="connsiteX16" fmla="*/ 5802 w 9731"/>
                  <a:gd name="connsiteY16" fmla="*/ 4099 h 10000"/>
                  <a:gd name="connsiteX17" fmla="*/ 6339 w 9731"/>
                  <a:gd name="connsiteY17" fmla="*/ 3727 h 10000"/>
                  <a:gd name="connsiteX18" fmla="*/ 6696 w 9731"/>
                  <a:gd name="connsiteY18" fmla="*/ 3230 h 10000"/>
                  <a:gd name="connsiteX19" fmla="*/ 6964 w 9731"/>
                  <a:gd name="connsiteY19" fmla="*/ 2671 h 10000"/>
                  <a:gd name="connsiteX20" fmla="*/ 7231 w 9731"/>
                  <a:gd name="connsiteY20" fmla="*/ 2112 h 10000"/>
                  <a:gd name="connsiteX21" fmla="*/ 7231 w 9731"/>
                  <a:gd name="connsiteY21" fmla="*/ 2112 h 10000"/>
                  <a:gd name="connsiteX22" fmla="*/ 7142 w 9731"/>
                  <a:gd name="connsiteY22" fmla="*/ 1677 h 10000"/>
                  <a:gd name="connsiteX23" fmla="*/ 6964 w 9731"/>
                  <a:gd name="connsiteY23" fmla="*/ 1242 h 10000"/>
                  <a:gd name="connsiteX24" fmla="*/ 6784 w 9731"/>
                  <a:gd name="connsiteY24" fmla="*/ 870 h 10000"/>
                  <a:gd name="connsiteX25" fmla="*/ 6427 w 9731"/>
                  <a:gd name="connsiteY25" fmla="*/ 559 h 10000"/>
                  <a:gd name="connsiteX26" fmla="*/ 6071 w 9731"/>
                  <a:gd name="connsiteY26" fmla="*/ 311 h 10000"/>
                  <a:gd name="connsiteX27" fmla="*/ 5624 w 9731"/>
                  <a:gd name="connsiteY27" fmla="*/ 186 h 10000"/>
                  <a:gd name="connsiteX28" fmla="*/ 5177 w 9731"/>
                  <a:gd name="connsiteY28" fmla="*/ 0 h 10000"/>
                  <a:gd name="connsiteX29" fmla="*/ 4642 w 9731"/>
                  <a:gd name="connsiteY29" fmla="*/ 0 h 10000"/>
                  <a:gd name="connsiteX30" fmla="*/ 4642 w 9731"/>
                  <a:gd name="connsiteY30" fmla="*/ 0 h 10000"/>
                  <a:gd name="connsiteX31" fmla="*/ 4195 w 9731"/>
                  <a:gd name="connsiteY31" fmla="*/ 0 h 10000"/>
                  <a:gd name="connsiteX32" fmla="*/ 3749 w 9731"/>
                  <a:gd name="connsiteY32" fmla="*/ 186 h 10000"/>
                  <a:gd name="connsiteX33" fmla="*/ 3303 w 9731"/>
                  <a:gd name="connsiteY33" fmla="*/ 311 h 10000"/>
                  <a:gd name="connsiteX34" fmla="*/ 2857 w 9731"/>
                  <a:gd name="connsiteY34" fmla="*/ 559 h 10000"/>
                  <a:gd name="connsiteX35" fmla="*/ 2588 w 9731"/>
                  <a:gd name="connsiteY35" fmla="*/ 870 h 10000"/>
                  <a:gd name="connsiteX36" fmla="*/ 2320 w 9731"/>
                  <a:gd name="connsiteY36" fmla="*/ 1242 h 10000"/>
                  <a:gd name="connsiteX37" fmla="*/ 2142 w 9731"/>
                  <a:gd name="connsiteY37" fmla="*/ 1677 h 10000"/>
                  <a:gd name="connsiteX38" fmla="*/ 2142 w 9731"/>
                  <a:gd name="connsiteY38" fmla="*/ 2112 h 10000"/>
                  <a:gd name="connsiteX39" fmla="*/ 2142 w 9731"/>
                  <a:gd name="connsiteY39" fmla="*/ 2112 h 10000"/>
                  <a:gd name="connsiteX40" fmla="*/ 2232 w 9731"/>
                  <a:gd name="connsiteY40" fmla="*/ 2671 h 10000"/>
                  <a:gd name="connsiteX41" fmla="*/ 2588 w 9731"/>
                  <a:gd name="connsiteY41" fmla="*/ 3230 h 10000"/>
                  <a:gd name="connsiteX42" fmla="*/ 3035 w 9731"/>
                  <a:gd name="connsiteY42" fmla="*/ 3727 h 10000"/>
                  <a:gd name="connsiteX43" fmla="*/ 3482 w 9731"/>
                  <a:gd name="connsiteY43" fmla="*/ 4099 h 10000"/>
                  <a:gd name="connsiteX44" fmla="*/ 3482 w 9731"/>
                  <a:gd name="connsiteY44" fmla="*/ 4099 h 10000"/>
                  <a:gd name="connsiteX45" fmla="*/ 2499 w 9731"/>
                  <a:gd name="connsiteY45" fmla="*/ 4410 h 10000"/>
                  <a:gd name="connsiteX46" fmla="*/ 1695 w 9731"/>
                  <a:gd name="connsiteY46" fmla="*/ 4783 h 10000"/>
                  <a:gd name="connsiteX47" fmla="*/ 982 w 9731"/>
                  <a:gd name="connsiteY47" fmla="*/ 5342 h 10000"/>
                  <a:gd name="connsiteX48" fmla="*/ 446 w 9731"/>
                  <a:gd name="connsiteY48" fmla="*/ 6087 h 10000"/>
                  <a:gd name="connsiteX49" fmla="*/ 0 w 9731"/>
                  <a:gd name="connsiteY49" fmla="*/ 6832 h 10000"/>
                  <a:gd name="connsiteX0" fmla="*/ 4220 w 9542"/>
                  <a:gd name="connsiteY0" fmla="*/ 10000 h 10000"/>
                  <a:gd name="connsiteX1" fmla="*/ 4220 w 9542"/>
                  <a:gd name="connsiteY1" fmla="*/ 10000 h 10000"/>
                  <a:gd name="connsiteX2" fmla="*/ 6147 w 9542"/>
                  <a:gd name="connsiteY2" fmla="*/ 10000 h 10000"/>
                  <a:gd name="connsiteX3" fmla="*/ 7891 w 9542"/>
                  <a:gd name="connsiteY3" fmla="*/ 9938 h 10000"/>
                  <a:gd name="connsiteX4" fmla="*/ 9083 w 9542"/>
                  <a:gd name="connsiteY4" fmla="*/ 9814 h 10000"/>
                  <a:gd name="connsiteX5" fmla="*/ 9450 w 9542"/>
                  <a:gd name="connsiteY5" fmla="*/ 9752 h 10000"/>
                  <a:gd name="connsiteX6" fmla="*/ 9542 w 9542"/>
                  <a:gd name="connsiteY6" fmla="*/ 9689 h 10000"/>
                  <a:gd name="connsiteX7" fmla="*/ 9542 w 9542"/>
                  <a:gd name="connsiteY7" fmla="*/ 9689 h 10000"/>
                  <a:gd name="connsiteX8" fmla="*/ 9542 w 9542"/>
                  <a:gd name="connsiteY8" fmla="*/ 8634 h 10000"/>
                  <a:gd name="connsiteX9" fmla="*/ 9450 w 9542"/>
                  <a:gd name="connsiteY9" fmla="*/ 7702 h 10000"/>
                  <a:gd name="connsiteX10" fmla="*/ 9083 w 9542"/>
                  <a:gd name="connsiteY10" fmla="*/ 6832 h 10000"/>
                  <a:gd name="connsiteX11" fmla="*/ 8717 w 9542"/>
                  <a:gd name="connsiteY11" fmla="*/ 6087 h 10000"/>
                  <a:gd name="connsiteX12" fmla="*/ 8166 w 9542"/>
                  <a:gd name="connsiteY12" fmla="*/ 5342 h 10000"/>
                  <a:gd name="connsiteX13" fmla="*/ 7431 w 9542"/>
                  <a:gd name="connsiteY13" fmla="*/ 4783 h 10000"/>
                  <a:gd name="connsiteX14" fmla="*/ 6514 w 9542"/>
                  <a:gd name="connsiteY14" fmla="*/ 4410 h 10000"/>
                  <a:gd name="connsiteX15" fmla="*/ 5504 w 9542"/>
                  <a:gd name="connsiteY15" fmla="*/ 4099 h 10000"/>
                  <a:gd name="connsiteX16" fmla="*/ 5504 w 9542"/>
                  <a:gd name="connsiteY16" fmla="*/ 4099 h 10000"/>
                  <a:gd name="connsiteX17" fmla="*/ 6056 w 9542"/>
                  <a:gd name="connsiteY17" fmla="*/ 3727 h 10000"/>
                  <a:gd name="connsiteX18" fmla="*/ 6423 w 9542"/>
                  <a:gd name="connsiteY18" fmla="*/ 3230 h 10000"/>
                  <a:gd name="connsiteX19" fmla="*/ 6699 w 9542"/>
                  <a:gd name="connsiteY19" fmla="*/ 2671 h 10000"/>
                  <a:gd name="connsiteX20" fmla="*/ 6973 w 9542"/>
                  <a:gd name="connsiteY20" fmla="*/ 2112 h 10000"/>
                  <a:gd name="connsiteX21" fmla="*/ 6973 w 9542"/>
                  <a:gd name="connsiteY21" fmla="*/ 2112 h 10000"/>
                  <a:gd name="connsiteX22" fmla="*/ 6881 w 9542"/>
                  <a:gd name="connsiteY22" fmla="*/ 1677 h 10000"/>
                  <a:gd name="connsiteX23" fmla="*/ 6699 w 9542"/>
                  <a:gd name="connsiteY23" fmla="*/ 1242 h 10000"/>
                  <a:gd name="connsiteX24" fmla="*/ 6514 w 9542"/>
                  <a:gd name="connsiteY24" fmla="*/ 870 h 10000"/>
                  <a:gd name="connsiteX25" fmla="*/ 6147 w 9542"/>
                  <a:gd name="connsiteY25" fmla="*/ 559 h 10000"/>
                  <a:gd name="connsiteX26" fmla="*/ 5781 w 9542"/>
                  <a:gd name="connsiteY26" fmla="*/ 311 h 10000"/>
                  <a:gd name="connsiteX27" fmla="*/ 5321 w 9542"/>
                  <a:gd name="connsiteY27" fmla="*/ 186 h 10000"/>
                  <a:gd name="connsiteX28" fmla="*/ 4862 w 9542"/>
                  <a:gd name="connsiteY28" fmla="*/ 0 h 10000"/>
                  <a:gd name="connsiteX29" fmla="*/ 4312 w 9542"/>
                  <a:gd name="connsiteY29" fmla="*/ 0 h 10000"/>
                  <a:gd name="connsiteX30" fmla="*/ 4312 w 9542"/>
                  <a:gd name="connsiteY30" fmla="*/ 0 h 10000"/>
                  <a:gd name="connsiteX31" fmla="*/ 3853 w 9542"/>
                  <a:gd name="connsiteY31" fmla="*/ 0 h 10000"/>
                  <a:gd name="connsiteX32" fmla="*/ 3395 w 9542"/>
                  <a:gd name="connsiteY32" fmla="*/ 186 h 10000"/>
                  <a:gd name="connsiteX33" fmla="*/ 2936 w 9542"/>
                  <a:gd name="connsiteY33" fmla="*/ 311 h 10000"/>
                  <a:gd name="connsiteX34" fmla="*/ 2478 w 9542"/>
                  <a:gd name="connsiteY34" fmla="*/ 559 h 10000"/>
                  <a:gd name="connsiteX35" fmla="*/ 2202 w 9542"/>
                  <a:gd name="connsiteY35" fmla="*/ 870 h 10000"/>
                  <a:gd name="connsiteX36" fmla="*/ 1926 w 9542"/>
                  <a:gd name="connsiteY36" fmla="*/ 1242 h 10000"/>
                  <a:gd name="connsiteX37" fmla="*/ 1743 w 9542"/>
                  <a:gd name="connsiteY37" fmla="*/ 1677 h 10000"/>
                  <a:gd name="connsiteX38" fmla="*/ 1743 w 9542"/>
                  <a:gd name="connsiteY38" fmla="*/ 2112 h 10000"/>
                  <a:gd name="connsiteX39" fmla="*/ 1743 w 9542"/>
                  <a:gd name="connsiteY39" fmla="*/ 2112 h 10000"/>
                  <a:gd name="connsiteX40" fmla="*/ 1836 w 9542"/>
                  <a:gd name="connsiteY40" fmla="*/ 2671 h 10000"/>
                  <a:gd name="connsiteX41" fmla="*/ 2202 w 9542"/>
                  <a:gd name="connsiteY41" fmla="*/ 3230 h 10000"/>
                  <a:gd name="connsiteX42" fmla="*/ 2661 w 9542"/>
                  <a:gd name="connsiteY42" fmla="*/ 3727 h 10000"/>
                  <a:gd name="connsiteX43" fmla="*/ 3120 w 9542"/>
                  <a:gd name="connsiteY43" fmla="*/ 4099 h 10000"/>
                  <a:gd name="connsiteX44" fmla="*/ 3120 w 9542"/>
                  <a:gd name="connsiteY44" fmla="*/ 4099 h 10000"/>
                  <a:gd name="connsiteX45" fmla="*/ 2110 w 9542"/>
                  <a:gd name="connsiteY45" fmla="*/ 4410 h 10000"/>
                  <a:gd name="connsiteX46" fmla="*/ 1284 w 9542"/>
                  <a:gd name="connsiteY46" fmla="*/ 4783 h 10000"/>
                  <a:gd name="connsiteX47" fmla="*/ 551 w 9542"/>
                  <a:gd name="connsiteY47" fmla="*/ 5342 h 10000"/>
                  <a:gd name="connsiteX48" fmla="*/ 0 w 9542"/>
                  <a:gd name="connsiteY48" fmla="*/ 6087 h 10000"/>
                  <a:gd name="connsiteX0" fmla="*/ 3846 w 9423"/>
                  <a:gd name="connsiteY0" fmla="*/ 10000 h 10000"/>
                  <a:gd name="connsiteX1" fmla="*/ 3846 w 9423"/>
                  <a:gd name="connsiteY1" fmla="*/ 10000 h 10000"/>
                  <a:gd name="connsiteX2" fmla="*/ 5865 w 9423"/>
                  <a:gd name="connsiteY2" fmla="*/ 10000 h 10000"/>
                  <a:gd name="connsiteX3" fmla="*/ 7693 w 9423"/>
                  <a:gd name="connsiteY3" fmla="*/ 9938 h 10000"/>
                  <a:gd name="connsiteX4" fmla="*/ 8942 w 9423"/>
                  <a:gd name="connsiteY4" fmla="*/ 9814 h 10000"/>
                  <a:gd name="connsiteX5" fmla="*/ 9327 w 9423"/>
                  <a:gd name="connsiteY5" fmla="*/ 9752 h 10000"/>
                  <a:gd name="connsiteX6" fmla="*/ 9423 w 9423"/>
                  <a:gd name="connsiteY6" fmla="*/ 9689 h 10000"/>
                  <a:gd name="connsiteX7" fmla="*/ 9423 w 9423"/>
                  <a:gd name="connsiteY7" fmla="*/ 9689 h 10000"/>
                  <a:gd name="connsiteX8" fmla="*/ 9423 w 9423"/>
                  <a:gd name="connsiteY8" fmla="*/ 8634 h 10000"/>
                  <a:gd name="connsiteX9" fmla="*/ 9327 w 9423"/>
                  <a:gd name="connsiteY9" fmla="*/ 7702 h 10000"/>
                  <a:gd name="connsiteX10" fmla="*/ 8942 w 9423"/>
                  <a:gd name="connsiteY10" fmla="*/ 6832 h 10000"/>
                  <a:gd name="connsiteX11" fmla="*/ 8558 w 9423"/>
                  <a:gd name="connsiteY11" fmla="*/ 6087 h 10000"/>
                  <a:gd name="connsiteX12" fmla="*/ 7981 w 9423"/>
                  <a:gd name="connsiteY12" fmla="*/ 5342 h 10000"/>
                  <a:gd name="connsiteX13" fmla="*/ 7211 w 9423"/>
                  <a:gd name="connsiteY13" fmla="*/ 4783 h 10000"/>
                  <a:gd name="connsiteX14" fmla="*/ 6250 w 9423"/>
                  <a:gd name="connsiteY14" fmla="*/ 4410 h 10000"/>
                  <a:gd name="connsiteX15" fmla="*/ 5191 w 9423"/>
                  <a:gd name="connsiteY15" fmla="*/ 4099 h 10000"/>
                  <a:gd name="connsiteX16" fmla="*/ 5191 w 9423"/>
                  <a:gd name="connsiteY16" fmla="*/ 4099 h 10000"/>
                  <a:gd name="connsiteX17" fmla="*/ 5770 w 9423"/>
                  <a:gd name="connsiteY17" fmla="*/ 3727 h 10000"/>
                  <a:gd name="connsiteX18" fmla="*/ 6154 w 9423"/>
                  <a:gd name="connsiteY18" fmla="*/ 3230 h 10000"/>
                  <a:gd name="connsiteX19" fmla="*/ 6444 w 9423"/>
                  <a:gd name="connsiteY19" fmla="*/ 2671 h 10000"/>
                  <a:gd name="connsiteX20" fmla="*/ 6731 w 9423"/>
                  <a:gd name="connsiteY20" fmla="*/ 2112 h 10000"/>
                  <a:gd name="connsiteX21" fmla="*/ 6731 w 9423"/>
                  <a:gd name="connsiteY21" fmla="*/ 2112 h 10000"/>
                  <a:gd name="connsiteX22" fmla="*/ 6634 w 9423"/>
                  <a:gd name="connsiteY22" fmla="*/ 1677 h 10000"/>
                  <a:gd name="connsiteX23" fmla="*/ 6444 w 9423"/>
                  <a:gd name="connsiteY23" fmla="*/ 1242 h 10000"/>
                  <a:gd name="connsiteX24" fmla="*/ 6250 w 9423"/>
                  <a:gd name="connsiteY24" fmla="*/ 870 h 10000"/>
                  <a:gd name="connsiteX25" fmla="*/ 5865 w 9423"/>
                  <a:gd name="connsiteY25" fmla="*/ 559 h 10000"/>
                  <a:gd name="connsiteX26" fmla="*/ 5481 w 9423"/>
                  <a:gd name="connsiteY26" fmla="*/ 311 h 10000"/>
                  <a:gd name="connsiteX27" fmla="*/ 4999 w 9423"/>
                  <a:gd name="connsiteY27" fmla="*/ 186 h 10000"/>
                  <a:gd name="connsiteX28" fmla="*/ 4518 w 9423"/>
                  <a:gd name="connsiteY28" fmla="*/ 0 h 10000"/>
                  <a:gd name="connsiteX29" fmla="*/ 3942 w 9423"/>
                  <a:gd name="connsiteY29" fmla="*/ 0 h 10000"/>
                  <a:gd name="connsiteX30" fmla="*/ 3942 w 9423"/>
                  <a:gd name="connsiteY30" fmla="*/ 0 h 10000"/>
                  <a:gd name="connsiteX31" fmla="*/ 3461 w 9423"/>
                  <a:gd name="connsiteY31" fmla="*/ 0 h 10000"/>
                  <a:gd name="connsiteX32" fmla="*/ 2981 w 9423"/>
                  <a:gd name="connsiteY32" fmla="*/ 186 h 10000"/>
                  <a:gd name="connsiteX33" fmla="*/ 2500 w 9423"/>
                  <a:gd name="connsiteY33" fmla="*/ 311 h 10000"/>
                  <a:gd name="connsiteX34" fmla="*/ 2020 w 9423"/>
                  <a:gd name="connsiteY34" fmla="*/ 559 h 10000"/>
                  <a:gd name="connsiteX35" fmla="*/ 1731 w 9423"/>
                  <a:gd name="connsiteY35" fmla="*/ 870 h 10000"/>
                  <a:gd name="connsiteX36" fmla="*/ 1441 w 9423"/>
                  <a:gd name="connsiteY36" fmla="*/ 1242 h 10000"/>
                  <a:gd name="connsiteX37" fmla="*/ 1250 w 9423"/>
                  <a:gd name="connsiteY37" fmla="*/ 1677 h 10000"/>
                  <a:gd name="connsiteX38" fmla="*/ 1250 w 9423"/>
                  <a:gd name="connsiteY38" fmla="*/ 2112 h 10000"/>
                  <a:gd name="connsiteX39" fmla="*/ 1250 w 9423"/>
                  <a:gd name="connsiteY39" fmla="*/ 2112 h 10000"/>
                  <a:gd name="connsiteX40" fmla="*/ 1347 w 9423"/>
                  <a:gd name="connsiteY40" fmla="*/ 2671 h 10000"/>
                  <a:gd name="connsiteX41" fmla="*/ 1731 w 9423"/>
                  <a:gd name="connsiteY41" fmla="*/ 3230 h 10000"/>
                  <a:gd name="connsiteX42" fmla="*/ 2212 w 9423"/>
                  <a:gd name="connsiteY42" fmla="*/ 3727 h 10000"/>
                  <a:gd name="connsiteX43" fmla="*/ 2693 w 9423"/>
                  <a:gd name="connsiteY43" fmla="*/ 4099 h 10000"/>
                  <a:gd name="connsiteX44" fmla="*/ 2693 w 9423"/>
                  <a:gd name="connsiteY44" fmla="*/ 4099 h 10000"/>
                  <a:gd name="connsiteX45" fmla="*/ 1634 w 9423"/>
                  <a:gd name="connsiteY45" fmla="*/ 4410 h 10000"/>
                  <a:gd name="connsiteX46" fmla="*/ 769 w 9423"/>
                  <a:gd name="connsiteY46" fmla="*/ 4783 h 10000"/>
                  <a:gd name="connsiteX47" fmla="*/ 0 w 9423"/>
                  <a:gd name="connsiteY47" fmla="*/ 5342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9423" h="10000">
                    <a:moveTo>
                      <a:pt x="3846" y="10000"/>
                    </a:moveTo>
                    <a:lnTo>
                      <a:pt x="3846" y="10000"/>
                    </a:lnTo>
                    <a:lnTo>
                      <a:pt x="5865" y="10000"/>
                    </a:lnTo>
                    <a:lnTo>
                      <a:pt x="7693" y="9938"/>
                    </a:lnTo>
                    <a:lnTo>
                      <a:pt x="8942" y="9814"/>
                    </a:lnTo>
                    <a:lnTo>
                      <a:pt x="9327" y="9752"/>
                    </a:lnTo>
                    <a:lnTo>
                      <a:pt x="9423" y="9689"/>
                    </a:lnTo>
                    <a:lnTo>
                      <a:pt x="9423" y="9689"/>
                    </a:lnTo>
                    <a:lnTo>
                      <a:pt x="9423" y="8634"/>
                    </a:lnTo>
                    <a:cubicBezTo>
                      <a:pt x="9391" y="8323"/>
                      <a:pt x="9358" y="8013"/>
                      <a:pt x="9327" y="7702"/>
                    </a:cubicBezTo>
                    <a:lnTo>
                      <a:pt x="8942" y="6832"/>
                    </a:lnTo>
                    <a:lnTo>
                      <a:pt x="8558" y="6087"/>
                    </a:lnTo>
                    <a:lnTo>
                      <a:pt x="7981" y="5342"/>
                    </a:lnTo>
                    <a:lnTo>
                      <a:pt x="7211" y="4783"/>
                    </a:lnTo>
                    <a:lnTo>
                      <a:pt x="6250" y="4410"/>
                    </a:lnTo>
                    <a:lnTo>
                      <a:pt x="5191" y="4099"/>
                    </a:lnTo>
                    <a:lnTo>
                      <a:pt x="5191" y="4099"/>
                    </a:lnTo>
                    <a:lnTo>
                      <a:pt x="5770" y="3727"/>
                    </a:lnTo>
                    <a:lnTo>
                      <a:pt x="6154" y="3230"/>
                    </a:lnTo>
                    <a:cubicBezTo>
                      <a:pt x="6251" y="3044"/>
                      <a:pt x="6347" y="2857"/>
                      <a:pt x="6444" y="2671"/>
                    </a:cubicBezTo>
                    <a:cubicBezTo>
                      <a:pt x="6540" y="2485"/>
                      <a:pt x="6635" y="2298"/>
                      <a:pt x="6731" y="2112"/>
                    </a:cubicBezTo>
                    <a:lnTo>
                      <a:pt x="6731" y="2112"/>
                    </a:lnTo>
                    <a:cubicBezTo>
                      <a:pt x="6699" y="1967"/>
                      <a:pt x="6666" y="1822"/>
                      <a:pt x="6634" y="1677"/>
                    </a:cubicBezTo>
                    <a:cubicBezTo>
                      <a:pt x="6571" y="1532"/>
                      <a:pt x="6506" y="1387"/>
                      <a:pt x="6444" y="1242"/>
                    </a:cubicBezTo>
                    <a:lnTo>
                      <a:pt x="6250" y="870"/>
                    </a:lnTo>
                    <a:lnTo>
                      <a:pt x="5865" y="559"/>
                    </a:lnTo>
                    <a:lnTo>
                      <a:pt x="5481" y="311"/>
                    </a:lnTo>
                    <a:lnTo>
                      <a:pt x="4999" y="186"/>
                    </a:lnTo>
                    <a:lnTo>
                      <a:pt x="4518" y="0"/>
                    </a:lnTo>
                    <a:lnTo>
                      <a:pt x="3942" y="0"/>
                    </a:lnTo>
                    <a:lnTo>
                      <a:pt x="3942" y="0"/>
                    </a:lnTo>
                    <a:lnTo>
                      <a:pt x="3461" y="0"/>
                    </a:lnTo>
                    <a:lnTo>
                      <a:pt x="2981" y="186"/>
                    </a:lnTo>
                    <a:lnTo>
                      <a:pt x="2500" y="311"/>
                    </a:lnTo>
                    <a:lnTo>
                      <a:pt x="2020" y="559"/>
                    </a:lnTo>
                    <a:lnTo>
                      <a:pt x="1731" y="870"/>
                    </a:lnTo>
                    <a:lnTo>
                      <a:pt x="1441" y="1242"/>
                    </a:lnTo>
                    <a:cubicBezTo>
                      <a:pt x="1379" y="1387"/>
                      <a:pt x="1314" y="1532"/>
                      <a:pt x="1250" y="1677"/>
                    </a:cubicBezTo>
                    <a:lnTo>
                      <a:pt x="1250" y="2112"/>
                    </a:lnTo>
                    <a:lnTo>
                      <a:pt x="1250" y="2112"/>
                    </a:lnTo>
                    <a:cubicBezTo>
                      <a:pt x="1282" y="2298"/>
                      <a:pt x="1315" y="2485"/>
                      <a:pt x="1347" y="2671"/>
                    </a:cubicBezTo>
                    <a:lnTo>
                      <a:pt x="1731" y="3230"/>
                    </a:lnTo>
                    <a:lnTo>
                      <a:pt x="2212" y="3727"/>
                    </a:lnTo>
                    <a:lnTo>
                      <a:pt x="2693" y="4099"/>
                    </a:lnTo>
                    <a:lnTo>
                      <a:pt x="2693" y="4099"/>
                    </a:lnTo>
                    <a:lnTo>
                      <a:pt x="1634" y="4410"/>
                    </a:lnTo>
                    <a:lnTo>
                      <a:pt x="769" y="4783"/>
                    </a:lnTo>
                    <a:lnTo>
                      <a:pt x="0" y="5342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2" name="Freeform 897"/>
              <p:cNvSpPr>
                <a:spLocks/>
              </p:cNvSpPr>
              <p:nvPr/>
            </p:nvSpPr>
            <p:spPr bwMode="auto">
              <a:xfrm>
                <a:off x="4509658" y="4876544"/>
                <a:ext cx="181869" cy="255132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2666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52" fmla="*/ 0 w 10000"/>
                  <a:gd name="connsiteY52" fmla="*/ 9689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10000" h="10000">
                    <a:moveTo>
                      <a:pt x="4912" y="10000"/>
                    </a:moveTo>
                    <a:lnTo>
                      <a:pt x="2666" y="10000"/>
                    </a:lnTo>
                    <a:lnTo>
                      <a:pt x="6754" y="10000"/>
                    </a:lnTo>
                    <a:lnTo>
                      <a:pt x="8421" y="9938"/>
                    </a:lnTo>
                    <a:lnTo>
                      <a:pt x="9561" y="9814"/>
                    </a:lnTo>
                    <a:lnTo>
                      <a:pt x="9912" y="9752"/>
                    </a:lnTo>
                    <a:lnTo>
                      <a:pt x="10000" y="9689"/>
                    </a:lnTo>
                    <a:lnTo>
                      <a:pt x="10000" y="9689"/>
                    </a:lnTo>
                    <a:lnTo>
                      <a:pt x="10000" y="8634"/>
                    </a:lnTo>
                    <a:cubicBezTo>
                      <a:pt x="9971" y="8323"/>
                      <a:pt x="9941" y="8013"/>
                      <a:pt x="9912" y="7702"/>
                    </a:cubicBezTo>
                    <a:lnTo>
                      <a:pt x="9561" y="6832"/>
                    </a:lnTo>
                    <a:lnTo>
                      <a:pt x="9211" y="6087"/>
                    </a:lnTo>
                    <a:lnTo>
                      <a:pt x="8684" y="5342"/>
                    </a:lnTo>
                    <a:lnTo>
                      <a:pt x="7982" y="4783"/>
                    </a:lnTo>
                    <a:lnTo>
                      <a:pt x="7105" y="4410"/>
                    </a:lnTo>
                    <a:lnTo>
                      <a:pt x="6140" y="4099"/>
                    </a:lnTo>
                    <a:lnTo>
                      <a:pt x="6140" y="4099"/>
                    </a:lnTo>
                    <a:lnTo>
                      <a:pt x="6667" y="3727"/>
                    </a:lnTo>
                    <a:lnTo>
                      <a:pt x="7018" y="3230"/>
                    </a:lnTo>
                    <a:cubicBezTo>
                      <a:pt x="7106" y="3044"/>
                      <a:pt x="7193" y="2857"/>
                      <a:pt x="7281" y="2671"/>
                    </a:cubicBezTo>
                    <a:cubicBezTo>
                      <a:pt x="7369" y="2485"/>
                      <a:pt x="7456" y="2298"/>
                      <a:pt x="7544" y="2112"/>
                    </a:cubicBezTo>
                    <a:lnTo>
                      <a:pt x="7544" y="2112"/>
                    </a:lnTo>
                    <a:cubicBezTo>
                      <a:pt x="7515" y="1967"/>
                      <a:pt x="7485" y="1822"/>
                      <a:pt x="7456" y="1677"/>
                    </a:cubicBezTo>
                    <a:cubicBezTo>
                      <a:pt x="7398" y="1532"/>
                      <a:pt x="7339" y="1387"/>
                      <a:pt x="7281" y="1242"/>
                    </a:cubicBezTo>
                    <a:cubicBezTo>
                      <a:pt x="7222" y="1118"/>
                      <a:pt x="7164" y="994"/>
                      <a:pt x="7105" y="870"/>
                    </a:cubicBezTo>
                    <a:lnTo>
                      <a:pt x="6754" y="559"/>
                    </a:lnTo>
                    <a:lnTo>
                      <a:pt x="6404" y="311"/>
                    </a:lnTo>
                    <a:lnTo>
                      <a:pt x="5965" y="186"/>
                    </a:lnTo>
                    <a:lnTo>
                      <a:pt x="5526" y="0"/>
                    </a:lnTo>
                    <a:lnTo>
                      <a:pt x="5000" y="0"/>
                    </a:lnTo>
                    <a:lnTo>
                      <a:pt x="5000" y="0"/>
                    </a:lnTo>
                    <a:lnTo>
                      <a:pt x="4561" y="0"/>
                    </a:lnTo>
                    <a:lnTo>
                      <a:pt x="4123" y="186"/>
                    </a:lnTo>
                    <a:lnTo>
                      <a:pt x="3684" y="311"/>
                    </a:lnTo>
                    <a:lnTo>
                      <a:pt x="3246" y="559"/>
                    </a:lnTo>
                    <a:lnTo>
                      <a:pt x="2982" y="870"/>
                    </a:lnTo>
                    <a:lnTo>
                      <a:pt x="2719" y="1242"/>
                    </a:lnTo>
                    <a:cubicBezTo>
                      <a:pt x="2661" y="1387"/>
                      <a:pt x="2602" y="1532"/>
                      <a:pt x="2544" y="1677"/>
                    </a:cubicBezTo>
                    <a:lnTo>
                      <a:pt x="2544" y="2112"/>
                    </a:lnTo>
                    <a:lnTo>
                      <a:pt x="2544" y="2112"/>
                    </a:lnTo>
                    <a:cubicBezTo>
                      <a:pt x="2573" y="2298"/>
                      <a:pt x="2603" y="2485"/>
                      <a:pt x="2632" y="2671"/>
                    </a:cubicBezTo>
                    <a:lnTo>
                      <a:pt x="2982" y="3230"/>
                    </a:lnTo>
                    <a:lnTo>
                      <a:pt x="3421" y="3727"/>
                    </a:lnTo>
                    <a:lnTo>
                      <a:pt x="3860" y="4099"/>
                    </a:lnTo>
                    <a:lnTo>
                      <a:pt x="3860" y="4099"/>
                    </a:lnTo>
                    <a:lnTo>
                      <a:pt x="2895" y="4410"/>
                    </a:lnTo>
                    <a:lnTo>
                      <a:pt x="2105" y="4783"/>
                    </a:lnTo>
                    <a:lnTo>
                      <a:pt x="1404" y="5342"/>
                    </a:lnTo>
                    <a:lnTo>
                      <a:pt x="877" y="6087"/>
                    </a:lnTo>
                    <a:lnTo>
                      <a:pt x="439" y="6832"/>
                    </a:lnTo>
                    <a:lnTo>
                      <a:pt x="175" y="7702"/>
                    </a:lnTo>
                    <a:cubicBezTo>
                      <a:pt x="117" y="8013"/>
                      <a:pt x="58" y="8323"/>
                      <a:pt x="0" y="8634"/>
                    </a:cubicBezTo>
                    <a:lnTo>
                      <a:pt x="0" y="968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grpSp>
            <p:nvGrpSpPr>
              <p:cNvPr id="8" name="Groupe 78"/>
              <p:cNvGrpSpPr>
                <a:grpSpLocks/>
              </p:cNvGrpSpPr>
              <p:nvPr/>
            </p:nvGrpSpPr>
            <p:grpSpPr bwMode="auto">
              <a:xfrm>
                <a:off x="4430703" y="4715239"/>
                <a:ext cx="166698" cy="247657"/>
                <a:chOff x="4430703" y="4715239"/>
                <a:chExt cx="166698" cy="247657"/>
              </a:xfrm>
            </p:grpSpPr>
            <p:sp>
              <p:nvSpPr>
                <p:cNvPr id="24" name="Freeform 897"/>
                <p:cNvSpPr>
                  <a:spLocks/>
                </p:cNvSpPr>
                <p:nvPr/>
              </p:nvSpPr>
              <p:spPr bwMode="auto">
                <a:xfrm>
                  <a:off x="4431090" y="4714686"/>
                  <a:ext cx="165865" cy="248273"/>
                </a:xfrm>
                <a:custGeom>
                  <a:avLst/>
                  <a:gdLst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6754 w 10000"/>
                    <a:gd name="connsiteY2" fmla="*/ 10000 h 10000"/>
                    <a:gd name="connsiteX3" fmla="*/ 8421 w 10000"/>
                    <a:gd name="connsiteY3" fmla="*/ 9938 h 10000"/>
                    <a:gd name="connsiteX4" fmla="*/ 9561 w 10000"/>
                    <a:gd name="connsiteY4" fmla="*/ 9814 h 10000"/>
                    <a:gd name="connsiteX5" fmla="*/ 9912 w 10000"/>
                    <a:gd name="connsiteY5" fmla="*/ 9752 h 10000"/>
                    <a:gd name="connsiteX6" fmla="*/ 10000 w 10000"/>
                    <a:gd name="connsiteY6" fmla="*/ 9689 h 10000"/>
                    <a:gd name="connsiteX7" fmla="*/ 10000 w 10000"/>
                    <a:gd name="connsiteY7" fmla="*/ 9689 h 10000"/>
                    <a:gd name="connsiteX8" fmla="*/ 10000 w 10000"/>
                    <a:gd name="connsiteY8" fmla="*/ 8634 h 10000"/>
                    <a:gd name="connsiteX9" fmla="*/ 9912 w 10000"/>
                    <a:gd name="connsiteY9" fmla="*/ 7702 h 10000"/>
                    <a:gd name="connsiteX10" fmla="*/ 9561 w 10000"/>
                    <a:gd name="connsiteY10" fmla="*/ 6832 h 10000"/>
                    <a:gd name="connsiteX11" fmla="*/ 9211 w 10000"/>
                    <a:gd name="connsiteY11" fmla="*/ 6087 h 10000"/>
                    <a:gd name="connsiteX12" fmla="*/ 8684 w 10000"/>
                    <a:gd name="connsiteY12" fmla="*/ 5342 h 10000"/>
                    <a:gd name="connsiteX13" fmla="*/ 7982 w 10000"/>
                    <a:gd name="connsiteY13" fmla="*/ 4783 h 10000"/>
                    <a:gd name="connsiteX14" fmla="*/ 7105 w 10000"/>
                    <a:gd name="connsiteY14" fmla="*/ 4410 h 10000"/>
                    <a:gd name="connsiteX15" fmla="*/ 6140 w 10000"/>
                    <a:gd name="connsiteY15" fmla="*/ 4099 h 10000"/>
                    <a:gd name="connsiteX16" fmla="*/ 6140 w 10000"/>
                    <a:gd name="connsiteY16" fmla="*/ 4099 h 10000"/>
                    <a:gd name="connsiteX17" fmla="*/ 6667 w 10000"/>
                    <a:gd name="connsiteY17" fmla="*/ 3727 h 10000"/>
                    <a:gd name="connsiteX18" fmla="*/ 7018 w 10000"/>
                    <a:gd name="connsiteY18" fmla="*/ 3230 h 10000"/>
                    <a:gd name="connsiteX19" fmla="*/ 7281 w 10000"/>
                    <a:gd name="connsiteY19" fmla="*/ 2671 h 10000"/>
                    <a:gd name="connsiteX20" fmla="*/ 7544 w 10000"/>
                    <a:gd name="connsiteY20" fmla="*/ 2112 h 10000"/>
                    <a:gd name="connsiteX21" fmla="*/ 7544 w 10000"/>
                    <a:gd name="connsiteY21" fmla="*/ 2112 h 10000"/>
                    <a:gd name="connsiteX22" fmla="*/ 7456 w 10000"/>
                    <a:gd name="connsiteY22" fmla="*/ 1677 h 10000"/>
                    <a:gd name="connsiteX23" fmla="*/ 7281 w 10000"/>
                    <a:gd name="connsiteY23" fmla="*/ 1242 h 10000"/>
                    <a:gd name="connsiteX24" fmla="*/ 7105 w 10000"/>
                    <a:gd name="connsiteY24" fmla="*/ 870 h 10000"/>
                    <a:gd name="connsiteX25" fmla="*/ 6754 w 10000"/>
                    <a:gd name="connsiteY25" fmla="*/ 559 h 10000"/>
                    <a:gd name="connsiteX26" fmla="*/ 6404 w 10000"/>
                    <a:gd name="connsiteY26" fmla="*/ 311 h 10000"/>
                    <a:gd name="connsiteX27" fmla="*/ 5965 w 10000"/>
                    <a:gd name="connsiteY27" fmla="*/ 186 h 10000"/>
                    <a:gd name="connsiteX28" fmla="*/ 5526 w 10000"/>
                    <a:gd name="connsiteY28" fmla="*/ 0 h 10000"/>
                    <a:gd name="connsiteX29" fmla="*/ 5000 w 10000"/>
                    <a:gd name="connsiteY29" fmla="*/ 0 h 10000"/>
                    <a:gd name="connsiteX30" fmla="*/ 5000 w 10000"/>
                    <a:gd name="connsiteY30" fmla="*/ 0 h 10000"/>
                    <a:gd name="connsiteX31" fmla="*/ 4561 w 10000"/>
                    <a:gd name="connsiteY31" fmla="*/ 0 h 10000"/>
                    <a:gd name="connsiteX32" fmla="*/ 4123 w 10000"/>
                    <a:gd name="connsiteY32" fmla="*/ 186 h 10000"/>
                    <a:gd name="connsiteX33" fmla="*/ 3684 w 10000"/>
                    <a:gd name="connsiteY33" fmla="*/ 311 h 10000"/>
                    <a:gd name="connsiteX34" fmla="*/ 3246 w 10000"/>
                    <a:gd name="connsiteY34" fmla="*/ 559 h 10000"/>
                    <a:gd name="connsiteX35" fmla="*/ 2982 w 10000"/>
                    <a:gd name="connsiteY35" fmla="*/ 870 h 10000"/>
                    <a:gd name="connsiteX36" fmla="*/ 2719 w 10000"/>
                    <a:gd name="connsiteY36" fmla="*/ 1242 h 10000"/>
                    <a:gd name="connsiteX37" fmla="*/ 2544 w 10000"/>
                    <a:gd name="connsiteY37" fmla="*/ 1677 h 10000"/>
                    <a:gd name="connsiteX38" fmla="*/ 2544 w 10000"/>
                    <a:gd name="connsiteY38" fmla="*/ 2112 h 10000"/>
                    <a:gd name="connsiteX39" fmla="*/ 2544 w 10000"/>
                    <a:gd name="connsiteY39" fmla="*/ 2112 h 10000"/>
                    <a:gd name="connsiteX40" fmla="*/ 2632 w 10000"/>
                    <a:gd name="connsiteY40" fmla="*/ 2671 h 10000"/>
                    <a:gd name="connsiteX41" fmla="*/ 2982 w 10000"/>
                    <a:gd name="connsiteY41" fmla="*/ 3230 h 10000"/>
                    <a:gd name="connsiteX42" fmla="*/ 3421 w 10000"/>
                    <a:gd name="connsiteY42" fmla="*/ 3727 h 10000"/>
                    <a:gd name="connsiteX43" fmla="*/ 3860 w 10000"/>
                    <a:gd name="connsiteY43" fmla="*/ 4099 h 10000"/>
                    <a:gd name="connsiteX44" fmla="*/ 3860 w 10000"/>
                    <a:gd name="connsiteY44" fmla="*/ 4099 h 10000"/>
                    <a:gd name="connsiteX45" fmla="*/ 2895 w 10000"/>
                    <a:gd name="connsiteY45" fmla="*/ 4410 h 10000"/>
                    <a:gd name="connsiteX46" fmla="*/ 2105 w 10000"/>
                    <a:gd name="connsiteY46" fmla="*/ 4783 h 10000"/>
                    <a:gd name="connsiteX47" fmla="*/ 1404 w 10000"/>
                    <a:gd name="connsiteY47" fmla="*/ 5342 h 10000"/>
                    <a:gd name="connsiteX48" fmla="*/ 877 w 10000"/>
                    <a:gd name="connsiteY48" fmla="*/ 6087 h 10000"/>
                    <a:gd name="connsiteX49" fmla="*/ 439 w 10000"/>
                    <a:gd name="connsiteY49" fmla="*/ 6832 h 10000"/>
                    <a:gd name="connsiteX50" fmla="*/ 175 w 10000"/>
                    <a:gd name="connsiteY50" fmla="*/ 7702 h 10000"/>
                    <a:gd name="connsiteX51" fmla="*/ 0 w 10000"/>
                    <a:gd name="connsiteY51" fmla="*/ 8634 h 10000"/>
                    <a:gd name="connsiteX52" fmla="*/ 0 w 10000"/>
                    <a:gd name="connsiteY52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8421 w 10000"/>
                    <a:gd name="connsiteY2" fmla="*/ 9938 h 10000"/>
                    <a:gd name="connsiteX3" fmla="*/ 9561 w 10000"/>
                    <a:gd name="connsiteY3" fmla="*/ 9814 h 10000"/>
                    <a:gd name="connsiteX4" fmla="*/ 9912 w 10000"/>
                    <a:gd name="connsiteY4" fmla="*/ 9752 h 10000"/>
                    <a:gd name="connsiteX5" fmla="*/ 10000 w 10000"/>
                    <a:gd name="connsiteY5" fmla="*/ 9689 h 10000"/>
                    <a:gd name="connsiteX6" fmla="*/ 10000 w 10000"/>
                    <a:gd name="connsiteY6" fmla="*/ 9689 h 10000"/>
                    <a:gd name="connsiteX7" fmla="*/ 10000 w 10000"/>
                    <a:gd name="connsiteY7" fmla="*/ 8634 h 10000"/>
                    <a:gd name="connsiteX8" fmla="*/ 9912 w 10000"/>
                    <a:gd name="connsiteY8" fmla="*/ 7702 h 10000"/>
                    <a:gd name="connsiteX9" fmla="*/ 9561 w 10000"/>
                    <a:gd name="connsiteY9" fmla="*/ 6832 h 10000"/>
                    <a:gd name="connsiteX10" fmla="*/ 9211 w 10000"/>
                    <a:gd name="connsiteY10" fmla="*/ 6087 h 10000"/>
                    <a:gd name="connsiteX11" fmla="*/ 8684 w 10000"/>
                    <a:gd name="connsiteY11" fmla="*/ 5342 h 10000"/>
                    <a:gd name="connsiteX12" fmla="*/ 7982 w 10000"/>
                    <a:gd name="connsiteY12" fmla="*/ 4783 h 10000"/>
                    <a:gd name="connsiteX13" fmla="*/ 7105 w 10000"/>
                    <a:gd name="connsiteY13" fmla="*/ 4410 h 10000"/>
                    <a:gd name="connsiteX14" fmla="*/ 6140 w 10000"/>
                    <a:gd name="connsiteY14" fmla="*/ 4099 h 10000"/>
                    <a:gd name="connsiteX15" fmla="*/ 6140 w 10000"/>
                    <a:gd name="connsiteY15" fmla="*/ 4099 h 10000"/>
                    <a:gd name="connsiteX16" fmla="*/ 6667 w 10000"/>
                    <a:gd name="connsiteY16" fmla="*/ 3727 h 10000"/>
                    <a:gd name="connsiteX17" fmla="*/ 7018 w 10000"/>
                    <a:gd name="connsiteY17" fmla="*/ 3230 h 10000"/>
                    <a:gd name="connsiteX18" fmla="*/ 7281 w 10000"/>
                    <a:gd name="connsiteY18" fmla="*/ 2671 h 10000"/>
                    <a:gd name="connsiteX19" fmla="*/ 7544 w 10000"/>
                    <a:gd name="connsiteY19" fmla="*/ 2112 h 10000"/>
                    <a:gd name="connsiteX20" fmla="*/ 7544 w 10000"/>
                    <a:gd name="connsiteY20" fmla="*/ 2112 h 10000"/>
                    <a:gd name="connsiteX21" fmla="*/ 7456 w 10000"/>
                    <a:gd name="connsiteY21" fmla="*/ 1677 h 10000"/>
                    <a:gd name="connsiteX22" fmla="*/ 7281 w 10000"/>
                    <a:gd name="connsiteY22" fmla="*/ 1242 h 10000"/>
                    <a:gd name="connsiteX23" fmla="*/ 7105 w 10000"/>
                    <a:gd name="connsiteY23" fmla="*/ 870 h 10000"/>
                    <a:gd name="connsiteX24" fmla="*/ 6754 w 10000"/>
                    <a:gd name="connsiteY24" fmla="*/ 559 h 10000"/>
                    <a:gd name="connsiteX25" fmla="*/ 6404 w 10000"/>
                    <a:gd name="connsiteY25" fmla="*/ 311 h 10000"/>
                    <a:gd name="connsiteX26" fmla="*/ 5965 w 10000"/>
                    <a:gd name="connsiteY26" fmla="*/ 186 h 10000"/>
                    <a:gd name="connsiteX27" fmla="*/ 5526 w 10000"/>
                    <a:gd name="connsiteY27" fmla="*/ 0 h 10000"/>
                    <a:gd name="connsiteX28" fmla="*/ 5000 w 10000"/>
                    <a:gd name="connsiteY28" fmla="*/ 0 h 10000"/>
                    <a:gd name="connsiteX29" fmla="*/ 5000 w 10000"/>
                    <a:gd name="connsiteY29" fmla="*/ 0 h 10000"/>
                    <a:gd name="connsiteX30" fmla="*/ 4561 w 10000"/>
                    <a:gd name="connsiteY30" fmla="*/ 0 h 10000"/>
                    <a:gd name="connsiteX31" fmla="*/ 4123 w 10000"/>
                    <a:gd name="connsiteY31" fmla="*/ 186 h 10000"/>
                    <a:gd name="connsiteX32" fmla="*/ 3684 w 10000"/>
                    <a:gd name="connsiteY32" fmla="*/ 311 h 10000"/>
                    <a:gd name="connsiteX33" fmla="*/ 3246 w 10000"/>
                    <a:gd name="connsiteY33" fmla="*/ 559 h 10000"/>
                    <a:gd name="connsiteX34" fmla="*/ 2982 w 10000"/>
                    <a:gd name="connsiteY34" fmla="*/ 870 h 10000"/>
                    <a:gd name="connsiteX35" fmla="*/ 2719 w 10000"/>
                    <a:gd name="connsiteY35" fmla="*/ 1242 h 10000"/>
                    <a:gd name="connsiteX36" fmla="*/ 2544 w 10000"/>
                    <a:gd name="connsiteY36" fmla="*/ 1677 h 10000"/>
                    <a:gd name="connsiteX37" fmla="*/ 2544 w 10000"/>
                    <a:gd name="connsiteY37" fmla="*/ 2112 h 10000"/>
                    <a:gd name="connsiteX38" fmla="*/ 2544 w 10000"/>
                    <a:gd name="connsiteY38" fmla="*/ 2112 h 10000"/>
                    <a:gd name="connsiteX39" fmla="*/ 2632 w 10000"/>
                    <a:gd name="connsiteY39" fmla="*/ 2671 h 10000"/>
                    <a:gd name="connsiteX40" fmla="*/ 2982 w 10000"/>
                    <a:gd name="connsiteY40" fmla="*/ 3230 h 10000"/>
                    <a:gd name="connsiteX41" fmla="*/ 3421 w 10000"/>
                    <a:gd name="connsiteY41" fmla="*/ 3727 h 10000"/>
                    <a:gd name="connsiteX42" fmla="*/ 3860 w 10000"/>
                    <a:gd name="connsiteY42" fmla="*/ 4099 h 10000"/>
                    <a:gd name="connsiteX43" fmla="*/ 3860 w 10000"/>
                    <a:gd name="connsiteY43" fmla="*/ 4099 h 10000"/>
                    <a:gd name="connsiteX44" fmla="*/ 2895 w 10000"/>
                    <a:gd name="connsiteY44" fmla="*/ 4410 h 10000"/>
                    <a:gd name="connsiteX45" fmla="*/ 2105 w 10000"/>
                    <a:gd name="connsiteY45" fmla="*/ 4783 h 10000"/>
                    <a:gd name="connsiteX46" fmla="*/ 1404 w 10000"/>
                    <a:gd name="connsiteY46" fmla="*/ 5342 h 10000"/>
                    <a:gd name="connsiteX47" fmla="*/ 877 w 10000"/>
                    <a:gd name="connsiteY47" fmla="*/ 6087 h 10000"/>
                    <a:gd name="connsiteX48" fmla="*/ 439 w 10000"/>
                    <a:gd name="connsiteY48" fmla="*/ 6832 h 10000"/>
                    <a:gd name="connsiteX49" fmla="*/ 175 w 10000"/>
                    <a:gd name="connsiteY49" fmla="*/ 7702 h 10000"/>
                    <a:gd name="connsiteX50" fmla="*/ 0 w 10000"/>
                    <a:gd name="connsiteY50" fmla="*/ 8634 h 10000"/>
                    <a:gd name="connsiteX51" fmla="*/ 0 w 10000"/>
                    <a:gd name="connsiteY51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9561 w 10000"/>
                    <a:gd name="connsiteY2" fmla="*/ 9814 h 10000"/>
                    <a:gd name="connsiteX3" fmla="*/ 9912 w 10000"/>
                    <a:gd name="connsiteY3" fmla="*/ 9752 h 10000"/>
                    <a:gd name="connsiteX4" fmla="*/ 10000 w 10000"/>
                    <a:gd name="connsiteY4" fmla="*/ 9689 h 10000"/>
                    <a:gd name="connsiteX5" fmla="*/ 10000 w 10000"/>
                    <a:gd name="connsiteY5" fmla="*/ 9689 h 10000"/>
                    <a:gd name="connsiteX6" fmla="*/ 10000 w 10000"/>
                    <a:gd name="connsiteY6" fmla="*/ 8634 h 10000"/>
                    <a:gd name="connsiteX7" fmla="*/ 9912 w 10000"/>
                    <a:gd name="connsiteY7" fmla="*/ 7702 h 10000"/>
                    <a:gd name="connsiteX8" fmla="*/ 9561 w 10000"/>
                    <a:gd name="connsiteY8" fmla="*/ 6832 h 10000"/>
                    <a:gd name="connsiteX9" fmla="*/ 9211 w 10000"/>
                    <a:gd name="connsiteY9" fmla="*/ 6087 h 10000"/>
                    <a:gd name="connsiteX10" fmla="*/ 8684 w 10000"/>
                    <a:gd name="connsiteY10" fmla="*/ 5342 h 10000"/>
                    <a:gd name="connsiteX11" fmla="*/ 7982 w 10000"/>
                    <a:gd name="connsiteY11" fmla="*/ 4783 h 10000"/>
                    <a:gd name="connsiteX12" fmla="*/ 7105 w 10000"/>
                    <a:gd name="connsiteY12" fmla="*/ 4410 h 10000"/>
                    <a:gd name="connsiteX13" fmla="*/ 6140 w 10000"/>
                    <a:gd name="connsiteY13" fmla="*/ 4099 h 10000"/>
                    <a:gd name="connsiteX14" fmla="*/ 6140 w 10000"/>
                    <a:gd name="connsiteY14" fmla="*/ 4099 h 10000"/>
                    <a:gd name="connsiteX15" fmla="*/ 6667 w 10000"/>
                    <a:gd name="connsiteY15" fmla="*/ 3727 h 10000"/>
                    <a:gd name="connsiteX16" fmla="*/ 7018 w 10000"/>
                    <a:gd name="connsiteY16" fmla="*/ 3230 h 10000"/>
                    <a:gd name="connsiteX17" fmla="*/ 7281 w 10000"/>
                    <a:gd name="connsiteY17" fmla="*/ 2671 h 10000"/>
                    <a:gd name="connsiteX18" fmla="*/ 7544 w 10000"/>
                    <a:gd name="connsiteY18" fmla="*/ 2112 h 10000"/>
                    <a:gd name="connsiteX19" fmla="*/ 7544 w 10000"/>
                    <a:gd name="connsiteY19" fmla="*/ 2112 h 10000"/>
                    <a:gd name="connsiteX20" fmla="*/ 7456 w 10000"/>
                    <a:gd name="connsiteY20" fmla="*/ 1677 h 10000"/>
                    <a:gd name="connsiteX21" fmla="*/ 7281 w 10000"/>
                    <a:gd name="connsiteY21" fmla="*/ 1242 h 10000"/>
                    <a:gd name="connsiteX22" fmla="*/ 7105 w 10000"/>
                    <a:gd name="connsiteY22" fmla="*/ 870 h 10000"/>
                    <a:gd name="connsiteX23" fmla="*/ 6754 w 10000"/>
                    <a:gd name="connsiteY23" fmla="*/ 559 h 10000"/>
                    <a:gd name="connsiteX24" fmla="*/ 6404 w 10000"/>
                    <a:gd name="connsiteY24" fmla="*/ 311 h 10000"/>
                    <a:gd name="connsiteX25" fmla="*/ 5965 w 10000"/>
                    <a:gd name="connsiteY25" fmla="*/ 186 h 10000"/>
                    <a:gd name="connsiteX26" fmla="*/ 5526 w 10000"/>
                    <a:gd name="connsiteY26" fmla="*/ 0 h 10000"/>
                    <a:gd name="connsiteX27" fmla="*/ 5000 w 10000"/>
                    <a:gd name="connsiteY27" fmla="*/ 0 h 10000"/>
                    <a:gd name="connsiteX28" fmla="*/ 5000 w 10000"/>
                    <a:gd name="connsiteY28" fmla="*/ 0 h 10000"/>
                    <a:gd name="connsiteX29" fmla="*/ 4561 w 10000"/>
                    <a:gd name="connsiteY29" fmla="*/ 0 h 10000"/>
                    <a:gd name="connsiteX30" fmla="*/ 4123 w 10000"/>
                    <a:gd name="connsiteY30" fmla="*/ 186 h 10000"/>
                    <a:gd name="connsiteX31" fmla="*/ 3684 w 10000"/>
                    <a:gd name="connsiteY31" fmla="*/ 311 h 10000"/>
                    <a:gd name="connsiteX32" fmla="*/ 3246 w 10000"/>
                    <a:gd name="connsiteY32" fmla="*/ 559 h 10000"/>
                    <a:gd name="connsiteX33" fmla="*/ 2982 w 10000"/>
                    <a:gd name="connsiteY33" fmla="*/ 870 h 10000"/>
                    <a:gd name="connsiteX34" fmla="*/ 2719 w 10000"/>
                    <a:gd name="connsiteY34" fmla="*/ 1242 h 10000"/>
                    <a:gd name="connsiteX35" fmla="*/ 2544 w 10000"/>
                    <a:gd name="connsiteY35" fmla="*/ 1677 h 10000"/>
                    <a:gd name="connsiteX36" fmla="*/ 2544 w 10000"/>
                    <a:gd name="connsiteY36" fmla="*/ 2112 h 10000"/>
                    <a:gd name="connsiteX37" fmla="*/ 2544 w 10000"/>
                    <a:gd name="connsiteY37" fmla="*/ 2112 h 10000"/>
                    <a:gd name="connsiteX38" fmla="*/ 2632 w 10000"/>
                    <a:gd name="connsiteY38" fmla="*/ 2671 h 10000"/>
                    <a:gd name="connsiteX39" fmla="*/ 2982 w 10000"/>
                    <a:gd name="connsiteY39" fmla="*/ 3230 h 10000"/>
                    <a:gd name="connsiteX40" fmla="*/ 3421 w 10000"/>
                    <a:gd name="connsiteY40" fmla="*/ 3727 h 10000"/>
                    <a:gd name="connsiteX41" fmla="*/ 3860 w 10000"/>
                    <a:gd name="connsiteY41" fmla="*/ 4099 h 10000"/>
                    <a:gd name="connsiteX42" fmla="*/ 3860 w 10000"/>
                    <a:gd name="connsiteY42" fmla="*/ 4099 h 10000"/>
                    <a:gd name="connsiteX43" fmla="*/ 2895 w 10000"/>
                    <a:gd name="connsiteY43" fmla="*/ 4410 h 10000"/>
                    <a:gd name="connsiteX44" fmla="*/ 2105 w 10000"/>
                    <a:gd name="connsiteY44" fmla="*/ 4783 h 10000"/>
                    <a:gd name="connsiteX45" fmla="*/ 1404 w 10000"/>
                    <a:gd name="connsiteY45" fmla="*/ 5342 h 10000"/>
                    <a:gd name="connsiteX46" fmla="*/ 877 w 10000"/>
                    <a:gd name="connsiteY46" fmla="*/ 6087 h 10000"/>
                    <a:gd name="connsiteX47" fmla="*/ 439 w 10000"/>
                    <a:gd name="connsiteY47" fmla="*/ 6832 h 10000"/>
                    <a:gd name="connsiteX48" fmla="*/ 175 w 10000"/>
                    <a:gd name="connsiteY48" fmla="*/ 7702 h 10000"/>
                    <a:gd name="connsiteX49" fmla="*/ 0 w 10000"/>
                    <a:gd name="connsiteY49" fmla="*/ 8634 h 10000"/>
                    <a:gd name="connsiteX50" fmla="*/ 0 w 10000"/>
                    <a:gd name="connsiteY50" fmla="*/ 9689 h 10000"/>
                    <a:gd name="connsiteX0" fmla="*/ 4912 w 10000"/>
                    <a:gd name="connsiteY0" fmla="*/ 10000 h 10000"/>
                    <a:gd name="connsiteX1" fmla="*/ 9561 w 10000"/>
                    <a:gd name="connsiteY1" fmla="*/ 9814 h 10000"/>
                    <a:gd name="connsiteX2" fmla="*/ 9912 w 10000"/>
                    <a:gd name="connsiteY2" fmla="*/ 9752 h 10000"/>
                    <a:gd name="connsiteX3" fmla="*/ 10000 w 10000"/>
                    <a:gd name="connsiteY3" fmla="*/ 9689 h 10000"/>
                    <a:gd name="connsiteX4" fmla="*/ 10000 w 10000"/>
                    <a:gd name="connsiteY4" fmla="*/ 9689 h 10000"/>
                    <a:gd name="connsiteX5" fmla="*/ 10000 w 10000"/>
                    <a:gd name="connsiteY5" fmla="*/ 8634 h 10000"/>
                    <a:gd name="connsiteX6" fmla="*/ 9912 w 10000"/>
                    <a:gd name="connsiteY6" fmla="*/ 7702 h 10000"/>
                    <a:gd name="connsiteX7" fmla="*/ 9561 w 10000"/>
                    <a:gd name="connsiteY7" fmla="*/ 6832 h 10000"/>
                    <a:gd name="connsiteX8" fmla="*/ 9211 w 10000"/>
                    <a:gd name="connsiteY8" fmla="*/ 6087 h 10000"/>
                    <a:gd name="connsiteX9" fmla="*/ 8684 w 10000"/>
                    <a:gd name="connsiteY9" fmla="*/ 5342 h 10000"/>
                    <a:gd name="connsiteX10" fmla="*/ 7982 w 10000"/>
                    <a:gd name="connsiteY10" fmla="*/ 4783 h 10000"/>
                    <a:gd name="connsiteX11" fmla="*/ 7105 w 10000"/>
                    <a:gd name="connsiteY11" fmla="*/ 4410 h 10000"/>
                    <a:gd name="connsiteX12" fmla="*/ 6140 w 10000"/>
                    <a:gd name="connsiteY12" fmla="*/ 4099 h 10000"/>
                    <a:gd name="connsiteX13" fmla="*/ 6140 w 10000"/>
                    <a:gd name="connsiteY13" fmla="*/ 4099 h 10000"/>
                    <a:gd name="connsiteX14" fmla="*/ 6667 w 10000"/>
                    <a:gd name="connsiteY14" fmla="*/ 3727 h 10000"/>
                    <a:gd name="connsiteX15" fmla="*/ 7018 w 10000"/>
                    <a:gd name="connsiteY15" fmla="*/ 3230 h 10000"/>
                    <a:gd name="connsiteX16" fmla="*/ 7281 w 10000"/>
                    <a:gd name="connsiteY16" fmla="*/ 2671 h 10000"/>
                    <a:gd name="connsiteX17" fmla="*/ 7544 w 10000"/>
                    <a:gd name="connsiteY17" fmla="*/ 2112 h 10000"/>
                    <a:gd name="connsiteX18" fmla="*/ 7544 w 10000"/>
                    <a:gd name="connsiteY18" fmla="*/ 2112 h 10000"/>
                    <a:gd name="connsiteX19" fmla="*/ 7456 w 10000"/>
                    <a:gd name="connsiteY19" fmla="*/ 1677 h 10000"/>
                    <a:gd name="connsiteX20" fmla="*/ 7281 w 10000"/>
                    <a:gd name="connsiteY20" fmla="*/ 1242 h 10000"/>
                    <a:gd name="connsiteX21" fmla="*/ 7105 w 10000"/>
                    <a:gd name="connsiteY21" fmla="*/ 870 h 10000"/>
                    <a:gd name="connsiteX22" fmla="*/ 6754 w 10000"/>
                    <a:gd name="connsiteY22" fmla="*/ 559 h 10000"/>
                    <a:gd name="connsiteX23" fmla="*/ 6404 w 10000"/>
                    <a:gd name="connsiteY23" fmla="*/ 311 h 10000"/>
                    <a:gd name="connsiteX24" fmla="*/ 5965 w 10000"/>
                    <a:gd name="connsiteY24" fmla="*/ 186 h 10000"/>
                    <a:gd name="connsiteX25" fmla="*/ 5526 w 10000"/>
                    <a:gd name="connsiteY25" fmla="*/ 0 h 10000"/>
                    <a:gd name="connsiteX26" fmla="*/ 5000 w 10000"/>
                    <a:gd name="connsiteY26" fmla="*/ 0 h 10000"/>
                    <a:gd name="connsiteX27" fmla="*/ 5000 w 10000"/>
                    <a:gd name="connsiteY27" fmla="*/ 0 h 10000"/>
                    <a:gd name="connsiteX28" fmla="*/ 4561 w 10000"/>
                    <a:gd name="connsiteY28" fmla="*/ 0 h 10000"/>
                    <a:gd name="connsiteX29" fmla="*/ 4123 w 10000"/>
                    <a:gd name="connsiteY29" fmla="*/ 186 h 10000"/>
                    <a:gd name="connsiteX30" fmla="*/ 3684 w 10000"/>
                    <a:gd name="connsiteY30" fmla="*/ 311 h 10000"/>
                    <a:gd name="connsiteX31" fmla="*/ 3246 w 10000"/>
                    <a:gd name="connsiteY31" fmla="*/ 559 h 10000"/>
                    <a:gd name="connsiteX32" fmla="*/ 2982 w 10000"/>
                    <a:gd name="connsiteY32" fmla="*/ 870 h 10000"/>
                    <a:gd name="connsiteX33" fmla="*/ 2719 w 10000"/>
                    <a:gd name="connsiteY33" fmla="*/ 1242 h 10000"/>
                    <a:gd name="connsiteX34" fmla="*/ 2544 w 10000"/>
                    <a:gd name="connsiteY34" fmla="*/ 1677 h 10000"/>
                    <a:gd name="connsiteX35" fmla="*/ 2544 w 10000"/>
                    <a:gd name="connsiteY35" fmla="*/ 2112 h 10000"/>
                    <a:gd name="connsiteX36" fmla="*/ 2544 w 10000"/>
                    <a:gd name="connsiteY36" fmla="*/ 2112 h 10000"/>
                    <a:gd name="connsiteX37" fmla="*/ 2632 w 10000"/>
                    <a:gd name="connsiteY37" fmla="*/ 2671 h 10000"/>
                    <a:gd name="connsiteX38" fmla="*/ 2982 w 10000"/>
                    <a:gd name="connsiteY38" fmla="*/ 3230 h 10000"/>
                    <a:gd name="connsiteX39" fmla="*/ 3421 w 10000"/>
                    <a:gd name="connsiteY39" fmla="*/ 3727 h 10000"/>
                    <a:gd name="connsiteX40" fmla="*/ 3860 w 10000"/>
                    <a:gd name="connsiteY40" fmla="*/ 4099 h 10000"/>
                    <a:gd name="connsiteX41" fmla="*/ 3860 w 10000"/>
                    <a:gd name="connsiteY41" fmla="*/ 4099 h 10000"/>
                    <a:gd name="connsiteX42" fmla="*/ 2895 w 10000"/>
                    <a:gd name="connsiteY42" fmla="*/ 4410 h 10000"/>
                    <a:gd name="connsiteX43" fmla="*/ 2105 w 10000"/>
                    <a:gd name="connsiteY43" fmla="*/ 4783 h 10000"/>
                    <a:gd name="connsiteX44" fmla="*/ 1404 w 10000"/>
                    <a:gd name="connsiteY44" fmla="*/ 5342 h 10000"/>
                    <a:gd name="connsiteX45" fmla="*/ 877 w 10000"/>
                    <a:gd name="connsiteY45" fmla="*/ 6087 h 10000"/>
                    <a:gd name="connsiteX46" fmla="*/ 439 w 10000"/>
                    <a:gd name="connsiteY46" fmla="*/ 6832 h 10000"/>
                    <a:gd name="connsiteX47" fmla="*/ 175 w 10000"/>
                    <a:gd name="connsiteY47" fmla="*/ 7702 h 10000"/>
                    <a:gd name="connsiteX48" fmla="*/ 0 w 10000"/>
                    <a:gd name="connsiteY48" fmla="*/ 8634 h 10000"/>
                    <a:gd name="connsiteX49" fmla="*/ 0 w 10000"/>
                    <a:gd name="connsiteY49" fmla="*/ 9689 h 10000"/>
                    <a:gd name="connsiteX0" fmla="*/ 9561 w 10000"/>
                    <a:gd name="connsiteY0" fmla="*/ 9814 h 9814"/>
                    <a:gd name="connsiteX1" fmla="*/ 9912 w 10000"/>
                    <a:gd name="connsiteY1" fmla="*/ 9752 h 9814"/>
                    <a:gd name="connsiteX2" fmla="*/ 10000 w 10000"/>
                    <a:gd name="connsiteY2" fmla="*/ 9689 h 9814"/>
                    <a:gd name="connsiteX3" fmla="*/ 10000 w 10000"/>
                    <a:gd name="connsiteY3" fmla="*/ 9689 h 9814"/>
                    <a:gd name="connsiteX4" fmla="*/ 10000 w 10000"/>
                    <a:gd name="connsiteY4" fmla="*/ 8634 h 9814"/>
                    <a:gd name="connsiteX5" fmla="*/ 9912 w 10000"/>
                    <a:gd name="connsiteY5" fmla="*/ 7702 h 9814"/>
                    <a:gd name="connsiteX6" fmla="*/ 9561 w 10000"/>
                    <a:gd name="connsiteY6" fmla="*/ 6832 h 9814"/>
                    <a:gd name="connsiteX7" fmla="*/ 9211 w 10000"/>
                    <a:gd name="connsiteY7" fmla="*/ 6087 h 9814"/>
                    <a:gd name="connsiteX8" fmla="*/ 8684 w 10000"/>
                    <a:gd name="connsiteY8" fmla="*/ 5342 h 9814"/>
                    <a:gd name="connsiteX9" fmla="*/ 7982 w 10000"/>
                    <a:gd name="connsiteY9" fmla="*/ 4783 h 9814"/>
                    <a:gd name="connsiteX10" fmla="*/ 7105 w 10000"/>
                    <a:gd name="connsiteY10" fmla="*/ 4410 h 9814"/>
                    <a:gd name="connsiteX11" fmla="*/ 6140 w 10000"/>
                    <a:gd name="connsiteY11" fmla="*/ 4099 h 9814"/>
                    <a:gd name="connsiteX12" fmla="*/ 6140 w 10000"/>
                    <a:gd name="connsiteY12" fmla="*/ 4099 h 9814"/>
                    <a:gd name="connsiteX13" fmla="*/ 6667 w 10000"/>
                    <a:gd name="connsiteY13" fmla="*/ 3727 h 9814"/>
                    <a:gd name="connsiteX14" fmla="*/ 7018 w 10000"/>
                    <a:gd name="connsiteY14" fmla="*/ 3230 h 9814"/>
                    <a:gd name="connsiteX15" fmla="*/ 7281 w 10000"/>
                    <a:gd name="connsiteY15" fmla="*/ 2671 h 9814"/>
                    <a:gd name="connsiteX16" fmla="*/ 7544 w 10000"/>
                    <a:gd name="connsiteY16" fmla="*/ 2112 h 9814"/>
                    <a:gd name="connsiteX17" fmla="*/ 7544 w 10000"/>
                    <a:gd name="connsiteY17" fmla="*/ 2112 h 9814"/>
                    <a:gd name="connsiteX18" fmla="*/ 7456 w 10000"/>
                    <a:gd name="connsiteY18" fmla="*/ 1677 h 9814"/>
                    <a:gd name="connsiteX19" fmla="*/ 7281 w 10000"/>
                    <a:gd name="connsiteY19" fmla="*/ 1242 h 9814"/>
                    <a:gd name="connsiteX20" fmla="*/ 7105 w 10000"/>
                    <a:gd name="connsiteY20" fmla="*/ 870 h 9814"/>
                    <a:gd name="connsiteX21" fmla="*/ 6754 w 10000"/>
                    <a:gd name="connsiteY21" fmla="*/ 559 h 9814"/>
                    <a:gd name="connsiteX22" fmla="*/ 6404 w 10000"/>
                    <a:gd name="connsiteY22" fmla="*/ 311 h 9814"/>
                    <a:gd name="connsiteX23" fmla="*/ 5965 w 10000"/>
                    <a:gd name="connsiteY23" fmla="*/ 186 h 9814"/>
                    <a:gd name="connsiteX24" fmla="*/ 5526 w 10000"/>
                    <a:gd name="connsiteY24" fmla="*/ 0 h 9814"/>
                    <a:gd name="connsiteX25" fmla="*/ 5000 w 10000"/>
                    <a:gd name="connsiteY25" fmla="*/ 0 h 9814"/>
                    <a:gd name="connsiteX26" fmla="*/ 5000 w 10000"/>
                    <a:gd name="connsiteY26" fmla="*/ 0 h 9814"/>
                    <a:gd name="connsiteX27" fmla="*/ 4561 w 10000"/>
                    <a:gd name="connsiteY27" fmla="*/ 0 h 9814"/>
                    <a:gd name="connsiteX28" fmla="*/ 4123 w 10000"/>
                    <a:gd name="connsiteY28" fmla="*/ 186 h 9814"/>
                    <a:gd name="connsiteX29" fmla="*/ 3684 w 10000"/>
                    <a:gd name="connsiteY29" fmla="*/ 311 h 9814"/>
                    <a:gd name="connsiteX30" fmla="*/ 3246 w 10000"/>
                    <a:gd name="connsiteY30" fmla="*/ 559 h 9814"/>
                    <a:gd name="connsiteX31" fmla="*/ 2982 w 10000"/>
                    <a:gd name="connsiteY31" fmla="*/ 870 h 9814"/>
                    <a:gd name="connsiteX32" fmla="*/ 2719 w 10000"/>
                    <a:gd name="connsiteY32" fmla="*/ 1242 h 9814"/>
                    <a:gd name="connsiteX33" fmla="*/ 2544 w 10000"/>
                    <a:gd name="connsiteY33" fmla="*/ 1677 h 9814"/>
                    <a:gd name="connsiteX34" fmla="*/ 2544 w 10000"/>
                    <a:gd name="connsiteY34" fmla="*/ 2112 h 9814"/>
                    <a:gd name="connsiteX35" fmla="*/ 2544 w 10000"/>
                    <a:gd name="connsiteY35" fmla="*/ 2112 h 9814"/>
                    <a:gd name="connsiteX36" fmla="*/ 2632 w 10000"/>
                    <a:gd name="connsiteY36" fmla="*/ 2671 h 9814"/>
                    <a:gd name="connsiteX37" fmla="*/ 2982 w 10000"/>
                    <a:gd name="connsiteY37" fmla="*/ 3230 h 9814"/>
                    <a:gd name="connsiteX38" fmla="*/ 3421 w 10000"/>
                    <a:gd name="connsiteY38" fmla="*/ 3727 h 9814"/>
                    <a:gd name="connsiteX39" fmla="*/ 3860 w 10000"/>
                    <a:gd name="connsiteY39" fmla="*/ 4099 h 9814"/>
                    <a:gd name="connsiteX40" fmla="*/ 3860 w 10000"/>
                    <a:gd name="connsiteY40" fmla="*/ 4099 h 9814"/>
                    <a:gd name="connsiteX41" fmla="*/ 2895 w 10000"/>
                    <a:gd name="connsiteY41" fmla="*/ 4410 h 9814"/>
                    <a:gd name="connsiteX42" fmla="*/ 2105 w 10000"/>
                    <a:gd name="connsiteY42" fmla="*/ 4783 h 9814"/>
                    <a:gd name="connsiteX43" fmla="*/ 1404 w 10000"/>
                    <a:gd name="connsiteY43" fmla="*/ 5342 h 9814"/>
                    <a:gd name="connsiteX44" fmla="*/ 877 w 10000"/>
                    <a:gd name="connsiteY44" fmla="*/ 6087 h 9814"/>
                    <a:gd name="connsiteX45" fmla="*/ 439 w 10000"/>
                    <a:gd name="connsiteY45" fmla="*/ 6832 h 9814"/>
                    <a:gd name="connsiteX46" fmla="*/ 175 w 10000"/>
                    <a:gd name="connsiteY46" fmla="*/ 7702 h 9814"/>
                    <a:gd name="connsiteX47" fmla="*/ 0 w 10000"/>
                    <a:gd name="connsiteY47" fmla="*/ 8634 h 9814"/>
                    <a:gd name="connsiteX48" fmla="*/ 0 w 10000"/>
                    <a:gd name="connsiteY48" fmla="*/ 9689 h 9814"/>
                    <a:gd name="connsiteX0" fmla="*/ 9912 w 10000"/>
                    <a:gd name="connsiteY0" fmla="*/ 9937 h 9937"/>
                    <a:gd name="connsiteX1" fmla="*/ 10000 w 10000"/>
                    <a:gd name="connsiteY1" fmla="*/ 9873 h 9937"/>
                    <a:gd name="connsiteX2" fmla="*/ 10000 w 10000"/>
                    <a:gd name="connsiteY2" fmla="*/ 9873 h 9937"/>
                    <a:gd name="connsiteX3" fmla="*/ 10000 w 10000"/>
                    <a:gd name="connsiteY3" fmla="*/ 8798 h 9937"/>
                    <a:gd name="connsiteX4" fmla="*/ 9912 w 10000"/>
                    <a:gd name="connsiteY4" fmla="*/ 7848 h 9937"/>
                    <a:gd name="connsiteX5" fmla="*/ 9561 w 10000"/>
                    <a:gd name="connsiteY5" fmla="*/ 6961 h 9937"/>
                    <a:gd name="connsiteX6" fmla="*/ 9211 w 10000"/>
                    <a:gd name="connsiteY6" fmla="*/ 6202 h 9937"/>
                    <a:gd name="connsiteX7" fmla="*/ 8684 w 10000"/>
                    <a:gd name="connsiteY7" fmla="*/ 5443 h 9937"/>
                    <a:gd name="connsiteX8" fmla="*/ 7982 w 10000"/>
                    <a:gd name="connsiteY8" fmla="*/ 4874 h 9937"/>
                    <a:gd name="connsiteX9" fmla="*/ 7105 w 10000"/>
                    <a:gd name="connsiteY9" fmla="*/ 4494 h 9937"/>
                    <a:gd name="connsiteX10" fmla="*/ 6140 w 10000"/>
                    <a:gd name="connsiteY10" fmla="*/ 4177 h 9937"/>
                    <a:gd name="connsiteX11" fmla="*/ 6140 w 10000"/>
                    <a:gd name="connsiteY11" fmla="*/ 4177 h 9937"/>
                    <a:gd name="connsiteX12" fmla="*/ 6667 w 10000"/>
                    <a:gd name="connsiteY12" fmla="*/ 3798 h 9937"/>
                    <a:gd name="connsiteX13" fmla="*/ 7018 w 10000"/>
                    <a:gd name="connsiteY13" fmla="*/ 3291 h 9937"/>
                    <a:gd name="connsiteX14" fmla="*/ 7281 w 10000"/>
                    <a:gd name="connsiteY14" fmla="*/ 2722 h 9937"/>
                    <a:gd name="connsiteX15" fmla="*/ 7544 w 10000"/>
                    <a:gd name="connsiteY15" fmla="*/ 2152 h 9937"/>
                    <a:gd name="connsiteX16" fmla="*/ 7544 w 10000"/>
                    <a:gd name="connsiteY16" fmla="*/ 2152 h 9937"/>
                    <a:gd name="connsiteX17" fmla="*/ 7456 w 10000"/>
                    <a:gd name="connsiteY17" fmla="*/ 1709 h 9937"/>
                    <a:gd name="connsiteX18" fmla="*/ 7281 w 10000"/>
                    <a:gd name="connsiteY18" fmla="*/ 1266 h 9937"/>
                    <a:gd name="connsiteX19" fmla="*/ 7105 w 10000"/>
                    <a:gd name="connsiteY19" fmla="*/ 886 h 9937"/>
                    <a:gd name="connsiteX20" fmla="*/ 6754 w 10000"/>
                    <a:gd name="connsiteY20" fmla="*/ 570 h 9937"/>
                    <a:gd name="connsiteX21" fmla="*/ 6404 w 10000"/>
                    <a:gd name="connsiteY21" fmla="*/ 317 h 9937"/>
                    <a:gd name="connsiteX22" fmla="*/ 5965 w 10000"/>
                    <a:gd name="connsiteY22" fmla="*/ 190 h 9937"/>
                    <a:gd name="connsiteX23" fmla="*/ 5526 w 10000"/>
                    <a:gd name="connsiteY23" fmla="*/ 0 h 9937"/>
                    <a:gd name="connsiteX24" fmla="*/ 5000 w 10000"/>
                    <a:gd name="connsiteY24" fmla="*/ 0 h 9937"/>
                    <a:gd name="connsiteX25" fmla="*/ 5000 w 10000"/>
                    <a:gd name="connsiteY25" fmla="*/ 0 h 9937"/>
                    <a:gd name="connsiteX26" fmla="*/ 4561 w 10000"/>
                    <a:gd name="connsiteY26" fmla="*/ 0 h 9937"/>
                    <a:gd name="connsiteX27" fmla="*/ 4123 w 10000"/>
                    <a:gd name="connsiteY27" fmla="*/ 190 h 9937"/>
                    <a:gd name="connsiteX28" fmla="*/ 3684 w 10000"/>
                    <a:gd name="connsiteY28" fmla="*/ 317 h 9937"/>
                    <a:gd name="connsiteX29" fmla="*/ 3246 w 10000"/>
                    <a:gd name="connsiteY29" fmla="*/ 570 h 9937"/>
                    <a:gd name="connsiteX30" fmla="*/ 2982 w 10000"/>
                    <a:gd name="connsiteY30" fmla="*/ 886 h 9937"/>
                    <a:gd name="connsiteX31" fmla="*/ 2719 w 10000"/>
                    <a:gd name="connsiteY31" fmla="*/ 1266 h 9937"/>
                    <a:gd name="connsiteX32" fmla="*/ 2544 w 10000"/>
                    <a:gd name="connsiteY32" fmla="*/ 1709 h 9937"/>
                    <a:gd name="connsiteX33" fmla="*/ 2544 w 10000"/>
                    <a:gd name="connsiteY33" fmla="*/ 2152 h 9937"/>
                    <a:gd name="connsiteX34" fmla="*/ 2544 w 10000"/>
                    <a:gd name="connsiteY34" fmla="*/ 2152 h 9937"/>
                    <a:gd name="connsiteX35" fmla="*/ 2632 w 10000"/>
                    <a:gd name="connsiteY35" fmla="*/ 2722 h 9937"/>
                    <a:gd name="connsiteX36" fmla="*/ 2982 w 10000"/>
                    <a:gd name="connsiteY36" fmla="*/ 3291 h 9937"/>
                    <a:gd name="connsiteX37" fmla="*/ 3421 w 10000"/>
                    <a:gd name="connsiteY37" fmla="*/ 3798 h 9937"/>
                    <a:gd name="connsiteX38" fmla="*/ 3860 w 10000"/>
                    <a:gd name="connsiteY38" fmla="*/ 4177 h 9937"/>
                    <a:gd name="connsiteX39" fmla="*/ 3860 w 10000"/>
                    <a:gd name="connsiteY39" fmla="*/ 4177 h 9937"/>
                    <a:gd name="connsiteX40" fmla="*/ 2895 w 10000"/>
                    <a:gd name="connsiteY40" fmla="*/ 4494 h 9937"/>
                    <a:gd name="connsiteX41" fmla="*/ 2105 w 10000"/>
                    <a:gd name="connsiteY41" fmla="*/ 4874 h 9937"/>
                    <a:gd name="connsiteX42" fmla="*/ 1404 w 10000"/>
                    <a:gd name="connsiteY42" fmla="*/ 5443 h 9937"/>
                    <a:gd name="connsiteX43" fmla="*/ 877 w 10000"/>
                    <a:gd name="connsiteY43" fmla="*/ 6202 h 9937"/>
                    <a:gd name="connsiteX44" fmla="*/ 439 w 10000"/>
                    <a:gd name="connsiteY44" fmla="*/ 6961 h 9937"/>
                    <a:gd name="connsiteX45" fmla="*/ 175 w 10000"/>
                    <a:gd name="connsiteY45" fmla="*/ 7848 h 9937"/>
                    <a:gd name="connsiteX46" fmla="*/ 0 w 10000"/>
                    <a:gd name="connsiteY46" fmla="*/ 8798 h 9937"/>
                    <a:gd name="connsiteX47" fmla="*/ 0 w 10000"/>
                    <a:gd name="connsiteY47" fmla="*/ 9873 h 9937"/>
                    <a:gd name="connsiteX0" fmla="*/ 9912 w 10000"/>
                    <a:gd name="connsiteY0" fmla="*/ 10000 h 10000"/>
                    <a:gd name="connsiteX1" fmla="*/ 10000 w 10000"/>
                    <a:gd name="connsiteY1" fmla="*/ 9936 h 10000"/>
                    <a:gd name="connsiteX2" fmla="*/ 10000 w 10000"/>
                    <a:gd name="connsiteY2" fmla="*/ 8854 h 10000"/>
                    <a:gd name="connsiteX3" fmla="*/ 9912 w 10000"/>
                    <a:gd name="connsiteY3" fmla="*/ 7898 h 10000"/>
                    <a:gd name="connsiteX4" fmla="*/ 9561 w 10000"/>
                    <a:gd name="connsiteY4" fmla="*/ 7005 h 10000"/>
                    <a:gd name="connsiteX5" fmla="*/ 9211 w 10000"/>
                    <a:gd name="connsiteY5" fmla="*/ 6241 h 10000"/>
                    <a:gd name="connsiteX6" fmla="*/ 8684 w 10000"/>
                    <a:gd name="connsiteY6" fmla="*/ 5478 h 10000"/>
                    <a:gd name="connsiteX7" fmla="*/ 7982 w 10000"/>
                    <a:gd name="connsiteY7" fmla="*/ 4905 h 10000"/>
                    <a:gd name="connsiteX8" fmla="*/ 7105 w 10000"/>
                    <a:gd name="connsiteY8" fmla="*/ 4522 h 10000"/>
                    <a:gd name="connsiteX9" fmla="*/ 6140 w 10000"/>
                    <a:gd name="connsiteY9" fmla="*/ 4203 h 10000"/>
                    <a:gd name="connsiteX10" fmla="*/ 6140 w 10000"/>
                    <a:gd name="connsiteY10" fmla="*/ 4203 h 10000"/>
                    <a:gd name="connsiteX11" fmla="*/ 6667 w 10000"/>
                    <a:gd name="connsiteY11" fmla="*/ 3822 h 10000"/>
                    <a:gd name="connsiteX12" fmla="*/ 7018 w 10000"/>
                    <a:gd name="connsiteY12" fmla="*/ 3312 h 10000"/>
                    <a:gd name="connsiteX13" fmla="*/ 7281 w 10000"/>
                    <a:gd name="connsiteY13" fmla="*/ 2739 h 10000"/>
                    <a:gd name="connsiteX14" fmla="*/ 7544 w 10000"/>
                    <a:gd name="connsiteY14" fmla="*/ 2166 h 10000"/>
                    <a:gd name="connsiteX15" fmla="*/ 7544 w 10000"/>
                    <a:gd name="connsiteY15" fmla="*/ 2166 h 10000"/>
                    <a:gd name="connsiteX16" fmla="*/ 7456 w 10000"/>
                    <a:gd name="connsiteY16" fmla="*/ 1720 h 10000"/>
                    <a:gd name="connsiteX17" fmla="*/ 7281 w 10000"/>
                    <a:gd name="connsiteY17" fmla="*/ 1274 h 10000"/>
                    <a:gd name="connsiteX18" fmla="*/ 7105 w 10000"/>
                    <a:gd name="connsiteY18" fmla="*/ 892 h 10000"/>
                    <a:gd name="connsiteX19" fmla="*/ 6754 w 10000"/>
                    <a:gd name="connsiteY19" fmla="*/ 574 h 10000"/>
                    <a:gd name="connsiteX20" fmla="*/ 6404 w 10000"/>
                    <a:gd name="connsiteY20" fmla="*/ 319 h 10000"/>
                    <a:gd name="connsiteX21" fmla="*/ 5965 w 10000"/>
                    <a:gd name="connsiteY21" fmla="*/ 191 h 10000"/>
                    <a:gd name="connsiteX22" fmla="*/ 5526 w 10000"/>
                    <a:gd name="connsiteY22" fmla="*/ 0 h 10000"/>
                    <a:gd name="connsiteX23" fmla="*/ 5000 w 10000"/>
                    <a:gd name="connsiteY23" fmla="*/ 0 h 10000"/>
                    <a:gd name="connsiteX24" fmla="*/ 5000 w 10000"/>
                    <a:gd name="connsiteY24" fmla="*/ 0 h 10000"/>
                    <a:gd name="connsiteX25" fmla="*/ 4561 w 10000"/>
                    <a:gd name="connsiteY25" fmla="*/ 0 h 10000"/>
                    <a:gd name="connsiteX26" fmla="*/ 4123 w 10000"/>
                    <a:gd name="connsiteY26" fmla="*/ 191 h 10000"/>
                    <a:gd name="connsiteX27" fmla="*/ 3684 w 10000"/>
                    <a:gd name="connsiteY27" fmla="*/ 319 h 10000"/>
                    <a:gd name="connsiteX28" fmla="*/ 3246 w 10000"/>
                    <a:gd name="connsiteY28" fmla="*/ 574 h 10000"/>
                    <a:gd name="connsiteX29" fmla="*/ 2982 w 10000"/>
                    <a:gd name="connsiteY29" fmla="*/ 892 h 10000"/>
                    <a:gd name="connsiteX30" fmla="*/ 2719 w 10000"/>
                    <a:gd name="connsiteY30" fmla="*/ 1274 h 10000"/>
                    <a:gd name="connsiteX31" fmla="*/ 2544 w 10000"/>
                    <a:gd name="connsiteY31" fmla="*/ 1720 h 10000"/>
                    <a:gd name="connsiteX32" fmla="*/ 2544 w 10000"/>
                    <a:gd name="connsiteY32" fmla="*/ 2166 h 10000"/>
                    <a:gd name="connsiteX33" fmla="*/ 2544 w 10000"/>
                    <a:gd name="connsiteY33" fmla="*/ 2166 h 10000"/>
                    <a:gd name="connsiteX34" fmla="*/ 2632 w 10000"/>
                    <a:gd name="connsiteY34" fmla="*/ 2739 h 10000"/>
                    <a:gd name="connsiteX35" fmla="*/ 2982 w 10000"/>
                    <a:gd name="connsiteY35" fmla="*/ 3312 h 10000"/>
                    <a:gd name="connsiteX36" fmla="*/ 3421 w 10000"/>
                    <a:gd name="connsiteY36" fmla="*/ 3822 h 10000"/>
                    <a:gd name="connsiteX37" fmla="*/ 3860 w 10000"/>
                    <a:gd name="connsiteY37" fmla="*/ 4203 h 10000"/>
                    <a:gd name="connsiteX38" fmla="*/ 3860 w 10000"/>
                    <a:gd name="connsiteY38" fmla="*/ 4203 h 10000"/>
                    <a:gd name="connsiteX39" fmla="*/ 2895 w 10000"/>
                    <a:gd name="connsiteY39" fmla="*/ 4522 h 10000"/>
                    <a:gd name="connsiteX40" fmla="*/ 2105 w 10000"/>
                    <a:gd name="connsiteY40" fmla="*/ 4905 h 10000"/>
                    <a:gd name="connsiteX41" fmla="*/ 1404 w 10000"/>
                    <a:gd name="connsiteY41" fmla="*/ 5478 h 10000"/>
                    <a:gd name="connsiteX42" fmla="*/ 877 w 10000"/>
                    <a:gd name="connsiteY42" fmla="*/ 6241 h 10000"/>
                    <a:gd name="connsiteX43" fmla="*/ 439 w 10000"/>
                    <a:gd name="connsiteY43" fmla="*/ 7005 h 10000"/>
                    <a:gd name="connsiteX44" fmla="*/ 175 w 10000"/>
                    <a:gd name="connsiteY44" fmla="*/ 7898 h 10000"/>
                    <a:gd name="connsiteX45" fmla="*/ 0 w 10000"/>
                    <a:gd name="connsiteY45" fmla="*/ 8854 h 10000"/>
                    <a:gd name="connsiteX46" fmla="*/ 0 w 10000"/>
                    <a:gd name="connsiteY46" fmla="*/ 9936 h 10000"/>
                    <a:gd name="connsiteX0" fmla="*/ 9912 w 10000"/>
                    <a:gd name="connsiteY0" fmla="*/ 10000 h 10000"/>
                    <a:gd name="connsiteX1" fmla="*/ 10000 w 10000"/>
                    <a:gd name="connsiteY1" fmla="*/ 8854 h 10000"/>
                    <a:gd name="connsiteX2" fmla="*/ 9912 w 10000"/>
                    <a:gd name="connsiteY2" fmla="*/ 7898 h 10000"/>
                    <a:gd name="connsiteX3" fmla="*/ 9561 w 10000"/>
                    <a:gd name="connsiteY3" fmla="*/ 7005 h 10000"/>
                    <a:gd name="connsiteX4" fmla="*/ 9211 w 10000"/>
                    <a:gd name="connsiteY4" fmla="*/ 6241 h 10000"/>
                    <a:gd name="connsiteX5" fmla="*/ 8684 w 10000"/>
                    <a:gd name="connsiteY5" fmla="*/ 5478 h 10000"/>
                    <a:gd name="connsiteX6" fmla="*/ 7982 w 10000"/>
                    <a:gd name="connsiteY6" fmla="*/ 4905 h 10000"/>
                    <a:gd name="connsiteX7" fmla="*/ 7105 w 10000"/>
                    <a:gd name="connsiteY7" fmla="*/ 4522 h 10000"/>
                    <a:gd name="connsiteX8" fmla="*/ 6140 w 10000"/>
                    <a:gd name="connsiteY8" fmla="*/ 4203 h 10000"/>
                    <a:gd name="connsiteX9" fmla="*/ 6140 w 10000"/>
                    <a:gd name="connsiteY9" fmla="*/ 4203 h 10000"/>
                    <a:gd name="connsiteX10" fmla="*/ 6667 w 10000"/>
                    <a:gd name="connsiteY10" fmla="*/ 3822 h 10000"/>
                    <a:gd name="connsiteX11" fmla="*/ 7018 w 10000"/>
                    <a:gd name="connsiteY11" fmla="*/ 3312 h 10000"/>
                    <a:gd name="connsiteX12" fmla="*/ 7281 w 10000"/>
                    <a:gd name="connsiteY12" fmla="*/ 2739 h 10000"/>
                    <a:gd name="connsiteX13" fmla="*/ 7544 w 10000"/>
                    <a:gd name="connsiteY13" fmla="*/ 2166 h 10000"/>
                    <a:gd name="connsiteX14" fmla="*/ 7544 w 10000"/>
                    <a:gd name="connsiteY14" fmla="*/ 2166 h 10000"/>
                    <a:gd name="connsiteX15" fmla="*/ 7456 w 10000"/>
                    <a:gd name="connsiteY15" fmla="*/ 1720 h 10000"/>
                    <a:gd name="connsiteX16" fmla="*/ 7281 w 10000"/>
                    <a:gd name="connsiteY16" fmla="*/ 1274 h 10000"/>
                    <a:gd name="connsiteX17" fmla="*/ 7105 w 10000"/>
                    <a:gd name="connsiteY17" fmla="*/ 892 h 10000"/>
                    <a:gd name="connsiteX18" fmla="*/ 6754 w 10000"/>
                    <a:gd name="connsiteY18" fmla="*/ 574 h 10000"/>
                    <a:gd name="connsiteX19" fmla="*/ 6404 w 10000"/>
                    <a:gd name="connsiteY19" fmla="*/ 319 h 10000"/>
                    <a:gd name="connsiteX20" fmla="*/ 5965 w 10000"/>
                    <a:gd name="connsiteY20" fmla="*/ 191 h 10000"/>
                    <a:gd name="connsiteX21" fmla="*/ 5526 w 10000"/>
                    <a:gd name="connsiteY21" fmla="*/ 0 h 10000"/>
                    <a:gd name="connsiteX22" fmla="*/ 5000 w 10000"/>
                    <a:gd name="connsiteY22" fmla="*/ 0 h 10000"/>
                    <a:gd name="connsiteX23" fmla="*/ 5000 w 10000"/>
                    <a:gd name="connsiteY23" fmla="*/ 0 h 10000"/>
                    <a:gd name="connsiteX24" fmla="*/ 4561 w 10000"/>
                    <a:gd name="connsiteY24" fmla="*/ 0 h 10000"/>
                    <a:gd name="connsiteX25" fmla="*/ 4123 w 10000"/>
                    <a:gd name="connsiteY25" fmla="*/ 191 h 10000"/>
                    <a:gd name="connsiteX26" fmla="*/ 3684 w 10000"/>
                    <a:gd name="connsiteY26" fmla="*/ 319 h 10000"/>
                    <a:gd name="connsiteX27" fmla="*/ 3246 w 10000"/>
                    <a:gd name="connsiteY27" fmla="*/ 574 h 10000"/>
                    <a:gd name="connsiteX28" fmla="*/ 2982 w 10000"/>
                    <a:gd name="connsiteY28" fmla="*/ 892 h 10000"/>
                    <a:gd name="connsiteX29" fmla="*/ 2719 w 10000"/>
                    <a:gd name="connsiteY29" fmla="*/ 1274 h 10000"/>
                    <a:gd name="connsiteX30" fmla="*/ 2544 w 10000"/>
                    <a:gd name="connsiteY30" fmla="*/ 1720 h 10000"/>
                    <a:gd name="connsiteX31" fmla="*/ 2544 w 10000"/>
                    <a:gd name="connsiteY31" fmla="*/ 2166 h 10000"/>
                    <a:gd name="connsiteX32" fmla="*/ 2544 w 10000"/>
                    <a:gd name="connsiteY32" fmla="*/ 2166 h 10000"/>
                    <a:gd name="connsiteX33" fmla="*/ 2632 w 10000"/>
                    <a:gd name="connsiteY33" fmla="*/ 2739 h 10000"/>
                    <a:gd name="connsiteX34" fmla="*/ 2982 w 10000"/>
                    <a:gd name="connsiteY34" fmla="*/ 3312 h 10000"/>
                    <a:gd name="connsiteX35" fmla="*/ 3421 w 10000"/>
                    <a:gd name="connsiteY35" fmla="*/ 3822 h 10000"/>
                    <a:gd name="connsiteX36" fmla="*/ 3860 w 10000"/>
                    <a:gd name="connsiteY36" fmla="*/ 4203 h 10000"/>
                    <a:gd name="connsiteX37" fmla="*/ 3860 w 10000"/>
                    <a:gd name="connsiteY37" fmla="*/ 4203 h 10000"/>
                    <a:gd name="connsiteX38" fmla="*/ 2895 w 10000"/>
                    <a:gd name="connsiteY38" fmla="*/ 4522 h 10000"/>
                    <a:gd name="connsiteX39" fmla="*/ 2105 w 10000"/>
                    <a:gd name="connsiteY39" fmla="*/ 4905 h 10000"/>
                    <a:gd name="connsiteX40" fmla="*/ 1404 w 10000"/>
                    <a:gd name="connsiteY40" fmla="*/ 5478 h 10000"/>
                    <a:gd name="connsiteX41" fmla="*/ 877 w 10000"/>
                    <a:gd name="connsiteY41" fmla="*/ 6241 h 10000"/>
                    <a:gd name="connsiteX42" fmla="*/ 439 w 10000"/>
                    <a:gd name="connsiteY42" fmla="*/ 7005 h 10000"/>
                    <a:gd name="connsiteX43" fmla="*/ 175 w 10000"/>
                    <a:gd name="connsiteY43" fmla="*/ 7898 h 10000"/>
                    <a:gd name="connsiteX44" fmla="*/ 0 w 10000"/>
                    <a:gd name="connsiteY44" fmla="*/ 8854 h 10000"/>
                    <a:gd name="connsiteX45" fmla="*/ 0 w 10000"/>
                    <a:gd name="connsiteY45" fmla="*/ 9936 h 10000"/>
                    <a:gd name="connsiteX0" fmla="*/ 10000 w 10000"/>
                    <a:gd name="connsiteY0" fmla="*/ 8854 h 9936"/>
                    <a:gd name="connsiteX1" fmla="*/ 9912 w 10000"/>
                    <a:gd name="connsiteY1" fmla="*/ 7898 h 9936"/>
                    <a:gd name="connsiteX2" fmla="*/ 9561 w 10000"/>
                    <a:gd name="connsiteY2" fmla="*/ 7005 h 9936"/>
                    <a:gd name="connsiteX3" fmla="*/ 9211 w 10000"/>
                    <a:gd name="connsiteY3" fmla="*/ 6241 h 9936"/>
                    <a:gd name="connsiteX4" fmla="*/ 8684 w 10000"/>
                    <a:gd name="connsiteY4" fmla="*/ 5478 h 9936"/>
                    <a:gd name="connsiteX5" fmla="*/ 7982 w 10000"/>
                    <a:gd name="connsiteY5" fmla="*/ 4905 h 9936"/>
                    <a:gd name="connsiteX6" fmla="*/ 7105 w 10000"/>
                    <a:gd name="connsiteY6" fmla="*/ 4522 h 9936"/>
                    <a:gd name="connsiteX7" fmla="*/ 6140 w 10000"/>
                    <a:gd name="connsiteY7" fmla="*/ 4203 h 9936"/>
                    <a:gd name="connsiteX8" fmla="*/ 6140 w 10000"/>
                    <a:gd name="connsiteY8" fmla="*/ 4203 h 9936"/>
                    <a:gd name="connsiteX9" fmla="*/ 6667 w 10000"/>
                    <a:gd name="connsiteY9" fmla="*/ 3822 h 9936"/>
                    <a:gd name="connsiteX10" fmla="*/ 7018 w 10000"/>
                    <a:gd name="connsiteY10" fmla="*/ 3312 h 9936"/>
                    <a:gd name="connsiteX11" fmla="*/ 7281 w 10000"/>
                    <a:gd name="connsiteY11" fmla="*/ 2739 h 9936"/>
                    <a:gd name="connsiteX12" fmla="*/ 7544 w 10000"/>
                    <a:gd name="connsiteY12" fmla="*/ 2166 h 9936"/>
                    <a:gd name="connsiteX13" fmla="*/ 7544 w 10000"/>
                    <a:gd name="connsiteY13" fmla="*/ 2166 h 9936"/>
                    <a:gd name="connsiteX14" fmla="*/ 7456 w 10000"/>
                    <a:gd name="connsiteY14" fmla="*/ 1720 h 9936"/>
                    <a:gd name="connsiteX15" fmla="*/ 7281 w 10000"/>
                    <a:gd name="connsiteY15" fmla="*/ 1274 h 9936"/>
                    <a:gd name="connsiteX16" fmla="*/ 7105 w 10000"/>
                    <a:gd name="connsiteY16" fmla="*/ 892 h 9936"/>
                    <a:gd name="connsiteX17" fmla="*/ 6754 w 10000"/>
                    <a:gd name="connsiteY17" fmla="*/ 574 h 9936"/>
                    <a:gd name="connsiteX18" fmla="*/ 6404 w 10000"/>
                    <a:gd name="connsiteY18" fmla="*/ 319 h 9936"/>
                    <a:gd name="connsiteX19" fmla="*/ 5965 w 10000"/>
                    <a:gd name="connsiteY19" fmla="*/ 191 h 9936"/>
                    <a:gd name="connsiteX20" fmla="*/ 5526 w 10000"/>
                    <a:gd name="connsiteY20" fmla="*/ 0 h 9936"/>
                    <a:gd name="connsiteX21" fmla="*/ 5000 w 10000"/>
                    <a:gd name="connsiteY21" fmla="*/ 0 h 9936"/>
                    <a:gd name="connsiteX22" fmla="*/ 5000 w 10000"/>
                    <a:gd name="connsiteY22" fmla="*/ 0 h 9936"/>
                    <a:gd name="connsiteX23" fmla="*/ 4561 w 10000"/>
                    <a:gd name="connsiteY23" fmla="*/ 0 h 9936"/>
                    <a:gd name="connsiteX24" fmla="*/ 4123 w 10000"/>
                    <a:gd name="connsiteY24" fmla="*/ 191 h 9936"/>
                    <a:gd name="connsiteX25" fmla="*/ 3684 w 10000"/>
                    <a:gd name="connsiteY25" fmla="*/ 319 h 9936"/>
                    <a:gd name="connsiteX26" fmla="*/ 3246 w 10000"/>
                    <a:gd name="connsiteY26" fmla="*/ 574 h 9936"/>
                    <a:gd name="connsiteX27" fmla="*/ 2982 w 10000"/>
                    <a:gd name="connsiteY27" fmla="*/ 892 h 9936"/>
                    <a:gd name="connsiteX28" fmla="*/ 2719 w 10000"/>
                    <a:gd name="connsiteY28" fmla="*/ 1274 h 9936"/>
                    <a:gd name="connsiteX29" fmla="*/ 2544 w 10000"/>
                    <a:gd name="connsiteY29" fmla="*/ 1720 h 9936"/>
                    <a:gd name="connsiteX30" fmla="*/ 2544 w 10000"/>
                    <a:gd name="connsiteY30" fmla="*/ 2166 h 9936"/>
                    <a:gd name="connsiteX31" fmla="*/ 2544 w 10000"/>
                    <a:gd name="connsiteY31" fmla="*/ 2166 h 9936"/>
                    <a:gd name="connsiteX32" fmla="*/ 2632 w 10000"/>
                    <a:gd name="connsiteY32" fmla="*/ 2739 h 9936"/>
                    <a:gd name="connsiteX33" fmla="*/ 2982 w 10000"/>
                    <a:gd name="connsiteY33" fmla="*/ 3312 h 9936"/>
                    <a:gd name="connsiteX34" fmla="*/ 3421 w 10000"/>
                    <a:gd name="connsiteY34" fmla="*/ 3822 h 9936"/>
                    <a:gd name="connsiteX35" fmla="*/ 3860 w 10000"/>
                    <a:gd name="connsiteY35" fmla="*/ 4203 h 9936"/>
                    <a:gd name="connsiteX36" fmla="*/ 3860 w 10000"/>
                    <a:gd name="connsiteY36" fmla="*/ 4203 h 9936"/>
                    <a:gd name="connsiteX37" fmla="*/ 2895 w 10000"/>
                    <a:gd name="connsiteY37" fmla="*/ 4522 h 9936"/>
                    <a:gd name="connsiteX38" fmla="*/ 2105 w 10000"/>
                    <a:gd name="connsiteY38" fmla="*/ 4905 h 9936"/>
                    <a:gd name="connsiteX39" fmla="*/ 1404 w 10000"/>
                    <a:gd name="connsiteY39" fmla="*/ 5478 h 9936"/>
                    <a:gd name="connsiteX40" fmla="*/ 877 w 10000"/>
                    <a:gd name="connsiteY40" fmla="*/ 6241 h 9936"/>
                    <a:gd name="connsiteX41" fmla="*/ 439 w 10000"/>
                    <a:gd name="connsiteY41" fmla="*/ 7005 h 9936"/>
                    <a:gd name="connsiteX42" fmla="*/ 175 w 10000"/>
                    <a:gd name="connsiteY42" fmla="*/ 7898 h 9936"/>
                    <a:gd name="connsiteX43" fmla="*/ 0 w 10000"/>
                    <a:gd name="connsiteY43" fmla="*/ 8854 h 9936"/>
                    <a:gd name="connsiteX44" fmla="*/ 0 w 10000"/>
                    <a:gd name="connsiteY44" fmla="*/ 9936 h 9936"/>
                    <a:gd name="connsiteX0" fmla="*/ 9912 w 9912"/>
                    <a:gd name="connsiteY0" fmla="*/ 7949 h 10000"/>
                    <a:gd name="connsiteX1" fmla="*/ 9561 w 9912"/>
                    <a:gd name="connsiteY1" fmla="*/ 7050 h 10000"/>
                    <a:gd name="connsiteX2" fmla="*/ 9211 w 9912"/>
                    <a:gd name="connsiteY2" fmla="*/ 6281 h 10000"/>
                    <a:gd name="connsiteX3" fmla="*/ 8684 w 9912"/>
                    <a:gd name="connsiteY3" fmla="*/ 5513 h 10000"/>
                    <a:gd name="connsiteX4" fmla="*/ 7982 w 9912"/>
                    <a:gd name="connsiteY4" fmla="*/ 4937 h 10000"/>
                    <a:gd name="connsiteX5" fmla="*/ 7105 w 9912"/>
                    <a:gd name="connsiteY5" fmla="*/ 4551 h 10000"/>
                    <a:gd name="connsiteX6" fmla="*/ 6140 w 9912"/>
                    <a:gd name="connsiteY6" fmla="*/ 4230 h 10000"/>
                    <a:gd name="connsiteX7" fmla="*/ 6140 w 9912"/>
                    <a:gd name="connsiteY7" fmla="*/ 4230 h 10000"/>
                    <a:gd name="connsiteX8" fmla="*/ 6667 w 9912"/>
                    <a:gd name="connsiteY8" fmla="*/ 3847 h 10000"/>
                    <a:gd name="connsiteX9" fmla="*/ 7018 w 9912"/>
                    <a:gd name="connsiteY9" fmla="*/ 3333 h 10000"/>
                    <a:gd name="connsiteX10" fmla="*/ 7281 w 9912"/>
                    <a:gd name="connsiteY10" fmla="*/ 2757 h 10000"/>
                    <a:gd name="connsiteX11" fmla="*/ 7544 w 9912"/>
                    <a:gd name="connsiteY11" fmla="*/ 2180 h 10000"/>
                    <a:gd name="connsiteX12" fmla="*/ 7544 w 9912"/>
                    <a:gd name="connsiteY12" fmla="*/ 2180 h 10000"/>
                    <a:gd name="connsiteX13" fmla="*/ 7456 w 9912"/>
                    <a:gd name="connsiteY13" fmla="*/ 1731 h 10000"/>
                    <a:gd name="connsiteX14" fmla="*/ 7281 w 9912"/>
                    <a:gd name="connsiteY14" fmla="*/ 1282 h 10000"/>
                    <a:gd name="connsiteX15" fmla="*/ 7105 w 9912"/>
                    <a:gd name="connsiteY15" fmla="*/ 898 h 10000"/>
                    <a:gd name="connsiteX16" fmla="*/ 6754 w 9912"/>
                    <a:gd name="connsiteY16" fmla="*/ 578 h 10000"/>
                    <a:gd name="connsiteX17" fmla="*/ 6404 w 9912"/>
                    <a:gd name="connsiteY17" fmla="*/ 321 h 10000"/>
                    <a:gd name="connsiteX18" fmla="*/ 5965 w 9912"/>
                    <a:gd name="connsiteY18" fmla="*/ 192 h 10000"/>
                    <a:gd name="connsiteX19" fmla="*/ 5526 w 9912"/>
                    <a:gd name="connsiteY19" fmla="*/ 0 h 10000"/>
                    <a:gd name="connsiteX20" fmla="*/ 5000 w 9912"/>
                    <a:gd name="connsiteY20" fmla="*/ 0 h 10000"/>
                    <a:gd name="connsiteX21" fmla="*/ 5000 w 9912"/>
                    <a:gd name="connsiteY21" fmla="*/ 0 h 10000"/>
                    <a:gd name="connsiteX22" fmla="*/ 4561 w 9912"/>
                    <a:gd name="connsiteY22" fmla="*/ 0 h 10000"/>
                    <a:gd name="connsiteX23" fmla="*/ 4123 w 9912"/>
                    <a:gd name="connsiteY23" fmla="*/ 192 h 10000"/>
                    <a:gd name="connsiteX24" fmla="*/ 3684 w 9912"/>
                    <a:gd name="connsiteY24" fmla="*/ 321 h 10000"/>
                    <a:gd name="connsiteX25" fmla="*/ 3246 w 9912"/>
                    <a:gd name="connsiteY25" fmla="*/ 578 h 10000"/>
                    <a:gd name="connsiteX26" fmla="*/ 2982 w 9912"/>
                    <a:gd name="connsiteY26" fmla="*/ 898 h 10000"/>
                    <a:gd name="connsiteX27" fmla="*/ 2719 w 9912"/>
                    <a:gd name="connsiteY27" fmla="*/ 1282 h 10000"/>
                    <a:gd name="connsiteX28" fmla="*/ 2544 w 9912"/>
                    <a:gd name="connsiteY28" fmla="*/ 1731 h 10000"/>
                    <a:gd name="connsiteX29" fmla="*/ 2544 w 9912"/>
                    <a:gd name="connsiteY29" fmla="*/ 2180 h 10000"/>
                    <a:gd name="connsiteX30" fmla="*/ 2544 w 9912"/>
                    <a:gd name="connsiteY30" fmla="*/ 2180 h 10000"/>
                    <a:gd name="connsiteX31" fmla="*/ 2632 w 9912"/>
                    <a:gd name="connsiteY31" fmla="*/ 2757 h 10000"/>
                    <a:gd name="connsiteX32" fmla="*/ 2982 w 9912"/>
                    <a:gd name="connsiteY32" fmla="*/ 3333 h 10000"/>
                    <a:gd name="connsiteX33" fmla="*/ 3421 w 9912"/>
                    <a:gd name="connsiteY33" fmla="*/ 3847 h 10000"/>
                    <a:gd name="connsiteX34" fmla="*/ 3860 w 9912"/>
                    <a:gd name="connsiteY34" fmla="*/ 4230 h 10000"/>
                    <a:gd name="connsiteX35" fmla="*/ 3860 w 9912"/>
                    <a:gd name="connsiteY35" fmla="*/ 4230 h 10000"/>
                    <a:gd name="connsiteX36" fmla="*/ 2895 w 9912"/>
                    <a:gd name="connsiteY36" fmla="*/ 4551 h 10000"/>
                    <a:gd name="connsiteX37" fmla="*/ 2105 w 9912"/>
                    <a:gd name="connsiteY37" fmla="*/ 4937 h 10000"/>
                    <a:gd name="connsiteX38" fmla="*/ 1404 w 9912"/>
                    <a:gd name="connsiteY38" fmla="*/ 5513 h 10000"/>
                    <a:gd name="connsiteX39" fmla="*/ 877 w 9912"/>
                    <a:gd name="connsiteY39" fmla="*/ 6281 h 10000"/>
                    <a:gd name="connsiteX40" fmla="*/ 439 w 9912"/>
                    <a:gd name="connsiteY40" fmla="*/ 7050 h 10000"/>
                    <a:gd name="connsiteX41" fmla="*/ 175 w 9912"/>
                    <a:gd name="connsiteY41" fmla="*/ 7949 h 10000"/>
                    <a:gd name="connsiteX42" fmla="*/ 0 w 9912"/>
                    <a:gd name="connsiteY42" fmla="*/ 8911 h 10000"/>
                    <a:gd name="connsiteX43" fmla="*/ 0 w 9912"/>
                    <a:gd name="connsiteY43" fmla="*/ 10000 h 10000"/>
                    <a:gd name="connsiteX0" fmla="*/ 9646 w 9646"/>
                    <a:gd name="connsiteY0" fmla="*/ 7050 h 10000"/>
                    <a:gd name="connsiteX1" fmla="*/ 9293 w 9646"/>
                    <a:gd name="connsiteY1" fmla="*/ 6281 h 10000"/>
                    <a:gd name="connsiteX2" fmla="*/ 8761 w 9646"/>
                    <a:gd name="connsiteY2" fmla="*/ 5513 h 10000"/>
                    <a:gd name="connsiteX3" fmla="*/ 8053 w 9646"/>
                    <a:gd name="connsiteY3" fmla="*/ 4937 h 10000"/>
                    <a:gd name="connsiteX4" fmla="*/ 7168 w 9646"/>
                    <a:gd name="connsiteY4" fmla="*/ 4551 h 10000"/>
                    <a:gd name="connsiteX5" fmla="*/ 6195 w 9646"/>
                    <a:gd name="connsiteY5" fmla="*/ 4230 h 10000"/>
                    <a:gd name="connsiteX6" fmla="*/ 6195 w 9646"/>
                    <a:gd name="connsiteY6" fmla="*/ 4230 h 10000"/>
                    <a:gd name="connsiteX7" fmla="*/ 6726 w 9646"/>
                    <a:gd name="connsiteY7" fmla="*/ 3847 h 10000"/>
                    <a:gd name="connsiteX8" fmla="*/ 7080 w 9646"/>
                    <a:gd name="connsiteY8" fmla="*/ 3333 h 10000"/>
                    <a:gd name="connsiteX9" fmla="*/ 7346 w 9646"/>
                    <a:gd name="connsiteY9" fmla="*/ 2757 h 10000"/>
                    <a:gd name="connsiteX10" fmla="*/ 7611 w 9646"/>
                    <a:gd name="connsiteY10" fmla="*/ 2180 h 10000"/>
                    <a:gd name="connsiteX11" fmla="*/ 7611 w 9646"/>
                    <a:gd name="connsiteY11" fmla="*/ 2180 h 10000"/>
                    <a:gd name="connsiteX12" fmla="*/ 7522 w 9646"/>
                    <a:gd name="connsiteY12" fmla="*/ 1731 h 10000"/>
                    <a:gd name="connsiteX13" fmla="*/ 7346 w 9646"/>
                    <a:gd name="connsiteY13" fmla="*/ 1282 h 10000"/>
                    <a:gd name="connsiteX14" fmla="*/ 7168 w 9646"/>
                    <a:gd name="connsiteY14" fmla="*/ 898 h 10000"/>
                    <a:gd name="connsiteX15" fmla="*/ 6814 w 9646"/>
                    <a:gd name="connsiteY15" fmla="*/ 578 h 10000"/>
                    <a:gd name="connsiteX16" fmla="*/ 6461 w 9646"/>
                    <a:gd name="connsiteY16" fmla="*/ 321 h 10000"/>
                    <a:gd name="connsiteX17" fmla="*/ 6018 w 9646"/>
                    <a:gd name="connsiteY17" fmla="*/ 192 h 10000"/>
                    <a:gd name="connsiteX18" fmla="*/ 5575 w 9646"/>
                    <a:gd name="connsiteY18" fmla="*/ 0 h 10000"/>
                    <a:gd name="connsiteX19" fmla="*/ 5044 w 9646"/>
                    <a:gd name="connsiteY19" fmla="*/ 0 h 10000"/>
                    <a:gd name="connsiteX20" fmla="*/ 5044 w 9646"/>
                    <a:gd name="connsiteY20" fmla="*/ 0 h 10000"/>
                    <a:gd name="connsiteX21" fmla="*/ 4601 w 9646"/>
                    <a:gd name="connsiteY21" fmla="*/ 0 h 10000"/>
                    <a:gd name="connsiteX22" fmla="*/ 4160 w 9646"/>
                    <a:gd name="connsiteY22" fmla="*/ 192 h 10000"/>
                    <a:gd name="connsiteX23" fmla="*/ 3717 w 9646"/>
                    <a:gd name="connsiteY23" fmla="*/ 321 h 10000"/>
                    <a:gd name="connsiteX24" fmla="*/ 3275 w 9646"/>
                    <a:gd name="connsiteY24" fmla="*/ 578 h 10000"/>
                    <a:gd name="connsiteX25" fmla="*/ 3008 w 9646"/>
                    <a:gd name="connsiteY25" fmla="*/ 898 h 10000"/>
                    <a:gd name="connsiteX26" fmla="*/ 2743 w 9646"/>
                    <a:gd name="connsiteY26" fmla="*/ 1282 h 10000"/>
                    <a:gd name="connsiteX27" fmla="*/ 2567 w 9646"/>
                    <a:gd name="connsiteY27" fmla="*/ 1731 h 10000"/>
                    <a:gd name="connsiteX28" fmla="*/ 2567 w 9646"/>
                    <a:gd name="connsiteY28" fmla="*/ 2180 h 10000"/>
                    <a:gd name="connsiteX29" fmla="*/ 2567 w 9646"/>
                    <a:gd name="connsiteY29" fmla="*/ 2180 h 10000"/>
                    <a:gd name="connsiteX30" fmla="*/ 2655 w 9646"/>
                    <a:gd name="connsiteY30" fmla="*/ 2757 h 10000"/>
                    <a:gd name="connsiteX31" fmla="*/ 3008 w 9646"/>
                    <a:gd name="connsiteY31" fmla="*/ 3333 h 10000"/>
                    <a:gd name="connsiteX32" fmla="*/ 3451 w 9646"/>
                    <a:gd name="connsiteY32" fmla="*/ 3847 h 10000"/>
                    <a:gd name="connsiteX33" fmla="*/ 3894 w 9646"/>
                    <a:gd name="connsiteY33" fmla="*/ 4230 h 10000"/>
                    <a:gd name="connsiteX34" fmla="*/ 3894 w 9646"/>
                    <a:gd name="connsiteY34" fmla="*/ 4230 h 10000"/>
                    <a:gd name="connsiteX35" fmla="*/ 2921 w 9646"/>
                    <a:gd name="connsiteY35" fmla="*/ 4551 h 10000"/>
                    <a:gd name="connsiteX36" fmla="*/ 2124 w 9646"/>
                    <a:gd name="connsiteY36" fmla="*/ 4937 h 10000"/>
                    <a:gd name="connsiteX37" fmla="*/ 1416 w 9646"/>
                    <a:gd name="connsiteY37" fmla="*/ 5513 h 10000"/>
                    <a:gd name="connsiteX38" fmla="*/ 885 w 9646"/>
                    <a:gd name="connsiteY38" fmla="*/ 6281 h 10000"/>
                    <a:gd name="connsiteX39" fmla="*/ 443 w 9646"/>
                    <a:gd name="connsiteY39" fmla="*/ 7050 h 10000"/>
                    <a:gd name="connsiteX40" fmla="*/ 177 w 9646"/>
                    <a:gd name="connsiteY40" fmla="*/ 7949 h 10000"/>
                    <a:gd name="connsiteX41" fmla="*/ 0 w 9646"/>
                    <a:gd name="connsiteY41" fmla="*/ 8911 h 10000"/>
                    <a:gd name="connsiteX42" fmla="*/ 0 w 9646"/>
                    <a:gd name="connsiteY42" fmla="*/ 10000 h 10000"/>
                    <a:gd name="connsiteX0" fmla="*/ 9634 w 9634"/>
                    <a:gd name="connsiteY0" fmla="*/ 6281 h 10000"/>
                    <a:gd name="connsiteX1" fmla="*/ 9083 w 9634"/>
                    <a:gd name="connsiteY1" fmla="*/ 5513 h 10000"/>
                    <a:gd name="connsiteX2" fmla="*/ 8349 w 9634"/>
                    <a:gd name="connsiteY2" fmla="*/ 4937 h 10000"/>
                    <a:gd name="connsiteX3" fmla="*/ 7431 w 9634"/>
                    <a:gd name="connsiteY3" fmla="*/ 4551 h 10000"/>
                    <a:gd name="connsiteX4" fmla="*/ 6422 w 9634"/>
                    <a:gd name="connsiteY4" fmla="*/ 4230 h 10000"/>
                    <a:gd name="connsiteX5" fmla="*/ 6422 w 9634"/>
                    <a:gd name="connsiteY5" fmla="*/ 4230 h 10000"/>
                    <a:gd name="connsiteX6" fmla="*/ 6973 w 9634"/>
                    <a:gd name="connsiteY6" fmla="*/ 3847 h 10000"/>
                    <a:gd name="connsiteX7" fmla="*/ 7340 w 9634"/>
                    <a:gd name="connsiteY7" fmla="*/ 3333 h 10000"/>
                    <a:gd name="connsiteX8" fmla="*/ 7616 w 9634"/>
                    <a:gd name="connsiteY8" fmla="*/ 2757 h 10000"/>
                    <a:gd name="connsiteX9" fmla="*/ 7890 w 9634"/>
                    <a:gd name="connsiteY9" fmla="*/ 2180 h 10000"/>
                    <a:gd name="connsiteX10" fmla="*/ 7890 w 9634"/>
                    <a:gd name="connsiteY10" fmla="*/ 2180 h 10000"/>
                    <a:gd name="connsiteX11" fmla="*/ 7798 w 9634"/>
                    <a:gd name="connsiteY11" fmla="*/ 1731 h 10000"/>
                    <a:gd name="connsiteX12" fmla="*/ 7616 w 9634"/>
                    <a:gd name="connsiteY12" fmla="*/ 1282 h 10000"/>
                    <a:gd name="connsiteX13" fmla="*/ 7431 w 9634"/>
                    <a:gd name="connsiteY13" fmla="*/ 898 h 10000"/>
                    <a:gd name="connsiteX14" fmla="*/ 7064 w 9634"/>
                    <a:gd name="connsiteY14" fmla="*/ 578 h 10000"/>
                    <a:gd name="connsiteX15" fmla="*/ 6698 w 9634"/>
                    <a:gd name="connsiteY15" fmla="*/ 321 h 10000"/>
                    <a:gd name="connsiteX16" fmla="*/ 6239 w 9634"/>
                    <a:gd name="connsiteY16" fmla="*/ 192 h 10000"/>
                    <a:gd name="connsiteX17" fmla="*/ 5780 w 9634"/>
                    <a:gd name="connsiteY17" fmla="*/ 0 h 10000"/>
                    <a:gd name="connsiteX18" fmla="*/ 5229 w 9634"/>
                    <a:gd name="connsiteY18" fmla="*/ 0 h 10000"/>
                    <a:gd name="connsiteX19" fmla="*/ 5229 w 9634"/>
                    <a:gd name="connsiteY19" fmla="*/ 0 h 10000"/>
                    <a:gd name="connsiteX20" fmla="*/ 4770 w 9634"/>
                    <a:gd name="connsiteY20" fmla="*/ 0 h 10000"/>
                    <a:gd name="connsiteX21" fmla="*/ 4313 w 9634"/>
                    <a:gd name="connsiteY21" fmla="*/ 192 h 10000"/>
                    <a:gd name="connsiteX22" fmla="*/ 3853 w 9634"/>
                    <a:gd name="connsiteY22" fmla="*/ 321 h 10000"/>
                    <a:gd name="connsiteX23" fmla="*/ 3395 w 9634"/>
                    <a:gd name="connsiteY23" fmla="*/ 578 h 10000"/>
                    <a:gd name="connsiteX24" fmla="*/ 3118 w 9634"/>
                    <a:gd name="connsiteY24" fmla="*/ 898 h 10000"/>
                    <a:gd name="connsiteX25" fmla="*/ 2844 w 9634"/>
                    <a:gd name="connsiteY25" fmla="*/ 1282 h 10000"/>
                    <a:gd name="connsiteX26" fmla="*/ 2661 w 9634"/>
                    <a:gd name="connsiteY26" fmla="*/ 1731 h 10000"/>
                    <a:gd name="connsiteX27" fmla="*/ 2661 w 9634"/>
                    <a:gd name="connsiteY27" fmla="*/ 2180 h 10000"/>
                    <a:gd name="connsiteX28" fmla="*/ 2661 w 9634"/>
                    <a:gd name="connsiteY28" fmla="*/ 2180 h 10000"/>
                    <a:gd name="connsiteX29" fmla="*/ 2752 w 9634"/>
                    <a:gd name="connsiteY29" fmla="*/ 2757 h 10000"/>
                    <a:gd name="connsiteX30" fmla="*/ 3118 w 9634"/>
                    <a:gd name="connsiteY30" fmla="*/ 3333 h 10000"/>
                    <a:gd name="connsiteX31" fmla="*/ 3578 w 9634"/>
                    <a:gd name="connsiteY31" fmla="*/ 3847 h 10000"/>
                    <a:gd name="connsiteX32" fmla="*/ 4037 w 9634"/>
                    <a:gd name="connsiteY32" fmla="*/ 4230 h 10000"/>
                    <a:gd name="connsiteX33" fmla="*/ 4037 w 9634"/>
                    <a:gd name="connsiteY33" fmla="*/ 4230 h 10000"/>
                    <a:gd name="connsiteX34" fmla="*/ 3028 w 9634"/>
                    <a:gd name="connsiteY34" fmla="*/ 4551 h 10000"/>
                    <a:gd name="connsiteX35" fmla="*/ 2202 w 9634"/>
                    <a:gd name="connsiteY35" fmla="*/ 4937 h 10000"/>
                    <a:gd name="connsiteX36" fmla="*/ 1468 w 9634"/>
                    <a:gd name="connsiteY36" fmla="*/ 5513 h 10000"/>
                    <a:gd name="connsiteX37" fmla="*/ 917 w 9634"/>
                    <a:gd name="connsiteY37" fmla="*/ 6281 h 10000"/>
                    <a:gd name="connsiteX38" fmla="*/ 459 w 9634"/>
                    <a:gd name="connsiteY38" fmla="*/ 7050 h 10000"/>
                    <a:gd name="connsiteX39" fmla="*/ 183 w 9634"/>
                    <a:gd name="connsiteY39" fmla="*/ 7949 h 10000"/>
                    <a:gd name="connsiteX40" fmla="*/ 0 w 9634"/>
                    <a:gd name="connsiteY40" fmla="*/ 8911 h 10000"/>
                    <a:gd name="connsiteX41" fmla="*/ 0 w 9634"/>
                    <a:gd name="connsiteY41" fmla="*/ 1000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9634" h="10000">
                      <a:moveTo>
                        <a:pt x="9634" y="6281"/>
                      </a:moveTo>
                      <a:lnTo>
                        <a:pt x="9083" y="5513"/>
                      </a:lnTo>
                      <a:lnTo>
                        <a:pt x="8349" y="4937"/>
                      </a:lnTo>
                      <a:lnTo>
                        <a:pt x="7431" y="4551"/>
                      </a:lnTo>
                      <a:lnTo>
                        <a:pt x="6422" y="4230"/>
                      </a:lnTo>
                      <a:lnTo>
                        <a:pt x="6422" y="4230"/>
                      </a:lnTo>
                      <a:lnTo>
                        <a:pt x="6973" y="3847"/>
                      </a:lnTo>
                      <a:lnTo>
                        <a:pt x="7340" y="3333"/>
                      </a:lnTo>
                      <a:cubicBezTo>
                        <a:pt x="7432" y="3142"/>
                        <a:pt x="7523" y="2948"/>
                        <a:pt x="7616" y="2757"/>
                      </a:cubicBezTo>
                      <a:lnTo>
                        <a:pt x="7890" y="2180"/>
                      </a:lnTo>
                      <a:lnTo>
                        <a:pt x="7890" y="2180"/>
                      </a:lnTo>
                      <a:cubicBezTo>
                        <a:pt x="7860" y="2030"/>
                        <a:pt x="7828" y="1881"/>
                        <a:pt x="7798" y="1731"/>
                      </a:cubicBezTo>
                      <a:cubicBezTo>
                        <a:pt x="7738" y="1581"/>
                        <a:pt x="7676" y="1431"/>
                        <a:pt x="7616" y="1282"/>
                      </a:cubicBezTo>
                      <a:cubicBezTo>
                        <a:pt x="7553" y="1154"/>
                        <a:pt x="7493" y="1026"/>
                        <a:pt x="7431" y="898"/>
                      </a:cubicBezTo>
                      <a:lnTo>
                        <a:pt x="7064" y="578"/>
                      </a:lnTo>
                      <a:lnTo>
                        <a:pt x="6698" y="321"/>
                      </a:lnTo>
                      <a:lnTo>
                        <a:pt x="6239" y="192"/>
                      </a:lnTo>
                      <a:lnTo>
                        <a:pt x="5780" y="0"/>
                      </a:lnTo>
                      <a:lnTo>
                        <a:pt x="5229" y="0"/>
                      </a:lnTo>
                      <a:lnTo>
                        <a:pt x="5229" y="0"/>
                      </a:lnTo>
                      <a:lnTo>
                        <a:pt x="4770" y="0"/>
                      </a:lnTo>
                      <a:lnTo>
                        <a:pt x="4313" y="192"/>
                      </a:lnTo>
                      <a:lnTo>
                        <a:pt x="3853" y="321"/>
                      </a:lnTo>
                      <a:lnTo>
                        <a:pt x="3395" y="578"/>
                      </a:lnTo>
                      <a:lnTo>
                        <a:pt x="3118" y="898"/>
                      </a:lnTo>
                      <a:lnTo>
                        <a:pt x="2844" y="1282"/>
                      </a:lnTo>
                      <a:cubicBezTo>
                        <a:pt x="2784" y="1431"/>
                        <a:pt x="2721" y="1581"/>
                        <a:pt x="2661" y="1731"/>
                      </a:cubicBezTo>
                      <a:lnTo>
                        <a:pt x="2661" y="2180"/>
                      </a:lnTo>
                      <a:lnTo>
                        <a:pt x="2661" y="2180"/>
                      </a:lnTo>
                      <a:cubicBezTo>
                        <a:pt x="2691" y="2372"/>
                        <a:pt x="2722" y="2564"/>
                        <a:pt x="2752" y="2757"/>
                      </a:cubicBezTo>
                      <a:lnTo>
                        <a:pt x="3118" y="3333"/>
                      </a:lnTo>
                      <a:lnTo>
                        <a:pt x="3578" y="3847"/>
                      </a:lnTo>
                      <a:lnTo>
                        <a:pt x="4037" y="4230"/>
                      </a:lnTo>
                      <a:lnTo>
                        <a:pt x="4037" y="4230"/>
                      </a:lnTo>
                      <a:lnTo>
                        <a:pt x="3028" y="4551"/>
                      </a:lnTo>
                      <a:lnTo>
                        <a:pt x="2202" y="4937"/>
                      </a:lnTo>
                      <a:lnTo>
                        <a:pt x="1468" y="5513"/>
                      </a:lnTo>
                      <a:lnTo>
                        <a:pt x="917" y="6281"/>
                      </a:lnTo>
                      <a:lnTo>
                        <a:pt x="459" y="7050"/>
                      </a:lnTo>
                      <a:lnTo>
                        <a:pt x="183" y="7949"/>
                      </a:lnTo>
                      <a:lnTo>
                        <a:pt x="0" y="8911"/>
                      </a:lnTo>
                      <a:lnTo>
                        <a:pt x="0" y="10000"/>
                      </a:lnTo>
                    </a:path>
                  </a:pathLst>
                </a:custGeom>
                <a:noFill/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>
                    <a:defRPr/>
                  </a:pPr>
                  <a:endParaRPr lang="en-US" sz="1800">
                    <a:solidFill>
                      <a:srgbClr val="263147"/>
                    </a:solidFill>
                    <a:cs typeface="Arial" charset="0"/>
                  </a:endParaRPr>
                </a:p>
              </p:txBody>
            </p:sp>
            <p:cxnSp>
              <p:nvCxnSpPr>
                <p:cNvPr id="25" name="Connecteur droit 325"/>
                <p:cNvCxnSpPr/>
                <p:nvPr/>
              </p:nvCxnSpPr>
              <p:spPr>
                <a:xfrm flipV="1">
                  <a:off x="4476193" y="4957472"/>
                  <a:ext cx="87297" cy="4115"/>
                </a:xfrm>
                <a:prstGeom prst="line">
                  <a:avLst/>
                </a:prstGeom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9" name="Groupe 32"/>
            <p:cNvGrpSpPr>
              <a:grpSpLocks/>
            </p:cNvGrpSpPr>
            <p:nvPr userDrawn="1"/>
          </p:nvGrpSpPr>
          <p:grpSpPr bwMode="auto">
            <a:xfrm>
              <a:off x="8691235" y="2740981"/>
              <a:ext cx="389203" cy="362534"/>
              <a:chOff x="4999013" y="3508177"/>
              <a:chExt cx="228601" cy="217487"/>
            </a:xfrm>
          </p:grpSpPr>
          <p:sp>
            <p:nvSpPr>
              <p:cNvPr id="16" name="Freeform 213"/>
              <p:cNvSpPr>
                <a:spLocks/>
              </p:cNvSpPr>
              <p:nvPr/>
            </p:nvSpPr>
            <p:spPr bwMode="auto">
              <a:xfrm>
                <a:off x="4999361" y="3508591"/>
                <a:ext cx="85862" cy="83804"/>
              </a:xfrm>
              <a:custGeom>
                <a:avLst/>
                <a:gdLst/>
                <a:ahLst/>
                <a:cxnLst>
                  <a:cxn ang="0">
                    <a:pos x="54" y="42"/>
                  </a:cxn>
                  <a:cxn ang="0">
                    <a:pos x="54" y="42"/>
                  </a:cxn>
                  <a:cxn ang="0">
                    <a:pos x="54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2" y="53"/>
                  </a:cxn>
                  <a:cxn ang="0">
                    <a:pos x="12" y="53"/>
                  </a:cxn>
                  <a:cxn ang="0">
                    <a:pos x="7" y="53"/>
                  </a:cxn>
                  <a:cxn ang="0">
                    <a:pos x="3" y="51"/>
                  </a:cxn>
                  <a:cxn ang="0">
                    <a:pos x="0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7"/>
                  </a:cxn>
                  <a:cxn ang="0">
                    <a:pos x="3" y="3"/>
                  </a:cxn>
                  <a:cxn ang="0">
                    <a:pos x="7" y="0"/>
                  </a:cxn>
                  <a:cxn ang="0">
                    <a:pos x="12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4" y="7"/>
                  </a:cxn>
                  <a:cxn ang="0">
                    <a:pos x="54" y="12"/>
                  </a:cxn>
                  <a:cxn ang="0">
                    <a:pos x="54" y="42"/>
                  </a:cxn>
                </a:cxnLst>
                <a:rect l="0" t="0" r="r" b="b"/>
                <a:pathLst>
                  <a:path w="54" h="53">
                    <a:moveTo>
                      <a:pt x="54" y="42"/>
                    </a:moveTo>
                    <a:lnTo>
                      <a:pt x="54" y="42"/>
                    </a:lnTo>
                    <a:lnTo>
                      <a:pt x="54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2" y="53"/>
                    </a:lnTo>
                    <a:lnTo>
                      <a:pt x="12" y="53"/>
                    </a:lnTo>
                    <a:lnTo>
                      <a:pt x="7" y="53"/>
                    </a:lnTo>
                    <a:lnTo>
                      <a:pt x="3" y="51"/>
                    </a:lnTo>
                    <a:lnTo>
                      <a:pt x="0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7" y="0"/>
                    </a:lnTo>
                    <a:lnTo>
                      <a:pt x="1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4" y="7"/>
                    </a:lnTo>
                    <a:lnTo>
                      <a:pt x="54" y="12"/>
                    </a:lnTo>
                    <a:lnTo>
                      <a:pt x="54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7" name="Freeform 214"/>
              <p:cNvSpPr>
                <a:spLocks/>
              </p:cNvSpPr>
              <p:nvPr/>
            </p:nvSpPr>
            <p:spPr bwMode="auto">
              <a:xfrm>
                <a:off x="5139770" y="3508591"/>
                <a:ext cx="87881" cy="83804"/>
              </a:xfrm>
              <a:custGeom>
                <a:avLst/>
                <a:gdLst/>
                <a:ahLst/>
                <a:cxnLst>
                  <a:cxn ang="0">
                    <a:pos x="55" y="42"/>
                  </a:cxn>
                  <a:cxn ang="0">
                    <a:pos x="55" y="42"/>
                  </a:cxn>
                  <a:cxn ang="0">
                    <a:pos x="53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1" y="53"/>
                  </a:cxn>
                  <a:cxn ang="0">
                    <a:pos x="11" y="53"/>
                  </a:cxn>
                  <a:cxn ang="0">
                    <a:pos x="8" y="53"/>
                  </a:cxn>
                  <a:cxn ang="0">
                    <a:pos x="4" y="51"/>
                  </a:cxn>
                  <a:cxn ang="0">
                    <a:pos x="1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4" y="3"/>
                  </a:cxn>
                  <a:cxn ang="0">
                    <a:pos x="8" y="0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3" y="7"/>
                  </a:cxn>
                  <a:cxn ang="0">
                    <a:pos x="55" y="12"/>
                  </a:cxn>
                  <a:cxn ang="0">
                    <a:pos x="55" y="42"/>
                  </a:cxn>
                </a:cxnLst>
                <a:rect l="0" t="0" r="r" b="b"/>
                <a:pathLst>
                  <a:path w="55" h="53">
                    <a:moveTo>
                      <a:pt x="55" y="42"/>
                    </a:moveTo>
                    <a:lnTo>
                      <a:pt x="55" y="42"/>
                    </a:lnTo>
                    <a:lnTo>
                      <a:pt x="53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1" y="53"/>
                    </a:lnTo>
                    <a:lnTo>
                      <a:pt x="11" y="53"/>
                    </a:lnTo>
                    <a:lnTo>
                      <a:pt x="8" y="53"/>
                    </a:lnTo>
                    <a:lnTo>
                      <a:pt x="4" y="51"/>
                    </a:lnTo>
                    <a:lnTo>
                      <a:pt x="1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4" y="3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3" y="7"/>
                    </a:lnTo>
                    <a:lnTo>
                      <a:pt x="55" y="12"/>
                    </a:lnTo>
                    <a:lnTo>
                      <a:pt x="55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8" name="Freeform 215"/>
              <p:cNvSpPr>
                <a:spLocks/>
              </p:cNvSpPr>
              <p:nvPr/>
            </p:nvSpPr>
            <p:spPr bwMode="auto">
              <a:xfrm>
                <a:off x="5071081" y="3640011"/>
                <a:ext cx="84851" cy="85709"/>
              </a:xfrm>
              <a:custGeom>
                <a:avLst/>
                <a:gdLst/>
                <a:ahLst/>
                <a:cxnLst>
                  <a:cxn ang="0">
                    <a:pos x="36" y="54"/>
                  </a:cxn>
                  <a:cxn ang="0">
                    <a:pos x="29" y="54"/>
                  </a:cxn>
                  <a:cxn ang="0">
                    <a:pos x="11" y="54"/>
                  </a:cxn>
                  <a:cxn ang="0">
                    <a:pos x="11" y="54"/>
                  </a:cxn>
                  <a:cxn ang="0">
                    <a:pos x="7" y="53"/>
                  </a:cxn>
                  <a:cxn ang="0">
                    <a:pos x="3" y="50"/>
                  </a:cxn>
                  <a:cxn ang="0">
                    <a:pos x="1" y="46"/>
                  </a:cxn>
                  <a:cxn ang="0">
                    <a:pos x="0" y="43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3" y="3"/>
                  </a:cxn>
                  <a:cxn ang="0">
                    <a:pos x="7" y="1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1"/>
                  </a:cxn>
                  <a:cxn ang="0">
                    <a:pos x="50" y="3"/>
                  </a:cxn>
                  <a:cxn ang="0">
                    <a:pos x="53" y="7"/>
                  </a:cxn>
                  <a:cxn ang="0">
                    <a:pos x="54" y="12"/>
                  </a:cxn>
                  <a:cxn ang="0">
                    <a:pos x="54" y="43"/>
                  </a:cxn>
                </a:cxnLst>
                <a:rect l="0" t="0" r="r" b="b"/>
                <a:pathLst>
                  <a:path w="54" h="54">
                    <a:moveTo>
                      <a:pt x="36" y="54"/>
                    </a:moveTo>
                    <a:lnTo>
                      <a:pt x="29" y="54"/>
                    </a:lnTo>
                    <a:lnTo>
                      <a:pt x="11" y="54"/>
                    </a:lnTo>
                    <a:lnTo>
                      <a:pt x="11" y="54"/>
                    </a:lnTo>
                    <a:lnTo>
                      <a:pt x="7" y="53"/>
                    </a:lnTo>
                    <a:lnTo>
                      <a:pt x="3" y="50"/>
                    </a:lnTo>
                    <a:lnTo>
                      <a:pt x="1" y="46"/>
                    </a:lnTo>
                    <a:lnTo>
                      <a:pt x="0" y="43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3" y="3"/>
                    </a:lnTo>
                    <a:lnTo>
                      <a:pt x="7" y="1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1"/>
                    </a:lnTo>
                    <a:lnTo>
                      <a:pt x="50" y="3"/>
                    </a:lnTo>
                    <a:lnTo>
                      <a:pt x="53" y="7"/>
                    </a:lnTo>
                    <a:lnTo>
                      <a:pt x="54" y="12"/>
                    </a:lnTo>
                    <a:lnTo>
                      <a:pt x="54" y="43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9" name="Freeform 216"/>
              <p:cNvSpPr>
                <a:spLocks/>
              </p:cNvSpPr>
              <p:nvPr/>
            </p:nvSpPr>
            <p:spPr bwMode="auto">
              <a:xfrm>
                <a:off x="5037746" y="3596204"/>
                <a:ext cx="148490" cy="17142"/>
              </a:xfrm>
              <a:custGeom>
                <a:avLst/>
                <a:gdLst/>
                <a:ahLst/>
                <a:cxnLst>
                  <a:cxn ang="0">
                    <a:pos x="94" y="0"/>
                  </a:cxn>
                  <a:cxn ang="0">
                    <a:pos x="94" y="0"/>
                  </a:cxn>
                  <a:cxn ang="0">
                    <a:pos x="94" y="5"/>
                  </a:cxn>
                  <a:cxn ang="0">
                    <a:pos x="92" y="9"/>
                  </a:cxn>
                  <a:cxn ang="0">
                    <a:pos x="88" y="10"/>
                  </a:cxn>
                  <a:cxn ang="0">
                    <a:pos x="83" y="11"/>
                  </a:cxn>
                  <a:cxn ang="0">
                    <a:pos x="47" y="11"/>
                  </a:cxn>
                  <a:cxn ang="0">
                    <a:pos x="12" y="11"/>
                  </a:cxn>
                  <a:cxn ang="0">
                    <a:pos x="12" y="11"/>
                  </a:cxn>
                  <a:cxn ang="0">
                    <a:pos x="8" y="10"/>
                  </a:cxn>
                  <a:cxn ang="0">
                    <a:pos x="4" y="9"/>
                  </a:cxn>
                  <a:cxn ang="0">
                    <a:pos x="2" y="5"/>
                  </a:cxn>
                  <a:cxn ang="0">
                    <a:pos x="0" y="0"/>
                  </a:cxn>
                </a:cxnLst>
                <a:rect l="0" t="0" r="r" b="b"/>
                <a:pathLst>
                  <a:path w="94" h="11">
                    <a:moveTo>
                      <a:pt x="94" y="0"/>
                    </a:moveTo>
                    <a:lnTo>
                      <a:pt x="94" y="0"/>
                    </a:lnTo>
                    <a:lnTo>
                      <a:pt x="94" y="5"/>
                    </a:lnTo>
                    <a:lnTo>
                      <a:pt x="92" y="9"/>
                    </a:lnTo>
                    <a:lnTo>
                      <a:pt x="88" y="10"/>
                    </a:lnTo>
                    <a:lnTo>
                      <a:pt x="83" y="11"/>
                    </a:lnTo>
                    <a:lnTo>
                      <a:pt x="47" y="11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8" y="10"/>
                    </a:lnTo>
                    <a:lnTo>
                      <a:pt x="4" y="9"/>
                    </a:lnTo>
                    <a:lnTo>
                      <a:pt x="2" y="5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0" name="Line 217"/>
              <p:cNvSpPr>
                <a:spLocks noChangeShapeType="1"/>
              </p:cNvSpPr>
              <p:nvPr/>
            </p:nvSpPr>
            <p:spPr bwMode="auto">
              <a:xfrm flipV="1">
                <a:off x="5112496" y="3613346"/>
                <a:ext cx="2020" cy="26665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10" name="Groupe 281"/>
            <p:cNvGrpSpPr>
              <a:grpSpLocks/>
            </p:cNvGrpSpPr>
            <p:nvPr userDrawn="1"/>
          </p:nvGrpSpPr>
          <p:grpSpPr bwMode="auto">
            <a:xfrm>
              <a:off x="5543115" y="3570780"/>
              <a:ext cx="562532" cy="335672"/>
              <a:chOff x="3909988" y="7116564"/>
              <a:chExt cx="268288" cy="163512"/>
            </a:xfrm>
          </p:grpSpPr>
          <p:sp>
            <p:nvSpPr>
              <p:cNvPr id="12" name="Line 326"/>
              <p:cNvSpPr>
                <a:spLocks noChangeShapeType="1"/>
              </p:cNvSpPr>
              <p:nvPr/>
            </p:nvSpPr>
            <p:spPr bwMode="auto">
              <a:xfrm>
                <a:off x="3909880" y="7120976"/>
                <a:ext cx="1640" cy="1577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3" name="Line 327"/>
              <p:cNvSpPr>
                <a:spLocks noChangeShapeType="1"/>
              </p:cNvSpPr>
              <p:nvPr/>
            </p:nvSpPr>
            <p:spPr bwMode="auto">
              <a:xfrm>
                <a:off x="3911520" y="7278723"/>
                <a:ext cx="266571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4" name="Freeform 328"/>
              <p:cNvSpPr>
                <a:spLocks/>
              </p:cNvSpPr>
              <p:nvPr/>
            </p:nvSpPr>
            <p:spPr bwMode="auto">
              <a:xfrm>
                <a:off x="3936127" y="7143401"/>
                <a:ext cx="179628" cy="115991"/>
              </a:xfrm>
              <a:custGeom>
                <a:avLst/>
                <a:gdLst/>
                <a:ahLst/>
                <a:cxnLst>
                  <a:cxn ang="0">
                    <a:pos x="0" y="73"/>
                  </a:cxn>
                  <a:cxn ang="0">
                    <a:pos x="34" y="39"/>
                  </a:cxn>
                  <a:cxn ang="0">
                    <a:pos x="55" y="59"/>
                  </a:cxn>
                  <a:cxn ang="0">
                    <a:pos x="114" y="0"/>
                  </a:cxn>
                </a:cxnLst>
                <a:rect l="0" t="0" r="r" b="b"/>
                <a:pathLst>
                  <a:path w="114" h="73">
                    <a:moveTo>
                      <a:pt x="0" y="73"/>
                    </a:moveTo>
                    <a:lnTo>
                      <a:pt x="34" y="39"/>
                    </a:lnTo>
                    <a:lnTo>
                      <a:pt x="55" y="59"/>
                    </a:lnTo>
                    <a:lnTo>
                      <a:pt x="114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5" name="Freeform 329"/>
              <p:cNvSpPr>
                <a:spLocks/>
              </p:cNvSpPr>
              <p:nvPr/>
            </p:nvSpPr>
            <p:spPr bwMode="auto">
              <a:xfrm>
                <a:off x="4087867" y="7116337"/>
                <a:ext cx="50854" cy="556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2" y="0"/>
                  </a:cxn>
                  <a:cxn ang="0">
                    <a:pos x="32" y="35"/>
                  </a:cxn>
                </a:cxnLst>
                <a:rect l="0" t="0" r="r" b="b"/>
                <a:pathLst>
                  <a:path w="32" h="35">
                    <a:moveTo>
                      <a:pt x="0" y="0"/>
                    </a:moveTo>
                    <a:lnTo>
                      <a:pt x="32" y="0"/>
                    </a:lnTo>
                    <a:lnTo>
                      <a:pt x="32" y="3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sp>
          <p:nvSpPr>
            <p:cNvPr id="11" name="Freeform 72"/>
            <p:cNvSpPr>
              <a:spLocks/>
            </p:cNvSpPr>
            <p:nvPr userDrawn="1"/>
          </p:nvSpPr>
          <p:spPr bwMode="auto">
            <a:xfrm>
              <a:off x="2579688" y="3656035"/>
              <a:ext cx="581290" cy="349236"/>
            </a:xfrm>
            <a:custGeom>
              <a:avLst/>
              <a:gdLst/>
              <a:ahLst/>
              <a:cxnLst>
                <a:cxn ang="0">
                  <a:pos x="180" y="132"/>
                </a:cxn>
                <a:cxn ang="0">
                  <a:pos x="193" y="129"/>
                </a:cxn>
                <a:cxn ang="0">
                  <a:pos x="204" y="121"/>
                </a:cxn>
                <a:cxn ang="0">
                  <a:pos x="212" y="110"/>
                </a:cxn>
                <a:cxn ang="0">
                  <a:pos x="215" y="97"/>
                </a:cxn>
                <a:cxn ang="0">
                  <a:pos x="215" y="90"/>
                </a:cxn>
                <a:cxn ang="0">
                  <a:pos x="208" y="77"/>
                </a:cxn>
                <a:cxn ang="0">
                  <a:pos x="199" y="68"/>
                </a:cxn>
                <a:cxn ang="0">
                  <a:pos x="187" y="63"/>
                </a:cxn>
                <a:cxn ang="0">
                  <a:pos x="180" y="62"/>
                </a:cxn>
                <a:cxn ang="0">
                  <a:pos x="179" y="62"/>
                </a:cxn>
                <a:cxn ang="0">
                  <a:pos x="179" y="61"/>
                </a:cxn>
                <a:cxn ang="0">
                  <a:pos x="174" y="36"/>
                </a:cxn>
                <a:cxn ang="0">
                  <a:pos x="161" y="17"/>
                </a:cxn>
                <a:cxn ang="0">
                  <a:pos x="142" y="5"/>
                </a:cxn>
                <a:cxn ang="0">
                  <a:pos x="120" y="0"/>
                </a:cxn>
                <a:cxn ang="0">
                  <a:pos x="109" y="1"/>
                </a:cxn>
                <a:cxn ang="0">
                  <a:pos x="92" y="6"/>
                </a:cxn>
                <a:cxn ang="0">
                  <a:pos x="78" y="17"/>
                </a:cxn>
                <a:cxn ang="0">
                  <a:pos x="66" y="31"/>
                </a:cxn>
                <a:cxn ang="0">
                  <a:pos x="62" y="39"/>
                </a:cxn>
                <a:cxn ang="0">
                  <a:pos x="47" y="36"/>
                </a:cxn>
                <a:cxn ang="0">
                  <a:pos x="38" y="38"/>
                </a:cxn>
                <a:cxn ang="0">
                  <a:pos x="21" y="45"/>
                </a:cxn>
                <a:cxn ang="0">
                  <a:pos x="8" y="58"/>
                </a:cxn>
                <a:cxn ang="0">
                  <a:pos x="2" y="75"/>
                </a:cxn>
                <a:cxn ang="0">
                  <a:pos x="0" y="85"/>
                </a:cxn>
                <a:cxn ang="0">
                  <a:pos x="4" y="102"/>
                </a:cxn>
                <a:cxn ang="0">
                  <a:pos x="14" y="118"/>
                </a:cxn>
                <a:cxn ang="0">
                  <a:pos x="30" y="128"/>
                </a:cxn>
                <a:cxn ang="0">
                  <a:pos x="47" y="132"/>
                </a:cxn>
                <a:cxn ang="0">
                  <a:pos x="147" y="132"/>
                </a:cxn>
              </a:cxnLst>
              <a:rect l="0" t="0" r="r" b="b"/>
              <a:pathLst>
                <a:path w="215" h="132">
                  <a:moveTo>
                    <a:pt x="180" y="132"/>
                  </a:moveTo>
                  <a:lnTo>
                    <a:pt x="180" y="132"/>
                  </a:lnTo>
                  <a:lnTo>
                    <a:pt x="187" y="132"/>
                  </a:lnTo>
                  <a:lnTo>
                    <a:pt x="193" y="129"/>
                  </a:lnTo>
                  <a:lnTo>
                    <a:pt x="199" y="125"/>
                  </a:lnTo>
                  <a:lnTo>
                    <a:pt x="204" y="121"/>
                  </a:lnTo>
                  <a:lnTo>
                    <a:pt x="208" y="116"/>
                  </a:lnTo>
                  <a:lnTo>
                    <a:pt x="212" y="110"/>
                  </a:lnTo>
                  <a:lnTo>
                    <a:pt x="215" y="104"/>
                  </a:lnTo>
                  <a:lnTo>
                    <a:pt x="215" y="97"/>
                  </a:lnTo>
                  <a:lnTo>
                    <a:pt x="215" y="97"/>
                  </a:lnTo>
                  <a:lnTo>
                    <a:pt x="215" y="90"/>
                  </a:lnTo>
                  <a:lnTo>
                    <a:pt x="212" y="83"/>
                  </a:lnTo>
                  <a:lnTo>
                    <a:pt x="208" y="77"/>
                  </a:lnTo>
                  <a:lnTo>
                    <a:pt x="204" y="72"/>
                  </a:lnTo>
                  <a:lnTo>
                    <a:pt x="199" y="68"/>
                  </a:lnTo>
                  <a:lnTo>
                    <a:pt x="193" y="64"/>
                  </a:lnTo>
                  <a:lnTo>
                    <a:pt x="187" y="63"/>
                  </a:lnTo>
                  <a:lnTo>
                    <a:pt x="180" y="62"/>
                  </a:lnTo>
                  <a:lnTo>
                    <a:pt x="180" y="62"/>
                  </a:lnTo>
                  <a:lnTo>
                    <a:pt x="179" y="62"/>
                  </a:lnTo>
                  <a:lnTo>
                    <a:pt x="179" y="62"/>
                  </a:lnTo>
                  <a:lnTo>
                    <a:pt x="179" y="61"/>
                  </a:lnTo>
                  <a:lnTo>
                    <a:pt x="179" y="61"/>
                  </a:lnTo>
                  <a:lnTo>
                    <a:pt x="178" y="48"/>
                  </a:lnTo>
                  <a:lnTo>
                    <a:pt x="174" y="36"/>
                  </a:lnTo>
                  <a:lnTo>
                    <a:pt x="169" y="26"/>
                  </a:lnTo>
                  <a:lnTo>
                    <a:pt x="161" y="17"/>
                  </a:lnTo>
                  <a:lnTo>
                    <a:pt x="152" y="10"/>
                  </a:lnTo>
                  <a:lnTo>
                    <a:pt x="142" y="5"/>
                  </a:lnTo>
                  <a:lnTo>
                    <a:pt x="131" y="1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09" y="1"/>
                  </a:lnTo>
                  <a:lnTo>
                    <a:pt x="101" y="2"/>
                  </a:lnTo>
                  <a:lnTo>
                    <a:pt x="92" y="6"/>
                  </a:lnTo>
                  <a:lnTo>
                    <a:pt x="84" y="11"/>
                  </a:lnTo>
                  <a:lnTo>
                    <a:pt x="78" y="17"/>
                  </a:lnTo>
                  <a:lnTo>
                    <a:pt x="71" y="24"/>
                  </a:lnTo>
                  <a:lnTo>
                    <a:pt x="66" y="31"/>
                  </a:lnTo>
                  <a:lnTo>
                    <a:pt x="62" y="39"/>
                  </a:lnTo>
                  <a:lnTo>
                    <a:pt x="62" y="39"/>
                  </a:lnTo>
                  <a:lnTo>
                    <a:pt x="55" y="38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38" y="38"/>
                  </a:lnTo>
                  <a:lnTo>
                    <a:pt x="30" y="40"/>
                  </a:lnTo>
                  <a:lnTo>
                    <a:pt x="21" y="45"/>
                  </a:lnTo>
                  <a:lnTo>
                    <a:pt x="14" y="50"/>
                  </a:lnTo>
                  <a:lnTo>
                    <a:pt x="8" y="58"/>
                  </a:lnTo>
                  <a:lnTo>
                    <a:pt x="4" y="66"/>
                  </a:lnTo>
                  <a:lnTo>
                    <a:pt x="2" y="7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2" y="94"/>
                  </a:lnTo>
                  <a:lnTo>
                    <a:pt x="4" y="102"/>
                  </a:lnTo>
                  <a:lnTo>
                    <a:pt x="8" y="111"/>
                  </a:lnTo>
                  <a:lnTo>
                    <a:pt x="14" y="118"/>
                  </a:lnTo>
                  <a:lnTo>
                    <a:pt x="21" y="124"/>
                  </a:lnTo>
                  <a:lnTo>
                    <a:pt x="30" y="128"/>
                  </a:lnTo>
                  <a:lnTo>
                    <a:pt x="38" y="130"/>
                  </a:lnTo>
                  <a:lnTo>
                    <a:pt x="47" y="132"/>
                  </a:lnTo>
                  <a:lnTo>
                    <a:pt x="47" y="132"/>
                  </a:lnTo>
                  <a:lnTo>
                    <a:pt x="147" y="132"/>
                  </a:lnTo>
                </a:path>
              </a:pathLst>
            </a:custGeom>
            <a:noFill/>
            <a:ln w="1905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lIns="83969" tIns="41985" rIns="83969" bIns="41985"/>
            <a:lstStyle/>
            <a:p>
              <a:pPr defTabSz="914400">
                <a:defRPr/>
              </a:pPr>
              <a:endParaRPr lang="en-US" sz="1800">
                <a:solidFill>
                  <a:srgbClr val="263147"/>
                </a:solidFill>
                <a:cs typeface="Arial" charset="0"/>
              </a:endParaRPr>
            </a:p>
          </p:txBody>
        </p:sp>
      </p:grpSp>
      <p:graphicFrame>
        <p:nvGraphicFramePr>
          <p:cNvPr id="42" name="Object 2" hidden="1"/>
          <p:cNvGraphicFramePr>
            <a:graphicFrameLocks noChangeAspect="1"/>
          </p:cNvGraphicFramePr>
          <p:nvPr/>
        </p:nvGraphicFramePr>
        <p:xfrm>
          <a:off x="0" y="0"/>
          <a:ext cx="158222" cy="158750"/>
        </p:xfrm>
        <a:graphic>
          <a:graphicData uri="http://schemas.openxmlformats.org/presentationml/2006/ole">
            <p:oleObj spid="_x0000_s373763" name="think-cell Slide" r:id="rId6" imgW="360" imgH="360" progId="">
              <p:embed/>
            </p:oleObj>
          </a:graphicData>
        </a:graphic>
      </p:graphicFrame>
      <p:sp>
        <p:nvSpPr>
          <p:cNvPr id="43" name="Rectangle 7"/>
          <p:cNvSpPr/>
          <p:nvPr>
            <p:custDataLst>
              <p:tags r:id="rId2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xmlns="" val="4143894643"/>
      </p:ext>
    </p:extLst>
  </p:cSld>
  <p:clrMapOvr>
    <a:masterClrMapping/>
  </p:clrMapOvr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521666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522690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23714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524738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525762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26786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27810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528834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4058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6679" name="Picture 7" descr="Isis-Mobile-Wallet"/>
          <p:cNvPicPr>
            <a:picLocks noChangeAspect="1" noChangeArrowheads="1"/>
          </p:cNvPicPr>
          <p:nvPr userDrawn="1"/>
        </p:nvPicPr>
        <p:blipFill>
          <a:blip r:embed="rId4" cstate="print"/>
          <a:srcRect r="27500"/>
          <a:stretch>
            <a:fillRect/>
          </a:stretch>
        </p:blipFill>
        <p:spPr bwMode="auto">
          <a:xfrm>
            <a:off x="0" y="0"/>
            <a:ext cx="9906000" cy="49530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222" cy="158750"/>
        </p:xfrm>
        <a:graphic>
          <a:graphicData uri="http://schemas.openxmlformats.org/presentationml/2006/ole">
            <p:oleObj spid="_x0000_s374786" name="think-cell Slide" r:id="rId5" imgW="360" imgH="360" progId="">
              <p:embed/>
            </p:oleObj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/>
        </p:nvGraphicFramePr>
        <p:xfrm>
          <a:off x="0" y="0"/>
          <a:ext cx="158222" cy="158750"/>
        </p:xfrm>
        <a:graphic>
          <a:graphicData uri="http://schemas.openxmlformats.org/presentationml/2006/ole">
            <p:oleObj spid="_x0000_s374787" name="think-cell Slide" r:id="rId6" imgW="360" imgH="360" progId="">
              <p:embed/>
            </p:oleObj>
          </a:graphicData>
        </a:graphic>
      </p:graphicFrame>
      <p:sp>
        <p:nvSpPr>
          <p:cNvPr id="43" name="Rectangle 7"/>
          <p:cNvSpPr/>
          <p:nvPr>
            <p:custDataLst>
              <p:tags r:id="rId2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xmlns="" val="4143894643"/>
      </p:ext>
    </p:extLst>
  </p:cSld>
  <p:clrMapOvr>
    <a:masterClrMapping/>
  </p:clrMapOvr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532930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533954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34978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536002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537026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38050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39074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540098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387074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544194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545218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46242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54726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548290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49314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50338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551362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388098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555458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556482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57506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558530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559554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60578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61602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562626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89122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566722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567746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68770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569794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570818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71842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72866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573890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39014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577986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579010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80034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581058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582082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83106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84130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585154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391170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589250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590274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91298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592322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593346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94370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95394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1596418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92194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93218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394242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3034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2" name="Picture 2" descr="D:\Users\sbandyop\Downloads\ACE VI_FINAL_woman with mobile.png"/>
          <p:cNvPicPr>
            <a:picLocks noChangeAspect="1" noChangeArrowheads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3302000" y="1905005"/>
            <a:ext cx="6438900" cy="2960117"/>
          </a:xfrm>
          <a:prstGeom prst="rect">
            <a:avLst/>
          </a:prstGeom>
          <a:noFill/>
        </p:spPr>
      </p:pic>
      <p:pic>
        <p:nvPicPr>
          <p:cNvPr id="12" name="Picture 11" descr="Header_Title Slide_PPT Template_3.png"/>
          <p:cNvPicPr>
            <a:picLocks noChangeAspect="1"/>
          </p:cNvPicPr>
          <p:nvPr/>
        </p:nvPicPr>
        <p:blipFill>
          <a:blip r:embed="rId5" cstate="email"/>
          <a:stretch>
            <a:fillRect/>
          </a:stretch>
        </p:blipFill>
        <p:spPr>
          <a:xfrm>
            <a:off x="0" y="6"/>
            <a:ext cx="9906000" cy="2516697"/>
          </a:xfrm>
          <a:prstGeom prst="rect">
            <a:avLst/>
          </a:prstGeom>
        </p:spPr>
      </p:pic>
      <p:pic>
        <p:nvPicPr>
          <p:cNvPr id="22" name="Picture 21" descr="Header_PPT Template.png"/>
          <p:cNvPicPr>
            <a:picLocks noChangeAspect="1"/>
          </p:cNvPicPr>
          <p:nvPr/>
        </p:nvPicPr>
        <p:blipFill>
          <a:blip r:embed="rId6" cstate="email"/>
          <a:stretch>
            <a:fillRect/>
          </a:stretch>
        </p:blipFill>
        <p:spPr>
          <a:xfrm>
            <a:off x="0" y="0"/>
            <a:ext cx="9906000" cy="2516696"/>
          </a:xfrm>
          <a:prstGeom prst="rect">
            <a:avLst/>
          </a:prstGeom>
        </p:spPr>
      </p:pic>
      <p:pic>
        <p:nvPicPr>
          <p:cNvPr id="23" name="Picture 22" descr="capgemini logo.png"/>
          <p:cNvPicPr>
            <a:picLocks noChangeAspect="1"/>
          </p:cNvPicPr>
          <p:nvPr/>
        </p:nvPicPr>
        <p:blipFill>
          <a:blip r:embed="rId7" cstate="email">
            <a:lum bright="100000"/>
          </a:blip>
          <a:stretch>
            <a:fillRect/>
          </a:stretch>
        </p:blipFill>
        <p:spPr>
          <a:xfrm>
            <a:off x="428497" y="625237"/>
            <a:ext cx="2995200" cy="643531"/>
          </a:xfrm>
          <a:prstGeom prst="rect">
            <a:avLst/>
          </a:prstGeom>
        </p:spPr>
      </p:pic>
      <p:pic>
        <p:nvPicPr>
          <p:cNvPr id="26" name="Picture 25" descr="Footer_PPT Template_2.png"/>
          <p:cNvPicPr preferRelativeResize="0">
            <a:picLocks/>
          </p:cNvPicPr>
          <p:nvPr/>
        </p:nvPicPr>
        <p:blipFill>
          <a:blip r:embed="rId8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7" name="Image 7" descr="Capgemini_Slogan_RGB.png"/>
          <p:cNvPicPr>
            <a:picLocks noChangeAspect="1"/>
          </p:cNvPicPr>
          <p:nvPr/>
        </p:nvPicPr>
        <p:blipFill>
          <a:blip r:embed="rId9" cstate="email">
            <a:lum bright="100000"/>
          </a:blip>
          <a:stretch>
            <a:fillRect/>
          </a:stretch>
        </p:blipFill>
        <p:spPr>
          <a:xfrm>
            <a:off x="6747199" y="6390281"/>
            <a:ext cx="2925000" cy="27908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4" y="4202089"/>
            <a:ext cx="9905999" cy="1512168"/>
          </a:xfrm>
        </p:spPr>
        <p:txBody>
          <a:bodyPr anchor="b">
            <a:noAutofit/>
          </a:bodyPr>
          <a:lstStyle>
            <a:lvl1pPr algn="l">
              <a:defRPr sz="4800" b="0" spc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-2746" y="5672400"/>
            <a:ext cx="9910389" cy="576000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11" name="Picture 10" descr="logo.png"/>
          <p:cNvPicPr>
            <a:picLocks noChangeAspect="1"/>
          </p:cNvPicPr>
          <p:nvPr userDrawn="1"/>
        </p:nvPicPr>
        <p:blipFill>
          <a:blip r:embed="rId10" cstate="email">
            <a:lum bright="100000"/>
          </a:blip>
          <a:stretch>
            <a:fillRect/>
          </a:stretch>
        </p:blipFill>
        <p:spPr>
          <a:xfrm>
            <a:off x="7800511" y="260649"/>
            <a:ext cx="1755000" cy="122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86136527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 descr="mw2.jpg"/>
          <p:cNvPicPr>
            <a:picLocks noChangeAspect="1"/>
          </p:cNvPicPr>
          <p:nvPr userDrawn="1"/>
        </p:nvPicPr>
        <p:blipFill>
          <a:blip r:embed="rId4" cstate="email"/>
          <a:stretch>
            <a:fillRect/>
          </a:stretch>
        </p:blipFill>
        <p:spPr>
          <a:xfrm>
            <a:off x="0" y="2"/>
            <a:ext cx="9906000" cy="5325133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222" cy="158750"/>
        </p:xfrm>
        <a:graphic>
          <a:graphicData uri="http://schemas.openxmlformats.org/presentationml/2006/ole">
            <p:oleObj spid="_x0000_s399362" name="think-cell Slide" r:id="rId5" imgW="360" imgH="360" progId="">
              <p:embed/>
            </p:oleObj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/>
        </p:nvGraphicFramePr>
        <p:xfrm>
          <a:off x="0" y="0"/>
          <a:ext cx="158222" cy="158750"/>
        </p:xfrm>
        <a:graphic>
          <a:graphicData uri="http://schemas.openxmlformats.org/presentationml/2006/ole">
            <p:oleObj spid="_x0000_s399363" name="think-cell Slide" r:id="rId6" imgW="360" imgH="360" progId="">
              <p:embed/>
            </p:oleObj>
          </a:graphicData>
        </a:graphic>
      </p:graphicFrame>
      <p:sp>
        <p:nvSpPr>
          <p:cNvPr id="43" name="Rectangle 7"/>
          <p:cNvSpPr/>
          <p:nvPr>
            <p:custDataLst>
              <p:tags r:id="rId2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xmlns="" val="414389464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7701" name="Picture 5" descr="http://talent.capgemini.com/media_library/Medias/News_Illustrations/mobile_transformation.jpg"/>
          <p:cNvPicPr>
            <a:picLocks noChangeAspect="1" noChangeArrowheads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" y="0"/>
            <a:ext cx="9905999" cy="48006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222" cy="158750"/>
        </p:xfrm>
        <a:graphic>
          <a:graphicData uri="http://schemas.openxmlformats.org/presentationml/2006/ole">
            <p:oleObj spid="_x0000_s400386" name="think-cell Slide" r:id="rId5" imgW="360" imgH="360" progId="">
              <p:embed/>
            </p:oleObj>
          </a:graphicData>
        </a:graphic>
      </p:graphicFrame>
      <p:grpSp>
        <p:nvGrpSpPr>
          <p:cNvPr id="4" name="Group 18"/>
          <p:cNvGrpSpPr>
            <a:grpSpLocks/>
          </p:cNvGrpSpPr>
          <p:nvPr/>
        </p:nvGrpSpPr>
        <p:grpSpPr bwMode="auto">
          <a:xfrm>
            <a:off x="2579688" y="700734"/>
            <a:ext cx="6500750" cy="1502721"/>
            <a:chOff x="2579688" y="2502608"/>
            <a:chExt cx="6500750" cy="1502663"/>
          </a:xfrm>
        </p:grpSpPr>
        <p:grpSp>
          <p:nvGrpSpPr>
            <p:cNvPr id="5" name="Groupe 709"/>
            <p:cNvGrpSpPr>
              <a:grpSpLocks/>
            </p:cNvGrpSpPr>
            <p:nvPr userDrawn="1"/>
          </p:nvGrpSpPr>
          <p:grpSpPr bwMode="auto">
            <a:xfrm>
              <a:off x="8084783" y="2883520"/>
              <a:ext cx="386117" cy="518177"/>
              <a:chOff x="2344714" y="4924226"/>
              <a:chExt cx="184150" cy="252413"/>
            </a:xfrm>
          </p:grpSpPr>
          <p:sp>
            <p:nvSpPr>
              <p:cNvPr id="40" name="Freeform 449"/>
              <p:cNvSpPr>
                <a:spLocks/>
              </p:cNvSpPr>
              <p:nvPr/>
            </p:nvSpPr>
            <p:spPr bwMode="auto">
              <a:xfrm>
                <a:off x="2344694" y="4923950"/>
                <a:ext cx="184548" cy="252859"/>
              </a:xfrm>
              <a:custGeom>
                <a:avLst/>
                <a:gdLst/>
                <a:ahLst/>
                <a:cxnLst>
                  <a:cxn ang="0">
                    <a:pos x="97" y="159"/>
                  </a:cxn>
                  <a:cxn ang="0">
                    <a:pos x="20" y="159"/>
                  </a:cxn>
                  <a:cxn ang="0">
                    <a:pos x="20" y="159"/>
                  </a:cxn>
                  <a:cxn ang="0">
                    <a:pos x="15" y="159"/>
                  </a:cxn>
                  <a:cxn ang="0">
                    <a:pos x="13" y="157"/>
                  </a:cxn>
                  <a:cxn ang="0">
                    <a:pos x="6" y="154"/>
                  </a:cxn>
                  <a:cxn ang="0">
                    <a:pos x="1" y="147"/>
                  </a:cxn>
                  <a:cxn ang="0">
                    <a:pos x="0" y="143"/>
                  </a:cxn>
                  <a:cxn ang="0">
                    <a:pos x="0" y="140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15"/>
                  </a:cxn>
                  <a:cxn ang="0">
                    <a:pos x="1" y="12"/>
                  </a:cxn>
                  <a:cxn ang="0">
                    <a:pos x="6" y="5"/>
                  </a:cxn>
                  <a:cxn ang="0">
                    <a:pos x="13" y="2"/>
                  </a:cxn>
                  <a:cxn ang="0">
                    <a:pos x="15" y="0"/>
                  </a:cxn>
                  <a:cxn ang="0">
                    <a:pos x="20" y="0"/>
                  </a:cxn>
                  <a:cxn ang="0">
                    <a:pos x="97" y="0"/>
                  </a:cxn>
                  <a:cxn ang="0">
                    <a:pos x="97" y="0"/>
                  </a:cxn>
                  <a:cxn ang="0">
                    <a:pos x="101" y="0"/>
                  </a:cxn>
                  <a:cxn ang="0">
                    <a:pos x="105" y="2"/>
                  </a:cxn>
                  <a:cxn ang="0">
                    <a:pos x="111" y="5"/>
                  </a:cxn>
                  <a:cxn ang="0">
                    <a:pos x="115" y="12"/>
                  </a:cxn>
                  <a:cxn ang="0">
                    <a:pos x="116" y="15"/>
                  </a:cxn>
                  <a:cxn ang="0">
                    <a:pos x="116" y="19"/>
                  </a:cxn>
                  <a:cxn ang="0">
                    <a:pos x="116" y="159"/>
                  </a:cxn>
                </a:cxnLst>
                <a:rect l="0" t="0" r="r" b="b"/>
                <a:pathLst>
                  <a:path w="116" h="159">
                    <a:moveTo>
                      <a:pt x="97" y="159"/>
                    </a:moveTo>
                    <a:lnTo>
                      <a:pt x="20" y="159"/>
                    </a:lnTo>
                    <a:lnTo>
                      <a:pt x="20" y="159"/>
                    </a:lnTo>
                    <a:lnTo>
                      <a:pt x="15" y="159"/>
                    </a:lnTo>
                    <a:lnTo>
                      <a:pt x="13" y="157"/>
                    </a:lnTo>
                    <a:lnTo>
                      <a:pt x="6" y="154"/>
                    </a:lnTo>
                    <a:lnTo>
                      <a:pt x="1" y="147"/>
                    </a:lnTo>
                    <a:lnTo>
                      <a:pt x="0" y="143"/>
                    </a:lnTo>
                    <a:lnTo>
                      <a:pt x="0" y="140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5"/>
                    </a:lnTo>
                    <a:lnTo>
                      <a:pt x="1" y="12"/>
                    </a:lnTo>
                    <a:lnTo>
                      <a:pt x="6" y="5"/>
                    </a:lnTo>
                    <a:lnTo>
                      <a:pt x="13" y="2"/>
                    </a:lnTo>
                    <a:lnTo>
                      <a:pt x="15" y="0"/>
                    </a:lnTo>
                    <a:lnTo>
                      <a:pt x="20" y="0"/>
                    </a:lnTo>
                    <a:lnTo>
                      <a:pt x="97" y="0"/>
                    </a:lnTo>
                    <a:lnTo>
                      <a:pt x="97" y="0"/>
                    </a:lnTo>
                    <a:lnTo>
                      <a:pt x="101" y="0"/>
                    </a:lnTo>
                    <a:lnTo>
                      <a:pt x="105" y="2"/>
                    </a:lnTo>
                    <a:lnTo>
                      <a:pt x="111" y="5"/>
                    </a:lnTo>
                    <a:lnTo>
                      <a:pt x="115" y="12"/>
                    </a:lnTo>
                    <a:lnTo>
                      <a:pt x="116" y="15"/>
                    </a:lnTo>
                    <a:lnTo>
                      <a:pt x="116" y="19"/>
                    </a:lnTo>
                    <a:lnTo>
                      <a:pt x="116" y="15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41" name="Freeform 450"/>
              <p:cNvSpPr>
                <a:spLocks/>
              </p:cNvSpPr>
              <p:nvPr/>
            </p:nvSpPr>
            <p:spPr bwMode="auto">
              <a:xfrm>
                <a:off x="2365199" y="4944828"/>
                <a:ext cx="145178" cy="231981"/>
              </a:xfrm>
              <a:custGeom>
                <a:avLst/>
                <a:gdLst/>
                <a:ahLst/>
                <a:cxnLst>
                  <a:cxn ang="0">
                    <a:pos x="32" y="129"/>
                  </a:cxn>
                  <a:cxn ang="0">
                    <a:pos x="32" y="129"/>
                  </a:cxn>
                  <a:cxn ang="0">
                    <a:pos x="34" y="133"/>
                  </a:cxn>
                  <a:cxn ang="0">
                    <a:pos x="35" y="136"/>
                  </a:cxn>
                  <a:cxn ang="0">
                    <a:pos x="39" y="137"/>
                  </a:cxn>
                  <a:cxn ang="0">
                    <a:pos x="41" y="138"/>
                  </a:cxn>
                  <a:cxn ang="0">
                    <a:pos x="41" y="138"/>
                  </a:cxn>
                  <a:cxn ang="0">
                    <a:pos x="45" y="137"/>
                  </a:cxn>
                  <a:cxn ang="0">
                    <a:pos x="48" y="136"/>
                  </a:cxn>
                  <a:cxn ang="0">
                    <a:pos x="49" y="133"/>
                  </a:cxn>
                  <a:cxn ang="0">
                    <a:pos x="50" y="129"/>
                  </a:cxn>
                  <a:cxn ang="0">
                    <a:pos x="50" y="129"/>
                  </a:cxn>
                  <a:cxn ang="0">
                    <a:pos x="49" y="125"/>
                  </a:cxn>
                  <a:cxn ang="0">
                    <a:pos x="48" y="123"/>
                  </a:cxn>
                  <a:cxn ang="0">
                    <a:pos x="45" y="122"/>
                  </a:cxn>
                  <a:cxn ang="0">
                    <a:pos x="41" y="120"/>
                  </a:cxn>
                  <a:cxn ang="0">
                    <a:pos x="7" y="120"/>
                  </a:cxn>
                  <a:cxn ang="0">
                    <a:pos x="7" y="120"/>
                  </a:cxn>
                  <a:cxn ang="0">
                    <a:pos x="5" y="120"/>
                  </a:cxn>
                  <a:cxn ang="0">
                    <a:pos x="2" y="119"/>
                  </a:cxn>
                  <a:cxn ang="0">
                    <a:pos x="1" y="117"/>
                  </a:cxn>
                  <a:cxn ang="0">
                    <a:pos x="0" y="11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1" y="4"/>
                  </a:cxn>
                  <a:cxn ang="0">
                    <a:pos x="2" y="2"/>
                  </a:cxn>
                  <a:cxn ang="0">
                    <a:pos x="5" y="1"/>
                  </a:cxn>
                  <a:cxn ang="0">
                    <a:pos x="7" y="0"/>
                  </a:cxn>
                  <a:cxn ang="0">
                    <a:pos x="84" y="0"/>
                  </a:cxn>
                  <a:cxn ang="0">
                    <a:pos x="84" y="0"/>
                  </a:cxn>
                  <a:cxn ang="0">
                    <a:pos x="87" y="1"/>
                  </a:cxn>
                  <a:cxn ang="0">
                    <a:pos x="88" y="2"/>
                  </a:cxn>
                  <a:cxn ang="0">
                    <a:pos x="89" y="4"/>
                  </a:cxn>
                  <a:cxn ang="0">
                    <a:pos x="91" y="6"/>
                  </a:cxn>
                  <a:cxn ang="0">
                    <a:pos x="91" y="139"/>
                  </a:cxn>
                  <a:cxn ang="0">
                    <a:pos x="91" y="139"/>
                  </a:cxn>
                  <a:cxn ang="0">
                    <a:pos x="89" y="142"/>
                  </a:cxn>
                  <a:cxn ang="0">
                    <a:pos x="88" y="144"/>
                  </a:cxn>
                  <a:cxn ang="0">
                    <a:pos x="87" y="146"/>
                  </a:cxn>
                  <a:cxn ang="0">
                    <a:pos x="84" y="146"/>
                  </a:cxn>
                </a:cxnLst>
                <a:rect l="0" t="0" r="r" b="b"/>
                <a:pathLst>
                  <a:path w="91" h="146">
                    <a:moveTo>
                      <a:pt x="32" y="129"/>
                    </a:moveTo>
                    <a:lnTo>
                      <a:pt x="32" y="129"/>
                    </a:lnTo>
                    <a:lnTo>
                      <a:pt x="34" y="133"/>
                    </a:lnTo>
                    <a:lnTo>
                      <a:pt x="35" y="136"/>
                    </a:lnTo>
                    <a:lnTo>
                      <a:pt x="39" y="137"/>
                    </a:lnTo>
                    <a:lnTo>
                      <a:pt x="41" y="138"/>
                    </a:lnTo>
                    <a:lnTo>
                      <a:pt x="41" y="138"/>
                    </a:lnTo>
                    <a:lnTo>
                      <a:pt x="45" y="137"/>
                    </a:lnTo>
                    <a:lnTo>
                      <a:pt x="48" y="136"/>
                    </a:lnTo>
                    <a:lnTo>
                      <a:pt x="49" y="133"/>
                    </a:lnTo>
                    <a:lnTo>
                      <a:pt x="50" y="129"/>
                    </a:lnTo>
                    <a:lnTo>
                      <a:pt x="50" y="129"/>
                    </a:lnTo>
                    <a:lnTo>
                      <a:pt x="49" y="125"/>
                    </a:lnTo>
                    <a:lnTo>
                      <a:pt x="48" y="123"/>
                    </a:lnTo>
                    <a:lnTo>
                      <a:pt x="45" y="122"/>
                    </a:lnTo>
                    <a:lnTo>
                      <a:pt x="41" y="120"/>
                    </a:lnTo>
                    <a:lnTo>
                      <a:pt x="7" y="120"/>
                    </a:lnTo>
                    <a:lnTo>
                      <a:pt x="7" y="120"/>
                    </a:lnTo>
                    <a:lnTo>
                      <a:pt x="5" y="120"/>
                    </a:lnTo>
                    <a:lnTo>
                      <a:pt x="2" y="119"/>
                    </a:lnTo>
                    <a:lnTo>
                      <a:pt x="1" y="117"/>
                    </a:lnTo>
                    <a:lnTo>
                      <a:pt x="0" y="11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5" y="1"/>
                    </a:lnTo>
                    <a:lnTo>
                      <a:pt x="7" y="0"/>
                    </a:lnTo>
                    <a:lnTo>
                      <a:pt x="84" y="0"/>
                    </a:lnTo>
                    <a:lnTo>
                      <a:pt x="84" y="0"/>
                    </a:lnTo>
                    <a:lnTo>
                      <a:pt x="87" y="1"/>
                    </a:lnTo>
                    <a:lnTo>
                      <a:pt x="88" y="2"/>
                    </a:lnTo>
                    <a:lnTo>
                      <a:pt x="89" y="4"/>
                    </a:lnTo>
                    <a:lnTo>
                      <a:pt x="91" y="6"/>
                    </a:lnTo>
                    <a:lnTo>
                      <a:pt x="91" y="139"/>
                    </a:lnTo>
                    <a:lnTo>
                      <a:pt x="91" y="139"/>
                    </a:lnTo>
                    <a:lnTo>
                      <a:pt x="89" y="142"/>
                    </a:lnTo>
                    <a:lnTo>
                      <a:pt x="88" y="144"/>
                    </a:lnTo>
                    <a:lnTo>
                      <a:pt x="87" y="146"/>
                    </a:lnTo>
                    <a:lnTo>
                      <a:pt x="84" y="146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6" name="Groupe 836"/>
            <p:cNvGrpSpPr>
              <a:grpSpLocks/>
            </p:cNvGrpSpPr>
            <p:nvPr userDrawn="1"/>
          </p:nvGrpSpPr>
          <p:grpSpPr bwMode="auto">
            <a:xfrm>
              <a:off x="6165033" y="2867225"/>
              <a:ext cx="722304" cy="534472"/>
              <a:chOff x="1163614" y="7062589"/>
              <a:chExt cx="344488" cy="260350"/>
            </a:xfrm>
          </p:grpSpPr>
          <p:sp>
            <p:nvSpPr>
              <p:cNvPr id="26" name="Freeform 578"/>
              <p:cNvSpPr>
                <a:spLocks/>
              </p:cNvSpPr>
              <p:nvPr/>
            </p:nvSpPr>
            <p:spPr bwMode="auto">
              <a:xfrm>
                <a:off x="1477958" y="7108914"/>
                <a:ext cx="30348" cy="166252"/>
              </a:xfrm>
              <a:custGeom>
                <a:avLst/>
                <a:gdLst/>
                <a:ahLst/>
                <a:cxnLst>
                  <a:cxn ang="0">
                    <a:pos x="0" y="105"/>
                  </a:cxn>
                  <a:cxn ang="0">
                    <a:pos x="0" y="105"/>
                  </a:cxn>
                  <a:cxn ang="0">
                    <a:pos x="7" y="94"/>
                  </a:cxn>
                  <a:cxn ang="0">
                    <a:pos x="14" y="81"/>
                  </a:cxn>
                  <a:cxn ang="0">
                    <a:pos x="17" y="67"/>
                  </a:cxn>
                  <a:cxn ang="0">
                    <a:pos x="19" y="52"/>
                  </a:cxn>
                  <a:cxn ang="0">
                    <a:pos x="19" y="52"/>
                  </a:cxn>
                  <a:cxn ang="0">
                    <a:pos x="17" y="38"/>
                  </a:cxn>
                  <a:cxn ang="0">
                    <a:pos x="14" y="24"/>
                  </a:cxn>
                  <a:cxn ang="0">
                    <a:pos x="7" y="12"/>
                  </a:cxn>
                  <a:cxn ang="0">
                    <a:pos x="0" y="0"/>
                  </a:cxn>
                </a:cxnLst>
                <a:rect l="0" t="0" r="r" b="b"/>
                <a:pathLst>
                  <a:path w="19" h="105">
                    <a:moveTo>
                      <a:pt x="0" y="105"/>
                    </a:moveTo>
                    <a:lnTo>
                      <a:pt x="0" y="105"/>
                    </a:lnTo>
                    <a:lnTo>
                      <a:pt x="7" y="94"/>
                    </a:lnTo>
                    <a:lnTo>
                      <a:pt x="14" y="81"/>
                    </a:lnTo>
                    <a:lnTo>
                      <a:pt x="17" y="67"/>
                    </a:lnTo>
                    <a:lnTo>
                      <a:pt x="19" y="52"/>
                    </a:lnTo>
                    <a:lnTo>
                      <a:pt x="19" y="52"/>
                    </a:lnTo>
                    <a:lnTo>
                      <a:pt x="17" y="38"/>
                    </a:lnTo>
                    <a:lnTo>
                      <a:pt x="14" y="24"/>
                    </a:lnTo>
                    <a:lnTo>
                      <a:pt x="7" y="12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7" name="Freeform 579"/>
              <p:cNvSpPr>
                <a:spLocks/>
              </p:cNvSpPr>
              <p:nvPr/>
            </p:nvSpPr>
            <p:spPr bwMode="auto">
              <a:xfrm>
                <a:off x="1277825" y="7273619"/>
                <a:ext cx="10170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7" y="7"/>
                  </a:cxn>
                  <a:cxn ang="0">
                    <a:pos x="13" y="13"/>
                  </a:cxn>
                  <a:cxn ang="0">
                    <a:pos x="21" y="18"/>
                  </a:cxn>
                  <a:cxn ang="0">
                    <a:pos x="28" y="22"/>
                  </a:cxn>
                  <a:cxn ang="0">
                    <a:pos x="36" y="26"/>
                  </a:cxn>
                  <a:cxn ang="0">
                    <a:pos x="45" y="28"/>
                  </a:cxn>
                  <a:cxn ang="0">
                    <a:pos x="54" y="29"/>
                  </a:cxn>
                  <a:cxn ang="0">
                    <a:pos x="64" y="31"/>
                  </a:cxn>
                </a:cxnLst>
                <a:rect l="0" t="0" r="r" b="b"/>
                <a:pathLst>
                  <a:path w="64" h="31">
                    <a:moveTo>
                      <a:pt x="0" y="0"/>
                    </a:moveTo>
                    <a:lnTo>
                      <a:pt x="0" y="0"/>
                    </a:lnTo>
                    <a:lnTo>
                      <a:pt x="7" y="7"/>
                    </a:lnTo>
                    <a:lnTo>
                      <a:pt x="13" y="13"/>
                    </a:lnTo>
                    <a:lnTo>
                      <a:pt x="21" y="18"/>
                    </a:lnTo>
                    <a:lnTo>
                      <a:pt x="28" y="22"/>
                    </a:lnTo>
                    <a:lnTo>
                      <a:pt x="36" y="26"/>
                    </a:lnTo>
                    <a:lnTo>
                      <a:pt x="45" y="28"/>
                    </a:lnTo>
                    <a:lnTo>
                      <a:pt x="54" y="29"/>
                    </a:lnTo>
                    <a:lnTo>
                      <a:pt x="64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8" name="Line 580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9" name="Line 581"/>
              <p:cNvSpPr>
                <a:spLocks noChangeShapeType="1"/>
              </p:cNvSpPr>
              <p:nvPr/>
            </p:nvSpPr>
            <p:spPr bwMode="auto">
              <a:xfrm>
                <a:off x="1277825" y="7108914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0" name="Freeform 582"/>
              <p:cNvSpPr>
                <a:spLocks/>
              </p:cNvSpPr>
              <p:nvPr/>
            </p:nvSpPr>
            <p:spPr bwMode="auto">
              <a:xfrm>
                <a:off x="1277825" y="7062518"/>
                <a:ext cx="200134" cy="46396"/>
              </a:xfrm>
              <a:custGeom>
                <a:avLst/>
                <a:gdLst/>
                <a:ahLst/>
                <a:cxnLst>
                  <a:cxn ang="0">
                    <a:pos x="0" y="29"/>
                  </a:cxn>
                  <a:cxn ang="0">
                    <a:pos x="0" y="29"/>
                  </a:cxn>
                  <a:cxn ang="0">
                    <a:pos x="7" y="23"/>
                  </a:cxn>
                  <a:cxn ang="0">
                    <a:pos x="13" y="17"/>
                  </a:cxn>
                  <a:cxn ang="0">
                    <a:pos x="21" y="12"/>
                  </a:cxn>
                  <a:cxn ang="0">
                    <a:pos x="28" y="8"/>
                  </a:cxn>
                  <a:cxn ang="0">
                    <a:pos x="37" y="4"/>
                  </a:cxn>
                  <a:cxn ang="0">
                    <a:pos x="45" y="3"/>
                  </a:cxn>
                  <a:cxn ang="0">
                    <a:pos x="54" y="0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73" y="0"/>
                  </a:cxn>
                  <a:cxn ang="0">
                    <a:pos x="81" y="3"/>
                  </a:cxn>
                  <a:cxn ang="0">
                    <a:pos x="90" y="4"/>
                  </a:cxn>
                  <a:cxn ang="0">
                    <a:pos x="98" y="8"/>
                  </a:cxn>
                  <a:cxn ang="0">
                    <a:pos x="105" y="12"/>
                  </a:cxn>
                  <a:cxn ang="0">
                    <a:pos x="113" y="17"/>
                  </a:cxn>
                  <a:cxn ang="0">
                    <a:pos x="119" y="23"/>
                  </a:cxn>
                  <a:cxn ang="0">
                    <a:pos x="126" y="29"/>
                  </a:cxn>
                </a:cxnLst>
                <a:rect l="0" t="0" r="r" b="b"/>
                <a:pathLst>
                  <a:path w="126" h="29">
                    <a:moveTo>
                      <a:pt x="0" y="29"/>
                    </a:moveTo>
                    <a:lnTo>
                      <a:pt x="0" y="29"/>
                    </a:lnTo>
                    <a:lnTo>
                      <a:pt x="7" y="23"/>
                    </a:lnTo>
                    <a:lnTo>
                      <a:pt x="13" y="17"/>
                    </a:lnTo>
                    <a:lnTo>
                      <a:pt x="21" y="12"/>
                    </a:lnTo>
                    <a:lnTo>
                      <a:pt x="28" y="8"/>
                    </a:lnTo>
                    <a:lnTo>
                      <a:pt x="37" y="4"/>
                    </a:lnTo>
                    <a:lnTo>
                      <a:pt x="45" y="3"/>
                    </a:lnTo>
                    <a:lnTo>
                      <a:pt x="5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73" y="0"/>
                    </a:lnTo>
                    <a:lnTo>
                      <a:pt x="81" y="3"/>
                    </a:lnTo>
                    <a:lnTo>
                      <a:pt x="90" y="4"/>
                    </a:lnTo>
                    <a:lnTo>
                      <a:pt x="98" y="8"/>
                    </a:lnTo>
                    <a:lnTo>
                      <a:pt x="105" y="12"/>
                    </a:lnTo>
                    <a:lnTo>
                      <a:pt x="113" y="17"/>
                    </a:lnTo>
                    <a:lnTo>
                      <a:pt x="119" y="23"/>
                    </a:lnTo>
                    <a:lnTo>
                      <a:pt x="126" y="2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1" name="Freeform 583"/>
              <p:cNvSpPr>
                <a:spLocks/>
              </p:cNvSpPr>
              <p:nvPr/>
            </p:nvSpPr>
            <p:spPr bwMode="auto">
              <a:xfrm>
                <a:off x="1277825" y="7108914"/>
                <a:ext cx="200134" cy="2165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3" y="7"/>
                  </a:cxn>
                  <a:cxn ang="0">
                    <a:pos x="28" y="10"/>
                  </a:cxn>
                  <a:cxn ang="0">
                    <a:pos x="45" y="13"/>
                  </a:cxn>
                  <a:cxn ang="0">
                    <a:pos x="62" y="14"/>
                  </a:cxn>
                  <a:cxn ang="0">
                    <a:pos x="62" y="14"/>
                  </a:cxn>
                  <a:cxn ang="0">
                    <a:pos x="81" y="13"/>
                  </a:cxn>
                  <a:cxn ang="0">
                    <a:pos x="98" y="10"/>
                  </a:cxn>
                  <a:cxn ang="0">
                    <a:pos x="113" y="5"/>
                  </a:cxn>
                  <a:cxn ang="0">
                    <a:pos x="126" y="0"/>
                  </a:cxn>
                </a:cxnLst>
                <a:rect l="0" t="0" r="r" b="b"/>
                <a:pathLst>
                  <a:path w="126" h="14">
                    <a:moveTo>
                      <a:pt x="0" y="0"/>
                    </a:moveTo>
                    <a:lnTo>
                      <a:pt x="0" y="0"/>
                    </a:lnTo>
                    <a:lnTo>
                      <a:pt x="13" y="7"/>
                    </a:lnTo>
                    <a:lnTo>
                      <a:pt x="28" y="10"/>
                    </a:lnTo>
                    <a:lnTo>
                      <a:pt x="45" y="13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1" y="13"/>
                    </a:lnTo>
                    <a:lnTo>
                      <a:pt x="98" y="10"/>
                    </a:lnTo>
                    <a:lnTo>
                      <a:pt x="113" y="5"/>
                    </a:lnTo>
                    <a:lnTo>
                      <a:pt x="126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2" name="Freeform 584"/>
              <p:cNvSpPr>
                <a:spLocks/>
              </p:cNvSpPr>
              <p:nvPr/>
            </p:nvSpPr>
            <p:spPr bwMode="auto">
              <a:xfrm>
                <a:off x="1277825" y="7251968"/>
                <a:ext cx="200134" cy="23198"/>
              </a:xfrm>
              <a:custGeom>
                <a:avLst/>
                <a:gdLst/>
                <a:ahLst/>
                <a:cxnLst>
                  <a:cxn ang="0">
                    <a:pos x="126" y="14"/>
                  </a:cxn>
                  <a:cxn ang="0">
                    <a:pos x="126" y="14"/>
                  </a:cxn>
                  <a:cxn ang="0">
                    <a:pos x="113" y="9"/>
                  </a:cxn>
                  <a:cxn ang="0">
                    <a:pos x="98" y="4"/>
                  </a:cxn>
                  <a:cxn ang="0">
                    <a:pos x="81" y="2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45" y="2"/>
                  </a:cxn>
                  <a:cxn ang="0">
                    <a:pos x="28" y="4"/>
                  </a:cxn>
                  <a:cxn ang="0">
                    <a:pos x="13" y="9"/>
                  </a:cxn>
                  <a:cxn ang="0">
                    <a:pos x="0" y="15"/>
                  </a:cxn>
                </a:cxnLst>
                <a:rect l="0" t="0" r="r" b="b"/>
                <a:pathLst>
                  <a:path w="126" h="15">
                    <a:moveTo>
                      <a:pt x="126" y="14"/>
                    </a:moveTo>
                    <a:lnTo>
                      <a:pt x="126" y="14"/>
                    </a:lnTo>
                    <a:lnTo>
                      <a:pt x="113" y="9"/>
                    </a:lnTo>
                    <a:lnTo>
                      <a:pt x="98" y="4"/>
                    </a:lnTo>
                    <a:lnTo>
                      <a:pt x="81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45" y="2"/>
                    </a:lnTo>
                    <a:lnTo>
                      <a:pt x="28" y="4"/>
                    </a:lnTo>
                    <a:lnTo>
                      <a:pt x="13" y="9"/>
                    </a:lnTo>
                    <a:lnTo>
                      <a:pt x="0" y="1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3" name="Freeform 585"/>
              <p:cNvSpPr>
                <a:spLocks/>
              </p:cNvSpPr>
              <p:nvPr/>
            </p:nvSpPr>
            <p:spPr bwMode="auto">
              <a:xfrm>
                <a:off x="1308173" y="7062518"/>
                <a:ext cx="141078" cy="260591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81"/>
                  </a:cxn>
                  <a:cxn ang="0">
                    <a:pos x="2" y="65"/>
                  </a:cxn>
                  <a:cxn ang="0">
                    <a:pos x="4" y="50"/>
                  </a:cxn>
                  <a:cxn ang="0">
                    <a:pos x="8" y="36"/>
                  </a:cxn>
                  <a:cxn ang="0">
                    <a:pos x="13" y="24"/>
                  </a:cxn>
                  <a:cxn ang="0">
                    <a:pos x="19" y="14"/>
                  </a:cxn>
                  <a:cxn ang="0">
                    <a:pos x="27" y="7"/>
                  </a:cxn>
                  <a:cxn ang="0">
                    <a:pos x="36" y="1"/>
                  </a:cxn>
                  <a:cxn ang="0">
                    <a:pos x="40" y="0"/>
                  </a:cxn>
                  <a:cxn ang="0">
                    <a:pos x="45" y="0"/>
                  </a:cxn>
                  <a:cxn ang="0">
                    <a:pos x="45" y="0"/>
                  </a:cxn>
                  <a:cxn ang="0">
                    <a:pos x="48" y="0"/>
                  </a:cxn>
                  <a:cxn ang="0">
                    <a:pos x="54" y="1"/>
                  </a:cxn>
                  <a:cxn ang="0">
                    <a:pos x="61" y="7"/>
                  </a:cxn>
                  <a:cxn ang="0">
                    <a:pos x="69" y="14"/>
                  </a:cxn>
                  <a:cxn ang="0">
                    <a:pos x="75" y="24"/>
                  </a:cxn>
                  <a:cxn ang="0">
                    <a:pos x="81" y="36"/>
                  </a:cxn>
                  <a:cxn ang="0">
                    <a:pos x="85" y="50"/>
                  </a:cxn>
                  <a:cxn ang="0">
                    <a:pos x="88" y="65"/>
                  </a:cxn>
                  <a:cxn ang="0">
                    <a:pos x="89" y="81"/>
                  </a:cxn>
                  <a:cxn ang="0">
                    <a:pos x="89" y="81"/>
                  </a:cxn>
                  <a:cxn ang="0">
                    <a:pos x="88" y="98"/>
                  </a:cxn>
                  <a:cxn ang="0">
                    <a:pos x="85" y="113"/>
                  </a:cxn>
                  <a:cxn ang="0">
                    <a:pos x="81" y="127"/>
                  </a:cxn>
                  <a:cxn ang="0">
                    <a:pos x="75" y="140"/>
                  </a:cxn>
                  <a:cxn ang="0">
                    <a:pos x="69" y="150"/>
                  </a:cxn>
                  <a:cxn ang="0">
                    <a:pos x="61" y="157"/>
                  </a:cxn>
                  <a:cxn ang="0">
                    <a:pos x="54" y="161"/>
                  </a:cxn>
                  <a:cxn ang="0">
                    <a:pos x="48" y="162"/>
                  </a:cxn>
                  <a:cxn ang="0">
                    <a:pos x="45" y="164"/>
                  </a:cxn>
                  <a:cxn ang="0">
                    <a:pos x="45" y="164"/>
                  </a:cxn>
                  <a:cxn ang="0">
                    <a:pos x="38" y="162"/>
                  </a:cxn>
                  <a:cxn ang="0">
                    <a:pos x="33" y="160"/>
                  </a:cxn>
                  <a:cxn ang="0">
                    <a:pos x="27" y="157"/>
                  </a:cxn>
                  <a:cxn ang="0">
                    <a:pos x="22" y="152"/>
                  </a:cxn>
                  <a:cxn ang="0">
                    <a:pos x="18" y="147"/>
                  </a:cxn>
                  <a:cxn ang="0">
                    <a:pos x="13" y="140"/>
                  </a:cxn>
                  <a:cxn ang="0">
                    <a:pos x="9" y="132"/>
                  </a:cxn>
                  <a:cxn ang="0">
                    <a:pos x="7" y="124"/>
                  </a:cxn>
                </a:cxnLst>
                <a:rect l="0" t="0" r="r" b="b"/>
                <a:pathLst>
                  <a:path w="89" h="164">
                    <a:moveTo>
                      <a:pt x="0" y="81"/>
                    </a:moveTo>
                    <a:lnTo>
                      <a:pt x="0" y="81"/>
                    </a:lnTo>
                    <a:lnTo>
                      <a:pt x="2" y="65"/>
                    </a:lnTo>
                    <a:lnTo>
                      <a:pt x="4" y="50"/>
                    </a:lnTo>
                    <a:lnTo>
                      <a:pt x="8" y="36"/>
                    </a:lnTo>
                    <a:lnTo>
                      <a:pt x="13" y="24"/>
                    </a:lnTo>
                    <a:lnTo>
                      <a:pt x="19" y="14"/>
                    </a:lnTo>
                    <a:lnTo>
                      <a:pt x="27" y="7"/>
                    </a:lnTo>
                    <a:lnTo>
                      <a:pt x="36" y="1"/>
                    </a:lnTo>
                    <a:lnTo>
                      <a:pt x="40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8" y="0"/>
                    </a:lnTo>
                    <a:lnTo>
                      <a:pt x="54" y="1"/>
                    </a:lnTo>
                    <a:lnTo>
                      <a:pt x="61" y="7"/>
                    </a:lnTo>
                    <a:lnTo>
                      <a:pt x="69" y="14"/>
                    </a:lnTo>
                    <a:lnTo>
                      <a:pt x="75" y="24"/>
                    </a:lnTo>
                    <a:lnTo>
                      <a:pt x="81" y="36"/>
                    </a:lnTo>
                    <a:lnTo>
                      <a:pt x="85" y="50"/>
                    </a:lnTo>
                    <a:lnTo>
                      <a:pt x="88" y="65"/>
                    </a:lnTo>
                    <a:lnTo>
                      <a:pt x="89" y="81"/>
                    </a:lnTo>
                    <a:lnTo>
                      <a:pt x="89" y="81"/>
                    </a:lnTo>
                    <a:lnTo>
                      <a:pt x="88" y="98"/>
                    </a:lnTo>
                    <a:lnTo>
                      <a:pt x="85" y="113"/>
                    </a:lnTo>
                    <a:lnTo>
                      <a:pt x="81" y="127"/>
                    </a:lnTo>
                    <a:lnTo>
                      <a:pt x="75" y="140"/>
                    </a:lnTo>
                    <a:lnTo>
                      <a:pt x="69" y="150"/>
                    </a:lnTo>
                    <a:lnTo>
                      <a:pt x="61" y="157"/>
                    </a:lnTo>
                    <a:lnTo>
                      <a:pt x="54" y="161"/>
                    </a:lnTo>
                    <a:lnTo>
                      <a:pt x="48" y="162"/>
                    </a:lnTo>
                    <a:lnTo>
                      <a:pt x="45" y="164"/>
                    </a:lnTo>
                    <a:lnTo>
                      <a:pt x="45" y="164"/>
                    </a:lnTo>
                    <a:lnTo>
                      <a:pt x="38" y="162"/>
                    </a:lnTo>
                    <a:lnTo>
                      <a:pt x="33" y="160"/>
                    </a:lnTo>
                    <a:lnTo>
                      <a:pt x="27" y="157"/>
                    </a:lnTo>
                    <a:lnTo>
                      <a:pt x="22" y="152"/>
                    </a:lnTo>
                    <a:lnTo>
                      <a:pt x="18" y="147"/>
                    </a:lnTo>
                    <a:lnTo>
                      <a:pt x="13" y="140"/>
                    </a:lnTo>
                    <a:lnTo>
                      <a:pt x="9" y="132"/>
                    </a:lnTo>
                    <a:lnTo>
                      <a:pt x="7" y="124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4" name="Line 586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26083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5" name="Line 587"/>
              <p:cNvSpPr>
                <a:spLocks noChangeShapeType="1"/>
              </p:cNvSpPr>
              <p:nvPr/>
            </p:nvSpPr>
            <p:spPr bwMode="auto">
              <a:xfrm flipV="1">
                <a:off x="1379532" y="7062518"/>
                <a:ext cx="820" cy="260591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6" name="Line 588"/>
              <p:cNvSpPr>
                <a:spLocks noChangeShapeType="1"/>
              </p:cNvSpPr>
              <p:nvPr/>
            </p:nvSpPr>
            <p:spPr bwMode="auto">
              <a:xfrm>
                <a:off x="1163814" y="7167682"/>
                <a:ext cx="83662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7" name="Freeform 589"/>
              <p:cNvSpPr>
                <a:spLocks/>
              </p:cNvSpPr>
              <p:nvPr/>
            </p:nvSpPr>
            <p:spPr bwMode="auto">
              <a:xfrm>
                <a:off x="1247477" y="7143711"/>
                <a:ext cx="25427" cy="4717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" y="15"/>
                  </a:cxn>
                  <a:cxn ang="0">
                    <a:pos x="0" y="30"/>
                  </a:cxn>
                </a:cxnLst>
                <a:rect l="0" t="0" r="r" b="b"/>
                <a:pathLst>
                  <a:path w="16" h="30">
                    <a:moveTo>
                      <a:pt x="0" y="0"/>
                    </a:moveTo>
                    <a:lnTo>
                      <a:pt x="16" y="15"/>
                    </a:lnTo>
                    <a:lnTo>
                      <a:pt x="0" y="3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8" name="Line 590"/>
              <p:cNvSpPr>
                <a:spLocks noChangeShapeType="1"/>
              </p:cNvSpPr>
              <p:nvPr/>
            </p:nvSpPr>
            <p:spPr bwMode="auto">
              <a:xfrm>
                <a:off x="1231892" y="7235730"/>
                <a:ext cx="86943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9" name="Freeform 591"/>
              <p:cNvSpPr>
                <a:spLocks/>
              </p:cNvSpPr>
              <p:nvPr/>
            </p:nvSpPr>
            <p:spPr bwMode="auto">
              <a:xfrm>
                <a:off x="1318836" y="7210212"/>
                <a:ext cx="2378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" y="16"/>
                  </a:cxn>
                  <a:cxn ang="0">
                    <a:pos x="0" y="31"/>
                  </a:cxn>
                </a:cxnLst>
                <a:rect l="0" t="0" r="r" b="b"/>
                <a:pathLst>
                  <a:path w="15" h="31">
                    <a:moveTo>
                      <a:pt x="0" y="0"/>
                    </a:moveTo>
                    <a:lnTo>
                      <a:pt x="15" y="16"/>
                    </a:lnTo>
                    <a:lnTo>
                      <a:pt x="0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7" name="Groupe 320"/>
            <p:cNvGrpSpPr>
              <a:grpSpLocks/>
            </p:cNvGrpSpPr>
            <p:nvPr userDrawn="1"/>
          </p:nvGrpSpPr>
          <p:grpSpPr bwMode="auto">
            <a:xfrm>
              <a:off x="4610305" y="2502608"/>
              <a:ext cx="442816" cy="482367"/>
              <a:chOff x="4430703" y="4715239"/>
              <a:chExt cx="374626" cy="416805"/>
            </a:xfrm>
          </p:grpSpPr>
          <p:sp>
            <p:nvSpPr>
              <p:cNvPr id="21" name="Freeform 897"/>
              <p:cNvSpPr>
                <a:spLocks/>
              </p:cNvSpPr>
              <p:nvPr/>
            </p:nvSpPr>
            <p:spPr bwMode="auto">
              <a:xfrm>
                <a:off x="4649334" y="4788757"/>
                <a:ext cx="155680" cy="256503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4912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0" fmla="*/ 4737 w 9825"/>
                  <a:gd name="connsiteY0" fmla="*/ 10000 h 10000"/>
                  <a:gd name="connsiteX1" fmla="*/ 4737 w 9825"/>
                  <a:gd name="connsiteY1" fmla="*/ 10000 h 10000"/>
                  <a:gd name="connsiteX2" fmla="*/ 6579 w 9825"/>
                  <a:gd name="connsiteY2" fmla="*/ 10000 h 10000"/>
                  <a:gd name="connsiteX3" fmla="*/ 8246 w 9825"/>
                  <a:gd name="connsiteY3" fmla="*/ 9938 h 10000"/>
                  <a:gd name="connsiteX4" fmla="*/ 9386 w 9825"/>
                  <a:gd name="connsiteY4" fmla="*/ 9814 h 10000"/>
                  <a:gd name="connsiteX5" fmla="*/ 9737 w 9825"/>
                  <a:gd name="connsiteY5" fmla="*/ 9752 h 10000"/>
                  <a:gd name="connsiteX6" fmla="*/ 9825 w 9825"/>
                  <a:gd name="connsiteY6" fmla="*/ 9689 h 10000"/>
                  <a:gd name="connsiteX7" fmla="*/ 9825 w 9825"/>
                  <a:gd name="connsiteY7" fmla="*/ 9689 h 10000"/>
                  <a:gd name="connsiteX8" fmla="*/ 9825 w 9825"/>
                  <a:gd name="connsiteY8" fmla="*/ 8634 h 10000"/>
                  <a:gd name="connsiteX9" fmla="*/ 9737 w 9825"/>
                  <a:gd name="connsiteY9" fmla="*/ 7702 h 10000"/>
                  <a:gd name="connsiteX10" fmla="*/ 9386 w 9825"/>
                  <a:gd name="connsiteY10" fmla="*/ 6832 h 10000"/>
                  <a:gd name="connsiteX11" fmla="*/ 9036 w 9825"/>
                  <a:gd name="connsiteY11" fmla="*/ 6087 h 10000"/>
                  <a:gd name="connsiteX12" fmla="*/ 8509 w 9825"/>
                  <a:gd name="connsiteY12" fmla="*/ 5342 h 10000"/>
                  <a:gd name="connsiteX13" fmla="*/ 7807 w 9825"/>
                  <a:gd name="connsiteY13" fmla="*/ 4783 h 10000"/>
                  <a:gd name="connsiteX14" fmla="*/ 6930 w 9825"/>
                  <a:gd name="connsiteY14" fmla="*/ 4410 h 10000"/>
                  <a:gd name="connsiteX15" fmla="*/ 5965 w 9825"/>
                  <a:gd name="connsiteY15" fmla="*/ 4099 h 10000"/>
                  <a:gd name="connsiteX16" fmla="*/ 5965 w 9825"/>
                  <a:gd name="connsiteY16" fmla="*/ 4099 h 10000"/>
                  <a:gd name="connsiteX17" fmla="*/ 6492 w 9825"/>
                  <a:gd name="connsiteY17" fmla="*/ 3727 h 10000"/>
                  <a:gd name="connsiteX18" fmla="*/ 6843 w 9825"/>
                  <a:gd name="connsiteY18" fmla="*/ 3230 h 10000"/>
                  <a:gd name="connsiteX19" fmla="*/ 7106 w 9825"/>
                  <a:gd name="connsiteY19" fmla="*/ 2671 h 10000"/>
                  <a:gd name="connsiteX20" fmla="*/ 7369 w 9825"/>
                  <a:gd name="connsiteY20" fmla="*/ 2112 h 10000"/>
                  <a:gd name="connsiteX21" fmla="*/ 7369 w 9825"/>
                  <a:gd name="connsiteY21" fmla="*/ 2112 h 10000"/>
                  <a:gd name="connsiteX22" fmla="*/ 7281 w 9825"/>
                  <a:gd name="connsiteY22" fmla="*/ 1677 h 10000"/>
                  <a:gd name="connsiteX23" fmla="*/ 7106 w 9825"/>
                  <a:gd name="connsiteY23" fmla="*/ 1242 h 10000"/>
                  <a:gd name="connsiteX24" fmla="*/ 6930 w 9825"/>
                  <a:gd name="connsiteY24" fmla="*/ 870 h 10000"/>
                  <a:gd name="connsiteX25" fmla="*/ 6579 w 9825"/>
                  <a:gd name="connsiteY25" fmla="*/ 559 h 10000"/>
                  <a:gd name="connsiteX26" fmla="*/ 6229 w 9825"/>
                  <a:gd name="connsiteY26" fmla="*/ 311 h 10000"/>
                  <a:gd name="connsiteX27" fmla="*/ 5790 w 9825"/>
                  <a:gd name="connsiteY27" fmla="*/ 186 h 10000"/>
                  <a:gd name="connsiteX28" fmla="*/ 5351 w 9825"/>
                  <a:gd name="connsiteY28" fmla="*/ 0 h 10000"/>
                  <a:gd name="connsiteX29" fmla="*/ 4825 w 9825"/>
                  <a:gd name="connsiteY29" fmla="*/ 0 h 10000"/>
                  <a:gd name="connsiteX30" fmla="*/ 4825 w 9825"/>
                  <a:gd name="connsiteY30" fmla="*/ 0 h 10000"/>
                  <a:gd name="connsiteX31" fmla="*/ 4386 w 9825"/>
                  <a:gd name="connsiteY31" fmla="*/ 0 h 10000"/>
                  <a:gd name="connsiteX32" fmla="*/ 3948 w 9825"/>
                  <a:gd name="connsiteY32" fmla="*/ 186 h 10000"/>
                  <a:gd name="connsiteX33" fmla="*/ 3509 w 9825"/>
                  <a:gd name="connsiteY33" fmla="*/ 311 h 10000"/>
                  <a:gd name="connsiteX34" fmla="*/ 3071 w 9825"/>
                  <a:gd name="connsiteY34" fmla="*/ 559 h 10000"/>
                  <a:gd name="connsiteX35" fmla="*/ 2807 w 9825"/>
                  <a:gd name="connsiteY35" fmla="*/ 870 h 10000"/>
                  <a:gd name="connsiteX36" fmla="*/ 2544 w 9825"/>
                  <a:gd name="connsiteY36" fmla="*/ 1242 h 10000"/>
                  <a:gd name="connsiteX37" fmla="*/ 2369 w 9825"/>
                  <a:gd name="connsiteY37" fmla="*/ 1677 h 10000"/>
                  <a:gd name="connsiteX38" fmla="*/ 2369 w 9825"/>
                  <a:gd name="connsiteY38" fmla="*/ 2112 h 10000"/>
                  <a:gd name="connsiteX39" fmla="*/ 2369 w 9825"/>
                  <a:gd name="connsiteY39" fmla="*/ 2112 h 10000"/>
                  <a:gd name="connsiteX40" fmla="*/ 2457 w 9825"/>
                  <a:gd name="connsiteY40" fmla="*/ 2671 h 10000"/>
                  <a:gd name="connsiteX41" fmla="*/ 2807 w 9825"/>
                  <a:gd name="connsiteY41" fmla="*/ 3230 h 10000"/>
                  <a:gd name="connsiteX42" fmla="*/ 3246 w 9825"/>
                  <a:gd name="connsiteY42" fmla="*/ 3727 h 10000"/>
                  <a:gd name="connsiteX43" fmla="*/ 3685 w 9825"/>
                  <a:gd name="connsiteY43" fmla="*/ 4099 h 10000"/>
                  <a:gd name="connsiteX44" fmla="*/ 3685 w 9825"/>
                  <a:gd name="connsiteY44" fmla="*/ 4099 h 10000"/>
                  <a:gd name="connsiteX45" fmla="*/ 2720 w 9825"/>
                  <a:gd name="connsiteY45" fmla="*/ 4410 h 10000"/>
                  <a:gd name="connsiteX46" fmla="*/ 1930 w 9825"/>
                  <a:gd name="connsiteY46" fmla="*/ 4783 h 10000"/>
                  <a:gd name="connsiteX47" fmla="*/ 1229 w 9825"/>
                  <a:gd name="connsiteY47" fmla="*/ 5342 h 10000"/>
                  <a:gd name="connsiteX48" fmla="*/ 702 w 9825"/>
                  <a:gd name="connsiteY48" fmla="*/ 6087 h 10000"/>
                  <a:gd name="connsiteX49" fmla="*/ 264 w 9825"/>
                  <a:gd name="connsiteY49" fmla="*/ 6832 h 10000"/>
                  <a:gd name="connsiteX50" fmla="*/ 0 w 9825"/>
                  <a:gd name="connsiteY50" fmla="*/ 7702 h 10000"/>
                  <a:gd name="connsiteX0" fmla="*/ 4552 w 9731"/>
                  <a:gd name="connsiteY0" fmla="*/ 10000 h 10000"/>
                  <a:gd name="connsiteX1" fmla="*/ 4552 w 9731"/>
                  <a:gd name="connsiteY1" fmla="*/ 10000 h 10000"/>
                  <a:gd name="connsiteX2" fmla="*/ 6427 w 9731"/>
                  <a:gd name="connsiteY2" fmla="*/ 10000 h 10000"/>
                  <a:gd name="connsiteX3" fmla="*/ 8124 w 9731"/>
                  <a:gd name="connsiteY3" fmla="*/ 9938 h 10000"/>
                  <a:gd name="connsiteX4" fmla="*/ 9284 w 9731"/>
                  <a:gd name="connsiteY4" fmla="*/ 9814 h 10000"/>
                  <a:gd name="connsiteX5" fmla="*/ 9641 w 9731"/>
                  <a:gd name="connsiteY5" fmla="*/ 9752 h 10000"/>
                  <a:gd name="connsiteX6" fmla="*/ 9731 w 9731"/>
                  <a:gd name="connsiteY6" fmla="*/ 9689 h 10000"/>
                  <a:gd name="connsiteX7" fmla="*/ 9731 w 9731"/>
                  <a:gd name="connsiteY7" fmla="*/ 9689 h 10000"/>
                  <a:gd name="connsiteX8" fmla="*/ 9731 w 9731"/>
                  <a:gd name="connsiteY8" fmla="*/ 8634 h 10000"/>
                  <a:gd name="connsiteX9" fmla="*/ 9641 w 9731"/>
                  <a:gd name="connsiteY9" fmla="*/ 7702 h 10000"/>
                  <a:gd name="connsiteX10" fmla="*/ 9284 w 9731"/>
                  <a:gd name="connsiteY10" fmla="*/ 6832 h 10000"/>
                  <a:gd name="connsiteX11" fmla="*/ 8928 w 9731"/>
                  <a:gd name="connsiteY11" fmla="*/ 6087 h 10000"/>
                  <a:gd name="connsiteX12" fmla="*/ 8392 w 9731"/>
                  <a:gd name="connsiteY12" fmla="*/ 5342 h 10000"/>
                  <a:gd name="connsiteX13" fmla="*/ 7677 w 9731"/>
                  <a:gd name="connsiteY13" fmla="*/ 4783 h 10000"/>
                  <a:gd name="connsiteX14" fmla="*/ 6784 w 9731"/>
                  <a:gd name="connsiteY14" fmla="*/ 4410 h 10000"/>
                  <a:gd name="connsiteX15" fmla="*/ 5802 w 9731"/>
                  <a:gd name="connsiteY15" fmla="*/ 4099 h 10000"/>
                  <a:gd name="connsiteX16" fmla="*/ 5802 w 9731"/>
                  <a:gd name="connsiteY16" fmla="*/ 4099 h 10000"/>
                  <a:gd name="connsiteX17" fmla="*/ 6339 w 9731"/>
                  <a:gd name="connsiteY17" fmla="*/ 3727 h 10000"/>
                  <a:gd name="connsiteX18" fmla="*/ 6696 w 9731"/>
                  <a:gd name="connsiteY18" fmla="*/ 3230 h 10000"/>
                  <a:gd name="connsiteX19" fmla="*/ 6964 w 9731"/>
                  <a:gd name="connsiteY19" fmla="*/ 2671 h 10000"/>
                  <a:gd name="connsiteX20" fmla="*/ 7231 w 9731"/>
                  <a:gd name="connsiteY20" fmla="*/ 2112 h 10000"/>
                  <a:gd name="connsiteX21" fmla="*/ 7231 w 9731"/>
                  <a:gd name="connsiteY21" fmla="*/ 2112 h 10000"/>
                  <a:gd name="connsiteX22" fmla="*/ 7142 w 9731"/>
                  <a:gd name="connsiteY22" fmla="*/ 1677 h 10000"/>
                  <a:gd name="connsiteX23" fmla="*/ 6964 w 9731"/>
                  <a:gd name="connsiteY23" fmla="*/ 1242 h 10000"/>
                  <a:gd name="connsiteX24" fmla="*/ 6784 w 9731"/>
                  <a:gd name="connsiteY24" fmla="*/ 870 h 10000"/>
                  <a:gd name="connsiteX25" fmla="*/ 6427 w 9731"/>
                  <a:gd name="connsiteY25" fmla="*/ 559 h 10000"/>
                  <a:gd name="connsiteX26" fmla="*/ 6071 w 9731"/>
                  <a:gd name="connsiteY26" fmla="*/ 311 h 10000"/>
                  <a:gd name="connsiteX27" fmla="*/ 5624 w 9731"/>
                  <a:gd name="connsiteY27" fmla="*/ 186 h 10000"/>
                  <a:gd name="connsiteX28" fmla="*/ 5177 w 9731"/>
                  <a:gd name="connsiteY28" fmla="*/ 0 h 10000"/>
                  <a:gd name="connsiteX29" fmla="*/ 4642 w 9731"/>
                  <a:gd name="connsiteY29" fmla="*/ 0 h 10000"/>
                  <a:gd name="connsiteX30" fmla="*/ 4642 w 9731"/>
                  <a:gd name="connsiteY30" fmla="*/ 0 h 10000"/>
                  <a:gd name="connsiteX31" fmla="*/ 4195 w 9731"/>
                  <a:gd name="connsiteY31" fmla="*/ 0 h 10000"/>
                  <a:gd name="connsiteX32" fmla="*/ 3749 w 9731"/>
                  <a:gd name="connsiteY32" fmla="*/ 186 h 10000"/>
                  <a:gd name="connsiteX33" fmla="*/ 3303 w 9731"/>
                  <a:gd name="connsiteY33" fmla="*/ 311 h 10000"/>
                  <a:gd name="connsiteX34" fmla="*/ 2857 w 9731"/>
                  <a:gd name="connsiteY34" fmla="*/ 559 h 10000"/>
                  <a:gd name="connsiteX35" fmla="*/ 2588 w 9731"/>
                  <a:gd name="connsiteY35" fmla="*/ 870 h 10000"/>
                  <a:gd name="connsiteX36" fmla="*/ 2320 w 9731"/>
                  <a:gd name="connsiteY36" fmla="*/ 1242 h 10000"/>
                  <a:gd name="connsiteX37" fmla="*/ 2142 w 9731"/>
                  <a:gd name="connsiteY37" fmla="*/ 1677 h 10000"/>
                  <a:gd name="connsiteX38" fmla="*/ 2142 w 9731"/>
                  <a:gd name="connsiteY38" fmla="*/ 2112 h 10000"/>
                  <a:gd name="connsiteX39" fmla="*/ 2142 w 9731"/>
                  <a:gd name="connsiteY39" fmla="*/ 2112 h 10000"/>
                  <a:gd name="connsiteX40" fmla="*/ 2232 w 9731"/>
                  <a:gd name="connsiteY40" fmla="*/ 2671 h 10000"/>
                  <a:gd name="connsiteX41" fmla="*/ 2588 w 9731"/>
                  <a:gd name="connsiteY41" fmla="*/ 3230 h 10000"/>
                  <a:gd name="connsiteX42" fmla="*/ 3035 w 9731"/>
                  <a:gd name="connsiteY42" fmla="*/ 3727 h 10000"/>
                  <a:gd name="connsiteX43" fmla="*/ 3482 w 9731"/>
                  <a:gd name="connsiteY43" fmla="*/ 4099 h 10000"/>
                  <a:gd name="connsiteX44" fmla="*/ 3482 w 9731"/>
                  <a:gd name="connsiteY44" fmla="*/ 4099 h 10000"/>
                  <a:gd name="connsiteX45" fmla="*/ 2499 w 9731"/>
                  <a:gd name="connsiteY45" fmla="*/ 4410 h 10000"/>
                  <a:gd name="connsiteX46" fmla="*/ 1695 w 9731"/>
                  <a:gd name="connsiteY46" fmla="*/ 4783 h 10000"/>
                  <a:gd name="connsiteX47" fmla="*/ 982 w 9731"/>
                  <a:gd name="connsiteY47" fmla="*/ 5342 h 10000"/>
                  <a:gd name="connsiteX48" fmla="*/ 446 w 9731"/>
                  <a:gd name="connsiteY48" fmla="*/ 6087 h 10000"/>
                  <a:gd name="connsiteX49" fmla="*/ 0 w 9731"/>
                  <a:gd name="connsiteY49" fmla="*/ 6832 h 10000"/>
                  <a:gd name="connsiteX0" fmla="*/ 4220 w 9542"/>
                  <a:gd name="connsiteY0" fmla="*/ 10000 h 10000"/>
                  <a:gd name="connsiteX1" fmla="*/ 4220 w 9542"/>
                  <a:gd name="connsiteY1" fmla="*/ 10000 h 10000"/>
                  <a:gd name="connsiteX2" fmla="*/ 6147 w 9542"/>
                  <a:gd name="connsiteY2" fmla="*/ 10000 h 10000"/>
                  <a:gd name="connsiteX3" fmla="*/ 7891 w 9542"/>
                  <a:gd name="connsiteY3" fmla="*/ 9938 h 10000"/>
                  <a:gd name="connsiteX4" fmla="*/ 9083 w 9542"/>
                  <a:gd name="connsiteY4" fmla="*/ 9814 h 10000"/>
                  <a:gd name="connsiteX5" fmla="*/ 9450 w 9542"/>
                  <a:gd name="connsiteY5" fmla="*/ 9752 h 10000"/>
                  <a:gd name="connsiteX6" fmla="*/ 9542 w 9542"/>
                  <a:gd name="connsiteY6" fmla="*/ 9689 h 10000"/>
                  <a:gd name="connsiteX7" fmla="*/ 9542 w 9542"/>
                  <a:gd name="connsiteY7" fmla="*/ 9689 h 10000"/>
                  <a:gd name="connsiteX8" fmla="*/ 9542 w 9542"/>
                  <a:gd name="connsiteY8" fmla="*/ 8634 h 10000"/>
                  <a:gd name="connsiteX9" fmla="*/ 9450 w 9542"/>
                  <a:gd name="connsiteY9" fmla="*/ 7702 h 10000"/>
                  <a:gd name="connsiteX10" fmla="*/ 9083 w 9542"/>
                  <a:gd name="connsiteY10" fmla="*/ 6832 h 10000"/>
                  <a:gd name="connsiteX11" fmla="*/ 8717 w 9542"/>
                  <a:gd name="connsiteY11" fmla="*/ 6087 h 10000"/>
                  <a:gd name="connsiteX12" fmla="*/ 8166 w 9542"/>
                  <a:gd name="connsiteY12" fmla="*/ 5342 h 10000"/>
                  <a:gd name="connsiteX13" fmla="*/ 7431 w 9542"/>
                  <a:gd name="connsiteY13" fmla="*/ 4783 h 10000"/>
                  <a:gd name="connsiteX14" fmla="*/ 6514 w 9542"/>
                  <a:gd name="connsiteY14" fmla="*/ 4410 h 10000"/>
                  <a:gd name="connsiteX15" fmla="*/ 5504 w 9542"/>
                  <a:gd name="connsiteY15" fmla="*/ 4099 h 10000"/>
                  <a:gd name="connsiteX16" fmla="*/ 5504 w 9542"/>
                  <a:gd name="connsiteY16" fmla="*/ 4099 h 10000"/>
                  <a:gd name="connsiteX17" fmla="*/ 6056 w 9542"/>
                  <a:gd name="connsiteY17" fmla="*/ 3727 h 10000"/>
                  <a:gd name="connsiteX18" fmla="*/ 6423 w 9542"/>
                  <a:gd name="connsiteY18" fmla="*/ 3230 h 10000"/>
                  <a:gd name="connsiteX19" fmla="*/ 6699 w 9542"/>
                  <a:gd name="connsiteY19" fmla="*/ 2671 h 10000"/>
                  <a:gd name="connsiteX20" fmla="*/ 6973 w 9542"/>
                  <a:gd name="connsiteY20" fmla="*/ 2112 h 10000"/>
                  <a:gd name="connsiteX21" fmla="*/ 6973 w 9542"/>
                  <a:gd name="connsiteY21" fmla="*/ 2112 h 10000"/>
                  <a:gd name="connsiteX22" fmla="*/ 6881 w 9542"/>
                  <a:gd name="connsiteY22" fmla="*/ 1677 h 10000"/>
                  <a:gd name="connsiteX23" fmla="*/ 6699 w 9542"/>
                  <a:gd name="connsiteY23" fmla="*/ 1242 h 10000"/>
                  <a:gd name="connsiteX24" fmla="*/ 6514 w 9542"/>
                  <a:gd name="connsiteY24" fmla="*/ 870 h 10000"/>
                  <a:gd name="connsiteX25" fmla="*/ 6147 w 9542"/>
                  <a:gd name="connsiteY25" fmla="*/ 559 h 10000"/>
                  <a:gd name="connsiteX26" fmla="*/ 5781 w 9542"/>
                  <a:gd name="connsiteY26" fmla="*/ 311 h 10000"/>
                  <a:gd name="connsiteX27" fmla="*/ 5321 w 9542"/>
                  <a:gd name="connsiteY27" fmla="*/ 186 h 10000"/>
                  <a:gd name="connsiteX28" fmla="*/ 4862 w 9542"/>
                  <a:gd name="connsiteY28" fmla="*/ 0 h 10000"/>
                  <a:gd name="connsiteX29" fmla="*/ 4312 w 9542"/>
                  <a:gd name="connsiteY29" fmla="*/ 0 h 10000"/>
                  <a:gd name="connsiteX30" fmla="*/ 4312 w 9542"/>
                  <a:gd name="connsiteY30" fmla="*/ 0 h 10000"/>
                  <a:gd name="connsiteX31" fmla="*/ 3853 w 9542"/>
                  <a:gd name="connsiteY31" fmla="*/ 0 h 10000"/>
                  <a:gd name="connsiteX32" fmla="*/ 3395 w 9542"/>
                  <a:gd name="connsiteY32" fmla="*/ 186 h 10000"/>
                  <a:gd name="connsiteX33" fmla="*/ 2936 w 9542"/>
                  <a:gd name="connsiteY33" fmla="*/ 311 h 10000"/>
                  <a:gd name="connsiteX34" fmla="*/ 2478 w 9542"/>
                  <a:gd name="connsiteY34" fmla="*/ 559 h 10000"/>
                  <a:gd name="connsiteX35" fmla="*/ 2202 w 9542"/>
                  <a:gd name="connsiteY35" fmla="*/ 870 h 10000"/>
                  <a:gd name="connsiteX36" fmla="*/ 1926 w 9542"/>
                  <a:gd name="connsiteY36" fmla="*/ 1242 h 10000"/>
                  <a:gd name="connsiteX37" fmla="*/ 1743 w 9542"/>
                  <a:gd name="connsiteY37" fmla="*/ 1677 h 10000"/>
                  <a:gd name="connsiteX38" fmla="*/ 1743 w 9542"/>
                  <a:gd name="connsiteY38" fmla="*/ 2112 h 10000"/>
                  <a:gd name="connsiteX39" fmla="*/ 1743 w 9542"/>
                  <a:gd name="connsiteY39" fmla="*/ 2112 h 10000"/>
                  <a:gd name="connsiteX40" fmla="*/ 1836 w 9542"/>
                  <a:gd name="connsiteY40" fmla="*/ 2671 h 10000"/>
                  <a:gd name="connsiteX41" fmla="*/ 2202 w 9542"/>
                  <a:gd name="connsiteY41" fmla="*/ 3230 h 10000"/>
                  <a:gd name="connsiteX42" fmla="*/ 2661 w 9542"/>
                  <a:gd name="connsiteY42" fmla="*/ 3727 h 10000"/>
                  <a:gd name="connsiteX43" fmla="*/ 3120 w 9542"/>
                  <a:gd name="connsiteY43" fmla="*/ 4099 h 10000"/>
                  <a:gd name="connsiteX44" fmla="*/ 3120 w 9542"/>
                  <a:gd name="connsiteY44" fmla="*/ 4099 h 10000"/>
                  <a:gd name="connsiteX45" fmla="*/ 2110 w 9542"/>
                  <a:gd name="connsiteY45" fmla="*/ 4410 h 10000"/>
                  <a:gd name="connsiteX46" fmla="*/ 1284 w 9542"/>
                  <a:gd name="connsiteY46" fmla="*/ 4783 h 10000"/>
                  <a:gd name="connsiteX47" fmla="*/ 551 w 9542"/>
                  <a:gd name="connsiteY47" fmla="*/ 5342 h 10000"/>
                  <a:gd name="connsiteX48" fmla="*/ 0 w 9542"/>
                  <a:gd name="connsiteY48" fmla="*/ 6087 h 10000"/>
                  <a:gd name="connsiteX0" fmla="*/ 3846 w 9423"/>
                  <a:gd name="connsiteY0" fmla="*/ 10000 h 10000"/>
                  <a:gd name="connsiteX1" fmla="*/ 3846 w 9423"/>
                  <a:gd name="connsiteY1" fmla="*/ 10000 h 10000"/>
                  <a:gd name="connsiteX2" fmla="*/ 5865 w 9423"/>
                  <a:gd name="connsiteY2" fmla="*/ 10000 h 10000"/>
                  <a:gd name="connsiteX3" fmla="*/ 7693 w 9423"/>
                  <a:gd name="connsiteY3" fmla="*/ 9938 h 10000"/>
                  <a:gd name="connsiteX4" fmla="*/ 8942 w 9423"/>
                  <a:gd name="connsiteY4" fmla="*/ 9814 h 10000"/>
                  <a:gd name="connsiteX5" fmla="*/ 9327 w 9423"/>
                  <a:gd name="connsiteY5" fmla="*/ 9752 h 10000"/>
                  <a:gd name="connsiteX6" fmla="*/ 9423 w 9423"/>
                  <a:gd name="connsiteY6" fmla="*/ 9689 h 10000"/>
                  <a:gd name="connsiteX7" fmla="*/ 9423 w 9423"/>
                  <a:gd name="connsiteY7" fmla="*/ 9689 h 10000"/>
                  <a:gd name="connsiteX8" fmla="*/ 9423 w 9423"/>
                  <a:gd name="connsiteY8" fmla="*/ 8634 h 10000"/>
                  <a:gd name="connsiteX9" fmla="*/ 9327 w 9423"/>
                  <a:gd name="connsiteY9" fmla="*/ 7702 h 10000"/>
                  <a:gd name="connsiteX10" fmla="*/ 8942 w 9423"/>
                  <a:gd name="connsiteY10" fmla="*/ 6832 h 10000"/>
                  <a:gd name="connsiteX11" fmla="*/ 8558 w 9423"/>
                  <a:gd name="connsiteY11" fmla="*/ 6087 h 10000"/>
                  <a:gd name="connsiteX12" fmla="*/ 7981 w 9423"/>
                  <a:gd name="connsiteY12" fmla="*/ 5342 h 10000"/>
                  <a:gd name="connsiteX13" fmla="*/ 7211 w 9423"/>
                  <a:gd name="connsiteY13" fmla="*/ 4783 h 10000"/>
                  <a:gd name="connsiteX14" fmla="*/ 6250 w 9423"/>
                  <a:gd name="connsiteY14" fmla="*/ 4410 h 10000"/>
                  <a:gd name="connsiteX15" fmla="*/ 5191 w 9423"/>
                  <a:gd name="connsiteY15" fmla="*/ 4099 h 10000"/>
                  <a:gd name="connsiteX16" fmla="*/ 5191 w 9423"/>
                  <a:gd name="connsiteY16" fmla="*/ 4099 h 10000"/>
                  <a:gd name="connsiteX17" fmla="*/ 5770 w 9423"/>
                  <a:gd name="connsiteY17" fmla="*/ 3727 h 10000"/>
                  <a:gd name="connsiteX18" fmla="*/ 6154 w 9423"/>
                  <a:gd name="connsiteY18" fmla="*/ 3230 h 10000"/>
                  <a:gd name="connsiteX19" fmla="*/ 6444 w 9423"/>
                  <a:gd name="connsiteY19" fmla="*/ 2671 h 10000"/>
                  <a:gd name="connsiteX20" fmla="*/ 6731 w 9423"/>
                  <a:gd name="connsiteY20" fmla="*/ 2112 h 10000"/>
                  <a:gd name="connsiteX21" fmla="*/ 6731 w 9423"/>
                  <a:gd name="connsiteY21" fmla="*/ 2112 h 10000"/>
                  <a:gd name="connsiteX22" fmla="*/ 6634 w 9423"/>
                  <a:gd name="connsiteY22" fmla="*/ 1677 h 10000"/>
                  <a:gd name="connsiteX23" fmla="*/ 6444 w 9423"/>
                  <a:gd name="connsiteY23" fmla="*/ 1242 h 10000"/>
                  <a:gd name="connsiteX24" fmla="*/ 6250 w 9423"/>
                  <a:gd name="connsiteY24" fmla="*/ 870 h 10000"/>
                  <a:gd name="connsiteX25" fmla="*/ 5865 w 9423"/>
                  <a:gd name="connsiteY25" fmla="*/ 559 h 10000"/>
                  <a:gd name="connsiteX26" fmla="*/ 5481 w 9423"/>
                  <a:gd name="connsiteY26" fmla="*/ 311 h 10000"/>
                  <a:gd name="connsiteX27" fmla="*/ 4999 w 9423"/>
                  <a:gd name="connsiteY27" fmla="*/ 186 h 10000"/>
                  <a:gd name="connsiteX28" fmla="*/ 4518 w 9423"/>
                  <a:gd name="connsiteY28" fmla="*/ 0 h 10000"/>
                  <a:gd name="connsiteX29" fmla="*/ 3942 w 9423"/>
                  <a:gd name="connsiteY29" fmla="*/ 0 h 10000"/>
                  <a:gd name="connsiteX30" fmla="*/ 3942 w 9423"/>
                  <a:gd name="connsiteY30" fmla="*/ 0 h 10000"/>
                  <a:gd name="connsiteX31" fmla="*/ 3461 w 9423"/>
                  <a:gd name="connsiteY31" fmla="*/ 0 h 10000"/>
                  <a:gd name="connsiteX32" fmla="*/ 2981 w 9423"/>
                  <a:gd name="connsiteY32" fmla="*/ 186 h 10000"/>
                  <a:gd name="connsiteX33" fmla="*/ 2500 w 9423"/>
                  <a:gd name="connsiteY33" fmla="*/ 311 h 10000"/>
                  <a:gd name="connsiteX34" fmla="*/ 2020 w 9423"/>
                  <a:gd name="connsiteY34" fmla="*/ 559 h 10000"/>
                  <a:gd name="connsiteX35" fmla="*/ 1731 w 9423"/>
                  <a:gd name="connsiteY35" fmla="*/ 870 h 10000"/>
                  <a:gd name="connsiteX36" fmla="*/ 1441 w 9423"/>
                  <a:gd name="connsiteY36" fmla="*/ 1242 h 10000"/>
                  <a:gd name="connsiteX37" fmla="*/ 1250 w 9423"/>
                  <a:gd name="connsiteY37" fmla="*/ 1677 h 10000"/>
                  <a:gd name="connsiteX38" fmla="*/ 1250 w 9423"/>
                  <a:gd name="connsiteY38" fmla="*/ 2112 h 10000"/>
                  <a:gd name="connsiteX39" fmla="*/ 1250 w 9423"/>
                  <a:gd name="connsiteY39" fmla="*/ 2112 h 10000"/>
                  <a:gd name="connsiteX40" fmla="*/ 1347 w 9423"/>
                  <a:gd name="connsiteY40" fmla="*/ 2671 h 10000"/>
                  <a:gd name="connsiteX41" fmla="*/ 1731 w 9423"/>
                  <a:gd name="connsiteY41" fmla="*/ 3230 h 10000"/>
                  <a:gd name="connsiteX42" fmla="*/ 2212 w 9423"/>
                  <a:gd name="connsiteY42" fmla="*/ 3727 h 10000"/>
                  <a:gd name="connsiteX43" fmla="*/ 2693 w 9423"/>
                  <a:gd name="connsiteY43" fmla="*/ 4099 h 10000"/>
                  <a:gd name="connsiteX44" fmla="*/ 2693 w 9423"/>
                  <a:gd name="connsiteY44" fmla="*/ 4099 h 10000"/>
                  <a:gd name="connsiteX45" fmla="*/ 1634 w 9423"/>
                  <a:gd name="connsiteY45" fmla="*/ 4410 h 10000"/>
                  <a:gd name="connsiteX46" fmla="*/ 769 w 9423"/>
                  <a:gd name="connsiteY46" fmla="*/ 4783 h 10000"/>
                  <a:gd name="connsiteX47" fmla="*/ 0 w 9423"/>
                  <a:gd name="connsiteY47" fmla="*/ 5342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9423" h="10000">
                    <a:moveTo>
                      <a:pt x="3846" y="10000"/>
                    </a:moveTo>
                    <a:lnTo>
                      <a:pt x="3846" y="10000"/>
                    </a:lnTo>
                    <a:lnTo>
                      <a:pt x="5865" y="10000"/>
                    </a:lnTo>
                    <a:lnTo>
                      <a:pt x="7693" y="9938"/>
                    </a:lnTo>
                    <a:lnTo>
                      <a:pt x="8942" y="9814"/>
                    </a:lnTo>
                    <a:lnTo>
                      <a:pt x="9327" y="9752"/>
                    </a:lnTo>
                    <a:lnTo>
                      <a:pt x="9423" y="9689"/>
                    </a:lnTo>
                    <a:lnTo>
                      <a:pt x="9423" y="9689"/>
                    </a:lnTo>
                    <a:lnTo>
                      <a:pt x="9423" y="8634"/>
                    </a:lnTo>
                    <a:cubicBezTo>
                      <a:pt x="9391" y="8323"/>
                      <a:pt x="9358" y="8013"/>
                      <a:pt x="9327" y="7702"/>
                    </a:cubicBezTo>
                    <a:lnTo>
                      <a:pt x="8942" y="6832"/>
                    </a:lnTo>
                    <a:lnTo>
                      <a:pt x="8558" y="6087"/>
                    </a:lnTo>
                    <a:lnTo>
                      <a:pt x="7981" y="5342"/>
                    </a:lnTo>
                    <a:lnTo>
                      <a:pt x="7211" y="4783"/>
                    </a:lnTo>
                    <a:lnTo>
                      <a:pt x="6250" y="4410"/>
                    </a:lnTo>
                    <a:lnTo>
                      <a:pt x="5191" y="4099"/>
                    </a:lnTo>
                    <a:lnTo>
                      <a:pt x="5191" y="4099"/>
                    </a:lnTo>
                    <a:lnTo>
                      <a:pt x="5770" y="3727"/>
                    </a:lnTo>
                    <a:lnTo>
                      <a:pt x="6154" y="3230"/>
                    </a:lnTo>
                    <a:cubicBezTo>
                      <a:pt x="6251" y="3044"/>
                      <a:pt x="6347" y="2857"/>
                      <a:pt x="6444" y="2671"/>
                    </a:cubicBezTo>
                    <a:cubicBezTo>
                      <a:pt x="6540" y="2485"/>
                      <a:pt x="6635" y="2298"/>
                      <a:pt x="6731" y="2112"/>
                    </a:cubicBezTo>
                    <a:lnTo>
                      <a:pt x="6731" y="2112"/>
                    </a:lnTo>
                    <a:cubicBezTo>
                      <a:pt x="6699" y="1967"/>
                      <a:pt x="6666" y="1822"/>
                      <a:pt x="6634" y="1677"/>
                    </a:cubicBezTo>
                    <a:cubicBezTo>
                      <a:pt x="6571" y="1532"/>
                      <a:pt x="6506" y="1387"/>
                      <a:pt x="6444" y="1242"/>
                    </a:cubicBezTo>
                    <a:lnTo>
                      <a:pt x="6250" y="870"/>
                    </a:lnTo>
                    <a:lnTo>
                      <a:pt x="5865" y="559"/>
                    </a:lnTo>
                    <a:lnTo>
                      <a:pt x="5481" y="311"/>
                    </a:lnTo>
                    <a:lnTo>
                      <a:pt x="4999" y="186"/>
                    </a:lnTo>
                    <a:lnTo>
                      <a:pt x="4518" y="0"/>
                    </a:lnTo>
                    <a:lnTo>
                      <a:pt x="3942" y="0"/>
                    </a:lnTo>
                    <a:lnTo>
                      <a:pt x="3942" y="0"/>
                    </a:lnTo>
                    <a:lnTo>
                      <a:pt x="3461" y="0"/>
                    </a:lnTo>
                    <a:lnTo>
                      <a:pt x="2981" y="186"/>
                    </a:lnTo>
                    <a:lnTo>
                      <a:pt x="2500" y="311"/>
                    </a:lnTo>
                    <a:lnTo>
                      <a:pt x="2020" y="559"/>
                    </a:lnTo>
                    <a:lnTo>
                      <a:pt x="1731" y="870"/>
                    </a:lnTo>
                    <a:lnTo>
                      <a:pt x="1441" y="1242"/>
                    </a:lnTo>
                    <a:cubicBezTo>
                      <a:pt x="1379" y="1387"/>
                      <a:pt x="1314" y="1532"/>
                      <a:pt x="1250" y="1677"/>
                    </a:cubicBezTo>
                    <a:lnTo>
                      <a:pt x="1250" y="2112"/>
                    </a:lnTo>
                    <a:lnTo>
                      <a:pt x="1250" y="2112"/>
                    </a:lnTo>
                    <a:cubicBezTo>
                      <a:pt x="1282" y="2298"/>
                      <a:pt x="1315" y="2485"/>
                      <a:pt x="1347" y="2671"/>
                    </a:cubicBezTo>
                    <a:lnTo>
                      <a:pt x="1731" y="3230"/>
                    </a:lnTo>
                    <a:lnTo>
                      <a:pt x="2212" y="3727"/>
                    </a:lnTo>
                    <a:lnTo>
                      <a:pt x="2693" y="4099"/>
                    </a:lnTo>
                    <a:lnTo>
                      <a:pt x="2693" y="4099"/>
                    </a:lnTo>
                    <a:lnTo>
                      <a:pt x="1634" y="4410"/>
                    </a:lnTo>
                    <a:lnTo>
                      <a:pt x="769" y="4783"/>
                    </a:lnTo>
                    <a:lnTo>
                      <a:pt x="0" y="5342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2" name="Freeform 897"/>
              <p:cNvSpPr>
                <a:spLocks/>
              </p:cNvSpPr>
              <p:nvPr/>
            </p:nvSpPr>
            <p:spPr bwMode="auto">
              <a:xfrm>
                <a:off x="4509658" y="4876544"/>
                <a:ext cx="181869" cy="255132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2666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52" fmla="*/ 0 w 10000"/>
                  <a:gd name="connsiteY52" fmla="*/ 9689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10000" h="10000">
                    <a:moveTo>
                      <a:pt x="4912" y="10000"/>
                    </a:moveTo>
                    <a:lnTo>
                      <a:pt x="2666" y="10000"/>
                    </a:lnTo>
                    <a:lnTo>
                      <a:pt x="6754" y="10000"/>
                    </a:lnTo>
                    <a:lnTo>
                      <a:pt x="8421" y="9938"/>
                    </a:lnTo>
                    <a:lnTo>
                      <a:pt x="9561" y="9814"/>
                    </a:lnTo>
                    <a:lnTo>
                      <a:pt x="9912" y="9752"/>
                    </a:lnTo>
                    <a:lnTo>
                      <a:pt x="10000" y="9689"/>
                    </a:lnTo>
                    <a:lnTo>
                      <a:pt x="10000" y="9689"/>
                    </a:lnTo>
                    <a:lnTo>
                      <a:pt x="10000" y="8634"/>
                    </a:lnTo>
                    <a:cubicBezTo>
                      <a:pt x="9971" y="8323"/>
                      <a:pt x="9941" y="8013"/>
                      <a:pt x="9912" y="7702"/>
                    </a:cubicBezTo>
                    <a:lnTo>
                      <a:pt x="9561" y="6832"/>
                    </a:lnTo>
                    <a:lnTo>
                      <a:pt x="9211" y="6087"/>
                    </a:lnTo>
                    <a:lnTo>
                      <a:pt x="8684" y="5342"/>
                    </a:lnTo>
                    <a:lnTo>
                      <a:pt x="7982" y="4783"/>
                    </a:lnTo>
                    <a:lnTo>
                      <a:pt x="7105" y="4410"/>
                    </a:lnTo>
                    <a:lnTo>
                      <a:pt x="6140" y="4099"/>
                    </a:lnTo>
                    <a:lnTo>
                      <a:pt x="6140" y="4099"/>
                    </a:lnTo>
                    <a:lnTo>
                      <a:pt x="6667" y="3727"/>
                    </a:lnTo>
                    <a:lnTo>
                      <a:pt x="7018" y="3230"/>
                    </a:lnTo>
                    <a:cubicBezTo>
                      <a:pt x="7106" y="3044"/>
                      <a:pt x="7193" y="2857"/>
                      <a:pt x="7281" y="2671"/>
                    </a:cubicBezTo>
                    <a:cubicBezTo>
                      <a:pt x="7369" y="2485"/>
                      <a:pt x="7456" y="2298"/>
                      <a:pt x="7544" y="2112"/>
                    </a:cubicBezTo>
                    <a:lnTo>
                      <a:pt x="7544" y="2112"/>
                    </a:lnTo>
                    <a:cubicBezTo>
                      <a:pt x="7515" y="1967"/>
                      <a:pt x="7485" y="1822"/>
                      <a:pt x="7456" y="1677"/>
                    </a:cubicBezTo>
                    <a:cubicBezTo>
                      <a:pt x="7398" y="1532"/>
                      <a:pt x="7339" y="1387"/>
                      <a:pt x="7281" y="1242"/>
                    </a:cubicBezTo>
                    <a:cubicBezTo>
                      <a:pt x="7222" y="1118"/>
                      <a:pt x="7164" y="994"/>
                      <a:pt x="7105" y="870"/>
                    </a:cubicBezTo>
                    <a:lnTo>
                      <a:pt x="6754" y="559"/>
                    </a:lnTo>
                    <a:lnTo>
                      <a:pt x="6404" y="311"/>
                    </a:lnTo>
                    <a:lnTo>
                      <a:pt x="5965" y="186"/>
                    </a:lnTo>
                    <a:lnTo>
                      <a:pt x="5526" y="0"/>
                    </a:lnTo>
                    <a:lnTo>
                      <a:pt x="5000" y="0"/>
                    </a:lnTo>
                    <a:lnTo>
                      <a:pt x="5000" y="0"/>
                    </a:lnTo>
                    <a:lnTo>
                      <a:pt x="4561" y="0"/>
                    </a:lnTo>
                    <a:lnTo>
                      <a:pt x="4123" y="186"/>
                    </a:lnTo>
                    <a:lnTo>
                      <a:pt x="3684" y="311"/>
                    </a:lnTo>
                    <a:lnTo>
                      <a:pt x="3246" y="559"/>
                    </a:lnTo>
                    <a:lnTo>
                      <a:pt x="2982" y="870"/>
                    </a:lnTo>
                    <a:lnTo>
                      <a:pt x="2719" y="1242"/>
                    </a:lnTo>
                    <a:cubicBezTo>
                      <a:pt x="2661" y="1387"/>
                      <a:pt x="2602" y="1532"/>
                      <a:pt x="2544" y="1677"/>
                    </a:cubicBezTo>
                    <a:lnTo>
                      <a:pt x="2544" y="2112"/>
                    </a:lnTo>
                    <a:lnTo>
                      <a:pt x="2544" y="2112"/>
                    </a:lnTo>
                    <a:cubicBezTo>
                      <a:pt x="2573" y="2298"/>
                      <a:pt x="2603" y="2485"/>
                      <a:pt x="2632" y="2671"/>
                    </a:cubicBezTo>
                    <a:lnTo>
                      <a:pt x="2982" y="3230"/>
                    </a:lnTo>
                    <a:lnTo>
                      <a:pt x="3421" y="3727"/>
                    </a:lnTo>
                    <a:lnTo>
                      <a:pt x="3860" y="4099"/>
                    </a:lnTo>
                    <a:lnTo>
                      <a:pt x="3860" y="4099"/>
                    </a:lnTo>
                    <a:lnTo>
                      <a:pt x="2895" y="4410"/>
                    </a:lnTo>
                    <a:lnTo>
                      <a:pt x="2105" y="4783"/>
                    </a:lnTo>
                    <a:lnTo>
                      <a:pt x="1404" y="5342"/>
                    </a:lnTo>
                    <a:lnTo>
                      <a:pt x="877" y="6087"/>
                    </a:lnTo>
                    <a:lnTo>
                      <a:pt x="439" y="6832"/>
                    </a:lnTo>
                    <a:lnTo>
                      <a:pt x="175" y="7702"/>
                    </a:lnTo>
                    <a:cubicBezTo>
                      <a:pt x="117" y="8013"/>
                      <a:pt x="58" y="8323"/>
                      <a:pt x="0" y="8634"/>
                    </a:cubicBezTo>
                    <a:lnTo>
                      <a:pt x="0" y="968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grpSp>
            <p:nvGrpSpPr>
              <p:cNvPr id="8" name="Groupe 78"/>
              <p:cNvGrpSpPr>
                <a:grpSpLocks/>
              </p:cNvGrpSpPr>
              <p:nvPr/>
            </p:nvGrpSpPr>
            <p:grpSpPr bwMode="auto">
              <a:xfrm>
                <a:off x="4430703" y="4715239"/>
                <a:ext cx="166698" cy="247657"/>
                <a:chOff x="4430703" y="4715239"/>
                <a:chExt cx="166698" cy="247657"/>
              </a:xfrm>
            </p:grpSpPr>
            <p:sp>
              <p:nvSpPr>
                <p:cNvPr id="24" name="Freeform 897"/>
                <p:cNvSpPr>
                  <a:spLocks/>
                </p:cNvSpPr>
                <p:nvPr/>
              </p:nvSpPr>
              <p:spPr bwMode="auto">
                <a:xfrm>
                  <a:off x="4431090" y="4714686"/>
                  <a:ext cx="165865" cy="248273"/>
                </a:xfrm>
                <a:custGeom>
                  <a:avLst/>
                  <a:gdLst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6754 w 10000"/>
                    <a:gd name="connsiteY2" fmla="*/ 10000 h 10000"/>
                    <a:gd name="connsiteX3" fmla="*/ 8421 w 10000"/>
                    <a:gd name="connsiteY3" fmla="*/ 9938 h 10000"/>
                    <a:gd name="connsiteX4" fmla="*/ 9561 w 10000"/>
                    <a:gd name="connsiteY4" fmla="*/ 9814 h 10000"/>
                    <a:gd name="connsiteX5" fmla="*/ 9912 w 10000"/>
                    <a:gd name="connsiteY5" fmla="*/ 9752 h 10000"/>
                    <a:gd name="connsiteX6" fmla="*/ 10000 w 10000"/>
                    <a:gd name="connsiteY6" fmla="*/ 9689 h 10000"/>
                    <a:gd name="connsiteX7" fmla="*/ 10000 w 10000"/>
                    <a:gd name="connsiteY7" fmla="*/ 9689 h 10000"/>
                    <a:gd name="connsiteX8" fmla="*/ 10000 w 10000"/>
                    <a:gd name="connsiteY8" fmla="*/ 8634 h 10000"/>
                    <a:gd name="connsiteX9" fmla="*/ 9912 w 10000"/>
                    <a:gd name="connsiteY9" fmla="*/ 7702 h 10000"/>
                    <a:gd name="connsiteX10" fmla="*/ 9561 w 10000"/>
                    <a:gd name="connsiteY10" fmla="*/ 6832 h 10000"/>
                    <a:gd name="connsiteX11" fmla="*/ 9211 w 10000"/>
                    <a:gd name="connsiteY11" fmla="*/ 6087 h 10000"/>
                    <a:gd name="connsiteX12" fmla="*/ 8684 w 10000"/>
                    <a:gd name="connsiteY12" fmla="*/ 5342 h 10000"/>
                    <a:gd name="connsiteX13" fmla="*/ 7982 w 10000"/>
                    <a:gd name="connsiteY13" fmla="*/ 4783 h 10000"/>
                    <a:gd name="connsiteX14" fmla="*/ 7105 w 10000"/>
                    <a:gd name="connsiteY14" fmla="*/ 4410 h 10000"/>
                    <a:gd name="connsiteX15" fmla="*/ 6140 w 10000"/>
                    <a:gd name="connsiteY15" fmla="*/ 4099 h 10000"/>
                    <a:gd name="connsiteX16" fmla="*/ 6140 w 10000"/>
                    <a:gd name="connsiteY16" fmla="*/ 4099 h 10000"/>
                    <a:gd name="connsiteX17" fmla="*/ 6667 w 10000"/>
                    <a:gd name="connsiteY17" fmla="*/ 3727 h 10000"/>
                    <a:gd name="connsiteX18" fmla="*/ 7018 w 10000"/>
                    <a:gd name="connsiteY18" fmla="*/ 3230 h 10000"/>
                    <a:gd name="connsiteX19" fmla="*/ 7281 w 10000"/>
                    <a:gd name="connsiteY19" fmla="*/ 2671 h 10000"/>
                    <a:gd name="connsiteX20" fmla="*/ 7544 w 10000"/>
                    <a:gd name="connsiteY20" fmla="*/ 2112 h 10000"/>
                    <a:gd name="connsiteX21" fmla="*/ 7544 w 10000"/>
                    <a:gd name="connsiteY21" fmla="*/ 2112 h 10000"/>
                    <a:gd name="connsiteX22" fmla="*/ 7456 w 10000"/>
                    <a:gd name="connsiteY22" fmla="*/ 1677 h 10000"/>
                    <a:gd name="connsiteX23" fmla="*/ 7281 w 10000"/>
                    <a:gd name="connsiteY23" fmla="*/ 1242 h 10000"/>
                    <a:gd name="connsiteX24" fmla="*/ 7105 w 10000"/>
                    <a:gd name="connsiteY24" fmla="*/ 870 h 10000"/>
                    <a:gd name="connsiteX25" fmla="*/ 6754 w 10000"/>
                    <a:gd name="connsiteY25" fmla="*/ 559 h 10000"/>
                    <a:gd name="connsiteX26" fmla="*/ 6404 w 10000"/>
                    <a:gd name="connsiteY26" fmla="*/ 311 h 10000"/>
                    <a:gd name="connsiteX27" fmla="*/ 5965 w 10000"/>
                    <a:gd name="connsiteY27" fmla="*/ 186 h 10000"/>
                    <a:gd name="connsiteX28" fmla="*/ 5526 w 10000"/>
                    <a:gd name="connsiteY28" fmla="*/ 0 h 10000"/>
                    <a:gd name="connsiteX29" fmla="*/ 5000 w 10000"/>
                    <a:gd name="connsiteY29" fmla="*/ 0 h 10000"/>
                    <a:gd name="connsiteX30" fmla="*/ 5000 w 10000"/>
                    <a:gd name="connsiteY30" fmla="*/ 0 h 10000"/>
                    <a:gd name="connsiteX31" fmla="*/ 4561 w 10000"/>
                    <a:gd name="connsiteY31" fmla="*/ 0 h 10000"/>
                    <a:gd name="connsiteX32" fmla="*/ 4123 w 10000"/>
                    <a:gd name="connsiteY32" fmla="*/ 186 h 10000"/>
                    <a:gd name="connsiteX33" fmla="*/ 3684 w 10000"/>
                    <a:gd name="connsiteY33" fmla="*/ 311 h 10000"/>
                    <a:gd name="connsiteX34" fmla="*/ 3246 w 10000"/>
                    <a:gd name="connsiteY34" fmla="*/ 559 h 10000"/>
                    <a:gd name="connsiteX35" fmla="*/ 2982 w 10000"/>
                    <a:gd name="connsiteY35" fmla="*/ 870 h 10000"/>
                    <a:gd name="connsiteX36" fmla="*/ 2719 w 10000"/>
                    <a:gd name="connsiteY36" fmla="*/ 1242 h 10000"/>
                    <a:gd name="connsiteX37" fmla="*/ 2544 w 10000"/>
                    <a:gd name="connsiteY37" fmla="*/ 1677 h 10000"/>
                    <a:gd name="connsiteX38" fmla="*/ 2544 w 10000"/>
                    <a:gd name="connsiteY38" fmla="*/ 2112 h 10000"/>
                    <a:gd name="connsiteX39" fmla="*/ 2544 w 10000"/>
                    <a:gd name="connsiteY39" fmla="*/ 2112 h 10000"/>
                    <a:gd name="connsiteX40" fmla="*/ 2632 w 10000"/>
                    <a:gd name="connsiteY40" fmla="*/ 2671 h 10000"/>
                    <a:gd name="connsiteX41" fmla="*/ 2982 w 10000"/>
                    <a:gd name="connsiteY41" fmla="*/ 3230 h 10000"/>
                    <a:gd name="connsiteX42" fmla="*/ 3421 w 10000"/>
                    <a:gd name="connsiteY42" fmla="*/ 3727 h 10000"/>
                    <a:gd name="connsiteX43" fmla="*/ 3860 w 10000"/>
                    <a:gd name="connsiteY43" fmla="*/ 4099 h 10000"/>
                    <a:gd name="connsiteX44" fmla="*/ 3860 w 10000"/>
                    <a:gd name="connsiteY44" fmla="*/ 4099 h 10000"/>
                    <a:gd name="connsiteX45" fmla="*/ 2895 w 10000"/>
                    <a:gd name="connsiteY45" fmla="*/ 4410 h 10000"/>
                    <a:gd name="connsiteX46" fmla="*/ 2105 w 10000"/>
                    <a:gd name="connsiteY46" fmla="*/ 4783 h 10000"/>
                    <a:gd name="connsiteX47" fmla="*/ 1404 w 10000"/>
                    <a:gd name="connsiteY47" fmla="*/ 5342 h 10000"/>
                    <a:gd name="connsiteX48" fmla="*/ 877 w 10000"/>
                    <a:gd name="connsiteY48" fmla="*/ 6087 h 10000"/>
                    <a:gd name="connsiteX49" fmla="*/ 439 w 10000"/>
                    <a:gd name="connsiteY49" fmla="*/ 6832 h 10000"/>
                    <a:gd name="connsiteX50" fmla="*/ 175 w 10000"/>
                    <a:gd name="connsiteY50" fmla="*/ 7702 h 10000"/>
                    <a:gd name="connsiteX51" fmla="*/ 0 w 10000"/>
                    <a:gd name="connsiteY51" fmla="*/ 8634 h 10000"/>
                    <a:gd name="connsiteX52" fmla="*/ 0 w 10000"/>
                    <a:gd name="connsiteY52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8421 w 10000"/>
                    <a:gd name="connsiteY2" fmla="*/ 9938 h 10000"/>
                    <a:gd name="connsiteX3" fmla="*/ 9561 w 10000"/>
                    <a:gd name="connsiteY3" fmla="*/ 9814 h 10000"/>
                    <a:gd name="connsiteX4" fmla="*/ 9912 w 10000"/>
                    <a:gd name="connsiteY4" fmla="*/ 9752 h 10000"/>
                    <a:gd name="connsiteX5" fmla="*/ 10000 w 10000"/>
                    <a:gd name="connsiteY5" fmla="*/ 9689 h 10000"/>
                    <a:gd name="connsiteX6" fmla="*/ 10000 w 10000"/>
                    <a:gd name="connsiteY6" fmla="*/ 9689 h 10000"/>
                    <a:gd name="connsiteX7" fmla="*/ 10000 w 10000"/>
                    <a:gd name="connsiteY7" fmla="*/ 8634 h 10000"/>
                    <a:gd name="connsiteX8" fmla="*/ 9912 w 10000"/>
                    <a:gd name="connsiteY8" fmla="*/ 7702 h 10000"/>
                    <a:gd name="connsiteX9" fmla="*/ 9561 w 10000"/>
                    <a:gd name="connsiteY9" fmla="*/ 6832 h 10000"/>
                    <a:gd name="connsiteX10" fmla="*/ 9211 w 10000"/>
                    <a:gd name="connsiteY10" fmla="*/ 6087 h 10000"/>
                    <a:gd name="connsiteX11" fmla="*/ 8684 w 10000"/>
                    <a:gd name="connsiteY11" fmla="*/ 5342 h 10000"/>
                    <a:gd name="connsiteX12" fmla="*/ 7982 w 10000"/>
                    <a:gd name="connsiteY12" fmla="*/ 4783 h 10000"/>
                    <a:gd name="connsiteX13" fmla="*/ 7105 w 10000"/>
                    <a:gd name="connsiteY13" fmla="*/ 4410 h 10000"/>
                    <a:gd name="connsiteX14" fmla="*/ 6140 w 10000"/>
                    <a:gd name="connsiteY14" fmla="*/ 4099 h 10000"/>
                    <a:gd name="connsiteX15" fmla="*/ 6140 w 10000"/>
                    <a:gd name="connsiteY15" fmla="*/ 4099 h 10000"/>
                    <a:gd name="connsiteX16" fmla="*/ 6667 w 10000"/>
                    <a:gd name="connsiteY16" fmla="*/ 3727 h 10000"/>
                    <a:gd name="connsiteX17" fmla="*/ 7018 w 10000"/>
                    <a:gd name="connsiteY17" fmla="*/ 3230 h 10000"/>
                    <a:gd name="connsiteX18" fmla="*/ 7281 w 10000"/>
                    <a:gd name="connsiteY18" fmla="*/ 2671 h 10000"/>
                    <a:gd name="connsiteX19" fmla="*/ 7544 w 10000"/>
                    <a:gd name="connsiteY19" fmla="*/ 2112 h 10000"/>
                    <a:gd name="connsiteX20" fmla="*/ 7544 w 10000"/>
                    <a:gd name="connsiteY20" fmla="*/ 2112 h 10000"/>
                    <a:gd name="connsiteX21" fmla="*/ 7456 w 10000"/>
                    <a:gd name="connsiteY21" fmla="*/ 1677 h 10000"/>
                    <a:gd name="connsiteX22" fmla="*/ 7281 w 10000"/>
                    <a:gd name="connsiteY22" fmla="*/ 1242 h 10000"/>
                    <a:gd name="connsiteX23" fmla="*/ 7105 w 10000"/>
                    <a:gd name="connsiteY23" fmla="*/ 870 h 10000"/>
                    <a:gd name="connsiteX24" fmla="*/ 6754 w 10000"/>
                    <a:gd name="connsiteY24" fmla="*/ 559 h 10000"/>
                    <a:gd name="connsiteX25" fmla="*/ 6404 w 10000"/>
                    <a:gd name="connsiteY25" fmla="*/ 311 h 10000"/>
                    <a:gd name="connsiteX26" fmla="*/ 5965 w 10000"/>
                    <a:gd name="connsiteY26" fmla="*/ 186 h 10000"/>
                    <a:gd name="connsiteX27" fmla="*/ 5526 w 10000"/>
                    <a:gd name="connsiteY27" fmla="*/ 0 h 10000"/>
                    <a:gd name="connsiteX28" fmla="*/ 5000 w 10000"/>
                    <a:gd name="connsiteY28" fmla="*/ 0 h 10000"/>
                    <a:gd name="connsiteX29" fmla="*/ 5000 w 10000"/>
                    <a:gd name="connsiteY29" fmla="*/ 0 h 10000"/>
                    <a:gd name="connsiteX30" fmla="*/ 4561 w 10000"/>
                    <a:gd name="connsiteY30" fmla="*/ 0 h 10000"/>
                    <a:gd name="connsiteX31" fmla="*/ 4123 w 10000"/>
                    <a:gd name="connsiteY31" fmla="*/ 186 h 10000"/>
                    <a:gd name="connsiteX32" fmla="*/ 3684 w 10000"/>
                    <a:gd name="connsiteY32" fmla="*/ 311 h 10000"/>
                    <a:gd name="connsiteX33" fmla="*/ 3246 w 10000"/>
                    <a:gd name="connsiteY33" fmla="*/ 559 h 10000"/>
                    <a:gd name="connsiteX34" fmla="*/ 2982 w 10000"/>
                    <a:gd name="connsiteY34" fmla="*/ 870 h 10000"/>
                    <a:gd name="connsiteX35" fmla="*/ 2719 w 10000"/>
                    <a:gd name="connsiteY35" fmla="*/ 1242 h 10000"/>
                    <a:gd name="connsiteX36" fmla="*/ 2544 w 10000"/>
                    <a:gd name="connsiteY36" fmla="*/ 1677 h 10000"/>
                    <a:gd name="connsiteX37" fmla="*/ 2544 w 10000"/>
                    <a:gd name="connsiteY37" fmla="*/ 2112 h 10000"/>
                    <a:gd name="connsiteX38" fmla="*/ 2544 w 10000"/>
                    <a:gd name="connsiteY38" fmla="*/ 2112 h 10000"/>
                    <a:gd name="connsiteX39" fmla="*/ 2632 w 10000"/>
                    <a:gd name="connsiteY39" fmla="*/ 2671 h 10000"/>
                    <a:gd name="connsiteX40" fmla="*/ 2982 w 10000"/>
                    <a:gd name="connsiteY40" fmla="*/ 3230 h 10000"/>
                    <a:gd name="connsiteX41" fmla="*/ 3421 w 10000"/>
                    <a:gd name="connsiteY41" fmla="*/ 3727 h 10000"/>
                    <a:gd name="connsiteX42" fmla="*/ 3860 w 10000"/>
                    <a:gd name="connsiteY42" fmla="*/ 4099 h 10000"/>
                    <a:gd name="connsiteX43" fmla="*/ 3860 w 10000"/>
                    <a:gd name="connsiteY43" fmla="*/ 4099 h 10000"/>
                    <a:gd name="connsiteX44" fmla="*/ 2895 w 10000"/>
                    <a:gd name="connsiteY44" fmla="*/ 4410 h 10000"/>
                    <a:gd name="connsiteX45" fmla="*/ 2105 w 10000"/>
                    <a:gd name="connsiteY45" fmla="*/ 4783 h 10000"/>
                    <a:gd name="connsiteX46" fmla="*/ 1404 w 10000"/>
                    <a:gd name="connsiteY46" fmla="*/ 5342 h 10000"/>
                    <a:gd name="connsiteX47" fmla="*/ 877 w 10000"/>
                    <a:gd name="connsiteY47" fmla="*/ 6087 h 10000"/>
                    <a:gd name="connsiteX48" fmla="*/ 439 w 10000"/>
                    <a:gd name="connsiteY48" fmla="*/ 6832 h 10000"/>
                    <a:gd name="connsiteX49" fmla="*/ 175 w 10000"/>
                    <a:gd name="connsiteY49" fmla="*/ 7702 h 10000"/>
                    <a:gd name="connsiteX50" fmla="*/ 0 w 10000"/>
                    <a:gd name="connsiteY50" fmla="*/ 8634 h 10000"/>
                    <a:gd name="connsiteX51" fmla="*/ 0 w 10000"/>
                    <a:gd name="connsiteY51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9561 w 10000"/>
                    <a:gd name="connsiteY2" fmla="*/ 9814 h 10000"/>
                    <a:gd name="connsiteX3" fmla="*/ 9912 w 10000"/>
                    <a:gd name="connsiteY3" fmla="*/ 9752 h 10000"/>
                    <a:gd name="connsiteX4" fmla="*/ 10000 w 10000"/>
                    <a:gd name="connsiteY4" fmla="*/ 9689 h 10000"/>
                    <a:gd name="connsiteX5" fmla="*/ 10000 w 10000"/>
                    <a:gd name="connsiteY5" fmla="*/ 9689 h 10000"/>
                    <a:gd name="connsiteX6" fmla="*/ 10000 w 10000"/>
                    <a:gd name="connsiteY6" fmla="*/ 8634 h 10000"/>
                    <a:gd name="connsiteX7" fmla="*/ 9912 w 10000"/>
                    <a:gd name="connsiteY7" fmla="*/ 7702 h 10000"/>
                    <a:gd name="connsiteX8" fmla="*/ 9561 w 10000"/>
                    <a:gd name="connsiteY8" fmla="*/ 6832 h 10000"/>
                    <a:gd name="connsiteX9" fmla="*/ 9211 w 10000"/>
                    <a:gd name="connsiteY9" fmla="*/ 6087 h 10000"/>
                    <a:gd name="connsiteX10" fmla="*/ 8684 w 10000"/>
                    <a:gd name="connsiteY10" fmla="*/ 5342 h 10000"/>
                    <a:gd name="connsiteX11" fmla="*/ 7982 w 10000"/>
                    <a:gd name="connsiteY11" fmla="*/ 4783 h 10000"/>
                    <a:gd name="connsiteX12" fmla="*/ 7105 w 10000"/>
                    <a:gd name="connsiteY12" fmla="*/ 4410 h 10000"/>
                    <a:gd name="connsiteX13" fmla="*/ 6140 w 10000"/>
                    <a:gd name="connsiteY13" fmla="*/ 4099 h 10000"/>
                    <a:gd name="connsiteX14" fmla="*/ 6140 w 10000"/>
                    <a:gd name="connsiteY14" fmla="*/ 4099 h 10000"/>
                    <a:gd name="connsiteX15" fmla="*/ 6667 w 10000"/>
                    <a:gd name="connsiteY15" fmla="*/ 3727 h 10000"/>
                    <a:gd name="connsiteX16" fmla="*/ 7018 w 10000"/>
                    <a:gd name="connsiteY16" fmla="*/ 3230 h 10000"/>
                    <a:gd name="connsiteX17" fmla="*/ 7281 w 10000"/>
                    <a:gd name="connsiteY17" fmla="*/ 2671 h 10000"/>
                    <a:gd name="connsiteX18" fmla="*/ 7544 w 10000"/>
                    <a:gd name="connsiteY18" fmla="*/ 2112 h 10000"/>
                    <a:gd name="connsiteX19" fmla="*/ 7544 w 10000"/>
                    <a:gd name="connsiteY19" fmla="*/ 2112 h 10000"/>
                    <a:gd name="connsiteX20" fmla="*/ 7456 w 10000"/>
                    <a:gd name="connsiteY20" fmla="*/ 1677 h 10000"/>
                    <a:gd name="connsiteX21" fmla="*/ 7281 w 10000"/>
                    <a:gd name="connsiteY21" fmla="*/ 1242 h 10000"/>
                    <a:gd name="connsiteX22" fmla="*/ 7105 w 10000"/>
                    <a:gd name="connsiteY22" fmla="*/ 870 h 10000"/>
                    <a:gd name="connsiteX23" fmla="*/ 6754 w 10000"/>
                    <a:gd name="connsiteY23" fmla="*/ 559 h 10000"/>
                    <a:gd name="connsiteX24" fmla="*/ 6404 w 10000"/>
                    <a:gd name="connsiteY24" fmla="*/ 311 h 10000"/>
                    <a:gd name="connsiteX25" fmla="*/ 5965 w 10000"/>
                    <a:gd name="connsiteY25" fmla="*/ 186 h 10000"/>
                    <a:gd name="connsiteX26" fmla="*/ 5526 w 10000"/>
                    <a:gd name="connsiteY26" fmla="*/ 0 h 10000"/>
                    <a:gd name="connsiteX27" fmla="*/ 5000 w 10000"/>
                    <a:gd name="connsiteY27" fmla="*/ 0 h 10000"/>
                    <a:gd name="connsiteX28" fmla="*/ 5000 w 10000"/>
                    <a:gd name="connsiteY28" fmla="*/ 0 h 10000"/>
                    <a:gd name="connsiteX29" fmla="*/ 4561 w 10000"/>
                    <a:gd name="connsiteY29" fmla="*/ 0 h 10000"/>
                    <a:gd name="connsiteX30" fmla="*/ 4123 w 10000"/>
                    <a:gd name="connsiteY30" fmla="*/ 186 h 10000"/>
                    <a:gd name="connsiteX31" fmla="*/ 3684 w 10000"/>
                    <a:gd name="connsiteY31" fmla="*/ 311 h 10000"/>
                    <a:gd name="connsiteX32" fmla="*/ 3246 w 10000"/>
                    <a:gd name="connsiteY32" fmla="*/ 559 h 10000"/>
                    <a:gd name="connsiteX33" fmla="*/ 2982 w 10000"/>
                    <a:gd name="connsiteY33" fmla="*/ 870 h 10000"/>
                    <a:gd name="connsiteX34" fmla="*/ 2719 w 10000"/>
                    <a:gd name="connsiteY34" fmla="*/ 1242 h 10000"/>
                    <a:gd name="connsiteX35" fmla="*/ 2544 w 10000"/>
                    <a:gd name="connsiteY35" fmla="*/ 1677 h 10000"/>
                    <a:gd name="connsiteX36" fmla="*/ 2544 w 10000"/>
                    <a:gd name="connsiteY36" fmla="*/ 2112 h 10000"/>
                    <a:gd name="connsiteX37" fmla="*/ 2544 w 10000"/>
                    <a:gd name="connsiteY37" fmla="*/ 2112 h 10000"/>
                    <a:gd name="connsiteX38" fmla="*/ 2632 w 10000"/>
                    <a:gd name="connsiteY38" fmla="*/ 2671 h 10000"/>
                    <a:gd name="connsiteX39" fmla="*/ 2982 w 10000"/>
                    <a:gd name="connsiteY39" fmla="*/ 3230 h 10000"/>
                    <a:gd name="connsiteX40" fmla="*/ 3421 w 10000"/>
                    <a:gd name="connsiteY40" fmla="*/ 3727 h 10000"/>
                    <a:gd name="connsiteX41" fmla="*/ 3860 w 10000"/>
                    <a:gd name="connsiteY41" fmla="*/ 4099 h 10000"/>
                    <a:gd name="connsiteX42" fmla="*/ 3860 w 10000"/>
                    <a:gd name="connsiteY42" fmla="*/ 4099 h 10000"/>
                    <a:gd name="connsiteX43" fmla="*/ 2895 w 10000"/>
                    <a:gd name="connsiteY43" fmla="*/ 4410 h 10000"/>
                    <a:gd name="connsiteX44" fmla="*/ 2105 w 10000"/>
                    <a:gd name="connsiteY44" fmla="*/ 4783 h 10000"/>
                    <a:gd name="connsiteX45" fmla="*/ 1404 w 10000"/>
                    <a:gd name="connsiteY45" fmla="*/ 5342 h 10000"/>
                    <a:gd name="connsiteX46" fmla="*/ 877 w 10000"/>
                    <a:gd name="connsiteY46" fmla="*/ 6087 h 10000"/>
                    <a:gd name="connsiteX47" fmla="*/ 439 w 10000"/>
                    <a:gd name="connsiteY47" fmla="*/ 6832 h 10000"/>
                    <a:gd name="connsiteX48" fmla="*/ 175 w 10000"/>
                    <a:gd name="connsiteY48" fmla="*/ 7702 h 10000"/>
                    <a:gd name="connsiteX49" fmla="*/ 0 w 10000"/>
                    <a:gd name="connsiteY49" fmla="*/ 8634 h 10000"/>
                    <a:gd name="connsiteX50" fmla="*/ 0 w 10000"/>
                    <a:gd name="connsiteY50" fmla="*/ 9689 h 10000"/>
                    <a:gd name="connsiteX0" fmla="*/ 4912 w 10000"/>
                    <a:gd name="connsiteY0" fmla="*/ 10000 h 10000"/>
                    <a:gd name="connsiteX1" fmla="*/ 9561 w 10000"/>
                    <a:gd name="connsiteY1" fmla="*/ 9814 h 10000"/>
                    <a:gd name="connsiteX2" fmla="*/ 9912 w 10000"/>
                    <a:gd name="connsiteY2" fmla="*/ 9752 h 10000"/>
                    <a:gd name="connsiteX3" fmla="*/ 10000 w 10000"/>
                    <a:gd name="connsiteY3" fmla="*/ 9689 h 10000"/>
                    <a:gd name="connsiteX4" fmla="*/ 10000 w 10000"/>
                    <a:gd name="connsiteY4" fmla="*/ 9689 h 10000"/>
                    <a:gd name="connsiteX5" fmla="*/ 10000 w 10000"/>
                    <a:gd name="connsiteY5" fmla="*/ 8634 h 10000"/>
                    <a:gd name="connsiteX6" fmla="*/ 9912 w 10000"/>
                    <a:gd name="connsiteY6" fmla="*/ 7702 h 10000"/>
                    <a:gd name="connsiteX7" fmla="*/ 9561 w 10000"/>
                    <a:gd name="connsiteY7" fmla="*/ 6832 h 10000"/>
                    <a:gd name="connsiteX8" fmla="*/ 9211 w 10000"/>
                    <a:gd name="connsiteY8" fmla="*/ 6087 h 10000"/>
                    <a:gd name="connsiteX9" fmla="*/ 8684 w 10000"/>
                    <a:gd name="connsiteY9" fmla="*/ 5342 h 10000"/>
                    <a:gd name="connsiteX10" fmla="*/ 7982 w 10000"/>
                    <a:gd name="connsiteY10" fmla="*/ 4783 h 10000"/>
                    <a:gd name="connsiteX11" fmla="*/ 7105 w 10000"/>
                    <a:gd name="connsiteY11" fmla="*/ 4410 h 10000"/>
                    <a:gd name="connsiteX12" fmla="*/ 6140 w 10000"/>
                    <a:gd name="connsiteY12" fmla="*/ 4099 h 10000"/>
                    <a:gd name="connsiteX13" fmla="*/ 6140 w 10000"/>
                    <a:gd name="connsiteY13" fmla="*/ 4099 h 10000"/>
                    <a:gd name="connsiteX14" fmla="*/ 6667 w 10000"/>
                    <a:gd name="connsiteY14" fmla="*/ 3727 h 10000"/>
                    <a:gd name="connsiteX15" fmla="*/ 7018 w 10000"/>
                    <a:gd name="connsiteY15" fmla="*/ 3230 h 10000"/>
                    <a:gd name="connsiteX16" fmla="*/ 7281 w 10000"/>
                    <a:gd name="connsiteY16" fmla="*/ 2671 h 10000"/>
                    <a:gd name="connsiteX17" fmla="*/ 7544 w 10000"/>
                    <a:gd name="connsiteY17" fmla="*/ 2112 h 10000"/>
                    <a:gd name="connsiteX18" fmla="*/ 7544 w 10000"/>
                    <a:gd name="connsiteY18" fmla="*/ 2112 h 10000"/>
                    <a:gd name="connsiteX19" fmla="*/ 7456 w 10000"/>
                    <a:gd name="connsiteY19" fmla="*/ 1677 h 10000"/>
                    <a:gd name="connsiteX20" fmla="*/ 7281 w 10000"/>
                    <a:gd name="connsiteY20" fmla="*/ 1242 h 10000"/>
                    <a:gd name="connsiteX21" fmla="*/ 7105 w 10000"/>
                    <a:gd name="connsiteY21" fmla="*/ 870 h 10000"/>
                    <a:gd name="connsiteX22" fmla="*/ 6754 w 10000"/>
                    <a:gd name="connsiteY22" fmla="*/ 559 h 10000"/>
                    <a:gd name="connsiteX23" fmla="*/ 6404 w 10000"/>
                    <a:gd name="connsiteY23" fmla="*/ 311 h 10000"/>
                    <a:gd name="connsiteX24" fmla="*/ 5965 w 10000"/>
                    <a:gd name="connsiteY24" fmla="*/ 186 h 10000"/>
                    <a:gd name="connsiteX25" fmla="*/ 5526 w 10000"/>
                    <a:gd name="connsiteY25" fmla="*/ 0 h 10000"/>
                    <a:gd name="connsiteX26" fmla="*/ 5000 w 10000"/>
                    <a:gd name="connsiteY26" fmla="*/ 0 h 10000"/>
                    <a:gd name="connsiteX27" fmla="*/ 5000 w 10000"/>
                    <a:gd name="connsiteY27" fmla="*/ 0 h 10000"/>
                    <a:gd name="connsiteX28" fmla="*/ 4561 w 10000"/>
                    <a:gd name="connsiteY28" fmla="*/ 0 h 10000"/>
                    <a:gd name="connsiteX29" fmla="*/ 4123 w 10000"/>
                    <a:gd name="connsiteY29" fmla="*/ 186 h 10000"/>
                    <a:gd name="connsiteX30" fmla="*/ 3684 w 10000"/>
                    <a:gd name="connsiteY30" fmla="*/ 311 h 10000"/>
                    <a:gd name="connsiteX31" fmla="*/ 3246 w 10000"/>
                    <a:gd name="connsiteY31" fmla="*/ 559 h 10000"/>
                    <a:gd name="connsiteX32" fmla="*/ 2982 w 10000"/>
                    <a:gd name="connsiteY32" fmla="*/ 870 h 10000"/>
                    <a:gd name="connsiteX33" fmla="*/ 2719 w 10000"/>
                    <a:gd name="connsiteY33" fmla="*/ 1242 h 10000"/>
                    <a:gd name="connsiteX34" fmla="*/ 2544 w 10000"/>
                    <a:gd name="connsiteY34" fmla="*/ 1677 h 10000"/>
                    <a:gd name="connsiteX35" fmla="*/ 2544 w 10000"/>
                    <a:gd name="connsiteY35" fmla="*/ 2112 h 10000"/>
                    <a:gd name="connsiteX36" fmla="*/ 2544 w 10000"/>
                    <a:gd name="connsiteY36" fmla="*/ 2112 h 10000"/>
                    <a:gd name="connsiteX37" fmla="*/ 2632 w 10000"/>
                    <a:gd name="connsiteY37" fmla="*/ 2671 h 10000"/>
                    <a:gd name="connsiteX38" fmla="*/ 2982 w 10000"/>
                    <a:gd name="connsiteY38" fmla="*/ 3230 h 10000"/>
                    <a:gd name="connsiteX39" fmla="*/ 3421 w 10000"/>
                    <a:gd name="connsiteY39" fmla="*/ 3727 h 10000"/>
                    <a:gd name="connsiteX40" fmla="*/ 3860 w 10000"/>
                    <a:gd name="connsiteY40" fmla="*/ 4099 h 10000"/>
                    <a:gd name="connsiteX41" fmla="*/ 3860 w 10000"/>
                    <a:gd name="connsiteY41" fmla="*/ 4099 h 10000"/>
                    <a:gd name="connsiteX42" fmla="*/ 2895 w 10000"/>
                    <a:gd name="connsiteY42" fmla="*/ 4410 h 10000"/>
                    <a:gd name="connsiteX43" fmla="*/ 2105 w 10000"/>
                    <a:gd name="connsiteY43" fmla="*/ 4783 h 10000"/>
                    <a:gd name="connsiteX44" fmla="*/ 1404 w 10000"/>
                    <a:gd name="connsiteY44" fmla="*/ 5342 h 10000"/>
                    <a:gd name="connsiteX45" fmla="*/ 877 w 10000"/>
                    <a:gd name="connsiteY45" fmla="*/ 6087 h 10000"/>
                    <a:gd name="connsiteX46" fmla="*/ 439 w 10000"/>
                    <a:gd name="connsiteY46" fmla="*/ 6832 h 10000"/>
                    <a:gd name="connsiteX47" fmla="*/ 175 w 10000"/>
                    <a:gd name="connsiteY47" fmla="*/ 7702 h 10000"/>
                    <a:gd name="connsiteX48" fmla="*/ 0 w 10000"/>
                    <a:gd name="connsiteY48" fmla="*/ 8634 h 10000"/>
                    <a:gd name="connsiteX49" fmla="*/ 0 w 10000"/>
                    <a:gd name="connsiteY49" fmla="*/ 9689 h 10000"/>
                    <a:gd name="connsiteX0" fmla="*/ 9561 w 10000"/>
                    <a:gd name="connsiteY0" fmla="*/ 9814 h 9814"/>
                    <a:gd name="connsiteX1" fmla="*/ 9912 w 10000"/>
                    <a:gd name="connsiteY1" fmla="*/ 9752 h 9814"/>
                    <a:gd name="connsiteX2" fmla="*/ 10000 w 10000"/>
                    <a:gd name="connsiteY2" fmla="*/ 9689 h 9814"/>
                    <a:gd name="connsiteX3" fmla="*/ 10000 w 10000"/>
                    <a:gd name="connsiteY3" fmla="*/ 9689 h 9814"/>
                    <a:gd name="connsiteX4" fmla="*/ 10000 w 10000"/>
                    <a:gd name="connsiteY4" fmla="*/ 8634 h 9814"/>
                    <a:gd name="connsiteX5" fmla="*/ 9912 w 10000"/>
                    <a:gd name="connsiteY5" fmla="*/ 7702 h 9814"/>
                    <a:gd name="connsiteX6" fmla="*/ 9561 w 10000"/>
                    <a:gd name="connsiteY6" fmla="*/ 6832 h 9814"/>
                    <a:gd name="connsiteX7" fmla="*/ 9211 w 10000"/>
                    <a:gd name="connsiteY7" fmla="*/ 6087 h 9814"/>
                    <a:gd name="connsiteX8" fmla="*/ 8684 w 10000"/>
                    <a:gd name="connsiteY8" fmla="*/ 5342 h 9814"/>
                    <a:gd name="connsiteX9" fmla="*/ 7982 w 10000"/>
                    <a:gd name="connsiteY9" fmla="*/ 4783 h 9814"/>
                    <a:gd name="connsiteX10" fmla="*/ 7105 w 10000"/>
                    <a:gd name="connsiteY10" fmla="*/ 4410 h 9814"/>
                    <a:gd name="connsiteX11" fmla="*/ 6140 w 10000"/>
                    <a:gd name="connsiteY11" fmla="*/ 4099 h 9814"/>
                    <a:gd name="connsiteX12" fmla="*/ 6140 w 10000"/>
                    <a:gd name="connsiteY12" fmla="*/ 4099 h 9814"/>
                    <a:gd name="connsiteX13" fmla="*/ 6667 w 10000"/>
                    <a:gd name="connsiteY13" fmla="*/ 3727 h 9814"/>
                    <a:gd name="connsiteX14" fmla="*/ 7018 w 10000"/>
                    <a:gd name="connsiteY14" fmla="*/ 3230 h 9814"/>
                    <a:gd name="connsiteX15" fmla="*/ 7281 w 10000"/>
                    <a:gd name="connsiteY15" fmla="*/ 2671 h 9814"/>
                    <a:gd name="connsiteX16" fmla="*/ 7544 w 10000"/>
                    <a:gd name="connsiteY16" fmla="*/ 2112 h 9814"/>
                    <a:gd name="connsiteX17" fmla="*/ 7544 w 10000"/>
                    <a:gd name="connsiteY17" fmla="*/ 2112 h 9814"/>
                    <a:gd name="connsiteX18" fmla="*/ 7456 w 10000"/>
                    <a:gd name="connsiteY18" fmla="*/ 1677 h 9814"/>
                    <a:gd name="connsiteX19" fmla="*/ 7281 w 10000"/>
                    <a:gd name="connsiteY19" fmla="*/ 1242 h 9814"/>
                    <a:gd name="connsiteX20" fmla="*/ 7105 w 10000"/>
                    <a:gd name="connsiteY20" fmla="*/ 870 h 9814"/>
                    <a:gd name="connsiteX21" fmla="*/ 6754 w 10000"/>
                    <a:gd name="connsiteY21" fmla="*/ 559 h 9814"/>
                    <a:gd name="connsiteX22" fmla="*/ 6404 w 10000"/>
                    <a:gd name="connsiteY22" fmla="*/ 311 h 9814"/>
                    <a:gd name="connsiteX23" fmla="*/ 5965 w 10000"/>
                    <a:gd name="connsiteY23" fmla="*/ 186 h 9814"/>
                    <a:gd name="connsiteX24" fmla="*/ 5526 w 10000"/>
                    <a:gd name="connsiteY24" fmla="*/ 0 h 9814"/>
                    <a:gd name="connsiteX25" fmla="*/ 5000 w 10000"/>
                    <a:gd name="connsiteY25" fmla="*/ 0 h 9814"/>
                    <a:gd name="connsiteX26" fmla="*/ 5000 w 10000"/>
                    <a:gd name="connsiteY26" fmla="*/ 0 h 9814"/>
                    <a:gd name="connsiteX27" fmla="*/ 4561 w 10000"/>
                    <a:gd name="connsiteY27" fmla="*/ 0 h 9814"/>
                    <a:gd name="connsiteX28" fmla="*/ 4123 w 10000"/>
                    <a:gd name="connsiteY28" fmla="*/ 186 h 9814"/>
                    <a:gd name="connsiteX29" fmla="*/ 3684 w 10000"/>
                    <a:gd name="connsiteY29" fmla="*/ 311 h 9814"/>
                    <a:gd name="connsiteX30" fmla="*/ 3246 w 10000"/>
                    <a:gd name="connsiteY30" fmla="*/ 559 h 9814"/>
                    <a:gd name="connsiteX31" fmla="*/ 2982 w 10000"/>
                    <a:gd name="connsiteY31" fmla="*/ 870 h 9814"/>
                    <a:gd name="connsiteX32" fmla="*/ 2719 w 10000"/>
                    <a:gd name="connsiteY32" fmla="*/ 1242 h 9814"/>
                    <a:gd name="connsiteX33" fmla="*/ 2544 w 10000"/>
                    <a:gd name="connsiteY33" fmla="*/ 1677 h 9814"/>
                    <a:gd name="connsiteX34" fmla="*/ 2544 w 10000"/>
                    <a:gd name="connsiteY34" fmla="*/ 2112 h 9814"/>
                    <a:gd name="connsiteX35" fmla="*/ 2544 w 10000"/>
                    <a:gd name="connsiteY35" fmla="*/ 2112 h 9814"/>
                    <a:gd name="connsiteX36" fmla="*/ 2632 w 10000"/>
                    <a:gd name="connsiteY36" fmla="*/ 2671 h 9814"/>
                    <a:gd name="connsiteX37" fmla="*/ 2982 w 10000"/>
                    <a:gd name="connsiteY37" fmla="*/ 3230 h 9814"/>
                    <a:gd name="connsiteX38" fmla="*/ 3421 w 10000"/>
                    <a:gd name="connsiteY38" fmla="*/ 3727 h 9814"/>
                    <a:gd name="connsiteX39" fmla="*/ 3860 w 10000"/>
                    <a:gd name="connsiteY39" fmla="*/ 4099 h 9814"/>
                    <a:gd name="connsiteX40" fmla="*/ 3860 w 10000"/>
                    <a:gd name="connsiteY40" fmla="*/ 4099 h 9814"/>
                    <a:gd name="connsiteX41" fmla="*/ 2895 w 10000"/>
                    <a:gd name="connsiteY41" fmla="*/ 4410 h 9814"/>
                    <a:gd name="connsiteX42" fmla="*/ 2105 w 10000"/>
                    <a:gd name="connsiteY42" fmla="*/ 4783 h 9814"/>
                    <a:gd name="connsiteX43" fmla="*/ 1404 w 10000"/>
                    <a:gd name="connsiteY43" fmla="*/ 5342 h 9814"/>
                    <a:gd name="connsiteX44" fmla="*/ 877 w 10000"/>
                    <a:gd name="connsiteY44" fmla="*/ 6087 h 9814"/>
                    <a:gd name="connsiteX45" fmla="*/ 439 w 10000"/>
                    <a:gd name="connsiteY45" fmla="*/ 6832 h 9814"/>
                    <a:gd name="connsiteX46" fmla="*/ 175 w 10000"/>
                    <a:gd name="connsiteY46" fmla="*/ 7702 h 9814"/>
                    <a:gd name="connsiteX47" fmla="*/ 0 w 10000"/>
                    <a:gd name="connsiteY47" fmla="*/ 8634 h 9814"/>
                    <a:gd name="connsiteX48" fmla="*/ 0 w 10000"/>
                    <a:gd name="connsiteY48" fmla="*/ 9689 h 9814"/>
                    <a:gd name="connsiteX0" fmla="*/ 9912 w 10000"/>
                    <a:gd name="connsiteY0" fmla="*/ 9937 h 9937"/>
                    <a:gd name="connsiteX1" fmla="*/ 10000 w 10000"/>
                    <a:gd name="connsiteY1" fmla="*/ 9873 h 9937"/>
                    <a:gd name="connsiteX2" fmla="*/ 10000 w 10000"/>
                    <a:gd name="connsiteY2" fmla="*/ 9873 h 9937"/>
                    <a:gd name="connsiteX3" fmla="*/ 10000 w 10000"/>
                    <a:gd name="connsiteY3" fmla="*/ 8798 h 9937"/>
                    <a:gd name="connsiteX4" fmla="*/ 9912 w 10000"/>
                    <a:gd name="connsiteY4" fmla="*/ 7848 h 9937"/>
                    <a:gd name="connsiteX5" fmla="*/ 9561 w 10000"/>
                    <a:gd name="connsiteY5" fmla="*/ 6961 h 9937"/>
                    <a:gd name="connsiteX6" fmla="*/ 9211 w 10000"/>
                    <a:gd name="connsiteY6" fmla="*/ 6202 h 9937"/>
                    <a:gd name="connsiteX7" fmla="*/ 8684 w 10000"/>
                    <a:gd name="connsiteY7" fmla="*/ 5443 h 9937"/>
                    <a:gd name="connsiteX8" fmla="*/ 7982 w 10000"/>
                    <a:gd name="connsiteY8" fmla="*/ 4874 h 9937"/>
                    <a:gd name="connsiteX9" fmla="*/ 7105 w 10000"/>
                    <a:gd name="connsiteY9" fmla="*/ 4494 h 9937"/>
                    <a:gd name="connsiteX10" fmla="*/ 6140 w 10000"/>
                    <a:gd name="connsiteY10" fmla="*/ 4177 h 9937"/>
                    <a:gd name="connsiteX11" fmla="*/ 6140 w 10000"/>
                    <a:gd name="connsiteY11" fmla="*/ 4177 h 9937"/>
                    <a:gd name="connsiteX12" fmla="*/ 6667 w 10000"/>
                    <a:gd name="connsiteY12" fmla="*/ 3798 h 9937"/>
                    <a:gd name="connsiteX13" fmla="*/ 7018 w 10000"/>
                    <a:gd name="connsiteY13" fmla="*/ 3291 h 9937"/>
                    <a:gd name="connsiteX14" fmla="*/ 7281 w 10000"/>
                    <a:gd name="connsiteY14" fmla="*/ 2722 h 9937"/>
                    <a:gd name="connsiteX15" fmla="*/ 7544 w 10000"/>
                    <a:gd name="connsiteY15" fmla="*/ 2152 h 9937"/>
                    <a:gd name="connsiteX16" fmla="*/ 7544 w 10000"/>
                    <a:gd name="connsiteY16" fmla="*/ 2152 h 9937"/>
                    <a:gd name="connsiteX17" fmla="*/ 7456 w 10000"/>
                    <a:gd name="connsiteY17" fmla="*/ 1709 h 9937"/>
                    <a:gd name="connsiteX18" fmla="*/ 7281 w 10000"/>
                    <a:gd name="connsiteY18" fmla="*/ 1266 h 9937"/>
                    <a:gd name="connsiteX19" fmla="*/ 7105 w 10000"/>
                    <a:gd name="connsiteY19" fmla="*/ 886 h 9937"/>
                    <a:gd name="connsiteX20" fmla="*/ 6754 w 10000"/>
                    <a:gd name="connsiteY20" fmla="*/ 570 h 9937"/>
                    <a:gd name="connsiteX21" fmla="*/ 6404 w 10000"/>
                    <a:gd name="connsiteY21" fmla="*/ 317 h 9937"/>
                    <a:gd name="connsiteX22" fmla="*/ 5965 w 10000"/>
                    <a:gd name="connsiteY22" fmla="*/ 190 h 9937"/>
                    <a:gd name="connsiteX23" fmla="*/ 5526 w 10000"/>
                    <a:gd name="connsiteY23" fmla="*/ 0 h 9937"/>
                    <a:gd name="connsiteX24" fmla="*/ 5000 w 10000"/>
                    <a:gd name="connsiteY24" fmla="*/ 0 h 9937"/>
                    <a:gd name="connsiteX25" fmla="*/ 5000 w 10000"/>
                    <a:gd name="connsiteY25" fmla="*/ 0 h 9937"/>
                    <a:gd name="connsiteX26" fmla="*/ 4561 w 10000"/>
                    <a:gd name="connsiteY26" fmla="*/ 0 h 9937"/>
                    <a:gd name="connsiteX27" fmla="*/ 4123 w 10000"/>
                    <a:gd name="connsiteY27" fmla="*/ 190 h 9937"/>
                    <a:gd name="connsiteX28" fmla="*/ 3684 w 10000"/>
                    <a:gd name="connsiteY28" fmla="*/ 317 h 9937"/>
                    <a:gd name="connsiteX29" fmla="*/ 3246 w 10000"/>
                    <a:gd name="connsiteY29" fmla="*/ 570 h 9937"/>
                    <a:gd name="connsiteX30" fmla="*/ 2982 w 10000"/>
                    <a:gd name="connsiteY30" fmla="*/ 886 h 9937"/>
                    <a:gd name="connsiteX31" fmla="*/ 2719 w 10000"/>
                    <a:gd name="connsiteY31" fmla="*/ 1266 h 9937"/>
                    <a:gd name="connsiteX32" fmla="*/ 2544 w 10000"/>
                    <a:gd name="connsiteY32" fmla="*/ 1709 h 9937"/>
                    <a:gd name="connsiteX33" fmla="*/ 2544 w 10000"/>
                    <a:gd name="connsiteY33" fmla="*/ 2152 h 9937"/>
                    <a:gd name="connsiteX34" fmla="*/ 2544 w 10000"/>
                    <a:gd name="connsiteY34" fmla="*/ 2152 h 9937"/>
                    <a:gd name="connsiteX35" fmla="*/ 2632 w 10000"/>
                    <a:gd name="connsiteY35" fmla="*/ 2722 h 9937"/>
                    <a:gd name="connsiteX36" fmla="*/ 2982 w 10000"/>
                    <a:gd name="connsiteY36" fmla="*/ 3291 h 9937"/>
                    <a:gd name="connsiteX37" fmla="*/ 3421 w 10000"/>
                    <a:gd name="connsiteY37" fmla="*/ 3798 h 9937"/>
                    <a:gd name="connsiteX38" fmla="*/ 3860 w 10000"/>
                    <a:gd name="connsiteY38" fmla="*/ 4177 h 9937"/>
                    <a:gd name="connsiteX39" fmla="*/ 3860 w 10000"/>
                    <a:gd name="connsiteY39" fmla="*/ 4177 h 9937"/>
                    <a:gd name="connsiteX40" fmla="*/ 2895 w 10000"/>
                    <a:gd name="connsiteY40" fmla="*/ 4494 h 9937"/>
                    <a:gd name="connsiteX41" fmla="*/ 2105 w 10000"/>
                    <a:gd name="connsiteY41" fmla="*/ 4874 h 9937"/>
                    <a:gd name="connsiteX42" fmla="*/ 1404 w 10000"/>
                    <a:gd name="connsiteY42" fmla="*/ 5443 h 9937"/>
                    <a:gd name="connsiteX43" fmla="*/ 877 w 10000"/>
                    <a:gd name="connsiteY43" fmla="*/ 6202 h 9937"/>
                    <a:gd name="connsiteX44" fmla="*/ 439 w 10000"/>
                    <a:gd name="connsiteY44" fmla="*/ 6961 h 9937"/>
                    <a:gd name="connsiteX45" fmla="*/ 175 w 10000"/>
                    <a:gd name="connsiteY45" fmla="*/ 7848 h 9937"/>
                    <a:gd name="connsiteX46" fmla="*/ 0 w 10000"/>
                    <a:gd name="connsiteY46" fmla="*/ 8798 h 9937"/>
                    <a:gd name="connsiteX47" fmla="*/ 0 w 10000"/>
                    <a:gd name="connsiteY47" fmla="*/ 9873 h 9937"/>
                    <a:gd name="connsiteX0" fmla="*/ 9912 w 10000"/>
                    <a:gd name="connsiteY0" fmla="*/ 10000 h 10000"/>
                    <a:gd name="connsiteX1" fmla="*/ 10000 w 10000"/>
                    <a:gd name="connsiteY1" fmla="*/ 9936 h 10000"/>
                    <a:gd name="connsiteX2" fmla="*/ 10000 w 10000"/>
                    <a:gd name="connsiteY2" fmla="*/ 8854 h 10000"/>
                    <a:gd name="connsiteX3" fmla="*/ 9912 w 10000"/>
                    <a:gd name="connsiteY3" fmla="*/ 7898 h 10000"/>
                    <a:gd name="connsiteX4" fmla="*/ 9561 w 10000"/>
                    <a:gd name="connsiteY4" fmla="*/ 7005 h 10000"/>
                    <a:gd name="connsiteX5" fmla="*/ 9211 w 10000"/>
                    <a:gd name="connsiteY5" fmla="*/ 6241 h 10000"/>
                    <a:gd name="connsiteX6" fmla="*/ 8684 w 10000"/>
                    <a:gd name="connsiteY6" fmla="*/ 5478 h 10000"/>
                    <a:gd name="connsiteX7" fmla="*/ 7982 w 10000"/>
                    <a:gd name="connsiteY7" fmla="*/ 4905 h 10000"/>
                    <a:gd name="connsiteX8" fmla="*/ 7105 w 10000"/>
                    <a:gd name="connsiteY8" fmla="*/ 4522 h 10000"/>
                    <a:gd name="connsiteX9" fmla="*/ 6140 w 10000"/>
                    <a:gd name="connsiteY9" fmla="*/ 4203 h 10000"/>
                    <a:gd name="connsiteX10" fmla="*/ 6140 w 10000"/>
                    <a:gd name="connsiteY10" fmla="*/ 4203 h 10000"/>
                    <a:gd name="connsiteX11" fmla="*/ 6667 w 10000"/>
                    <a:gd name="connsiteY11" fmla="*/ 3822 h 10000"/>
                    <a:gd name="connsiteX12" fmla="*/ 7018 w 10000"/>
                    <a:gd name="connsiteY12" fmla="*/ 3312 h 10000"/>
                    <a:gd name="connsiteX13" fmla="*/ 7281 w 10000"/>
                    <a:gd name="connsiteY13" fmla="*/ 2739 h 10000"/>
                    <a:gd name="connsiteX14" fmla="*/ 7544 w 10000"/>
                    <a:gd name="connsiteY14" fmla="*/ 2166 h 10000"/>
                    <a:gd name="connsiteX15" fmla="*/ 7544 w 10000"/>
                    <a:gd name="connsiteY15" fmla="*/ 2166 h 10000"/>
                    <a:gd name="connsiteX16" fmla="*/ 7456 w 10000"/>
                    <a:gd name="connsiteY16" fmla="*/ 1720 h 10000"/>
                    <a:gd name="connsiteX17" fmla="*/ 7281 w 10000"/>
                    <a:gd name="connsiteY17" fmla="*/ 1274 h 10000"/>
                    <a:gd name="connsiteX18" fmla="*/ 7105 w 10000"/>
                    <a:gd name="connsiteY18" fmla="*/ 892 h 10000"/>
                    <a:gd name="connsiteX19" fmla="*/ 6754 w 10000"/>
                    <a:gd name="connsiteY19" fmla="*/ 574 h 10000"/>
                    <a:gd name="connsiteX20" fmla="*/ 6404 w 10000"/>
                    <a:gd name="connsiteY20" fmla="*/ 319 h 10000"/>
                    <a:gd name="connsiteX21" fmla="*/ 5965 w 10000"/>
                    <a:gd name="connsiteY21" fmla="*/ 191 h 10000"/>
                    <a:gd name="connsiteX22" fmla="*/ 5526 w 10000"/>
                    <a:gd name="connsiteY22" fmla="*/ 0 h 10000"/>
                    <a:gd name="connsiteX23" fmla="*/ 5000 w 10000"/>
                    <a:gd name="connsiteY23" fmla="*/ 0 h 10000"/>
                    <a:gd name="connsiteX24" fmla="*/ 5000 w 10000"/>
                    <a:gd name="connsiteY24" fmla="*/ 0 h 10000"/>
                    <a:gd name="connsiteX25" fmla="*/ 4561 w 10000"/>
                    <a:gd name="connsiteY25" fmla="*/ 0 h 10000"/>
                    <a:gd name="connsiteX26" fmla="*/ 4123 w 10000"/>
                    <a:gd name="connsiteY26" fmla="*/ 191 h 10000"/>
                    <a:gd name="connsiteX27" fmla="*/ 3684 w 10000"/>
                    <a:gd name="connsiteY27" fmla="*/ 319 h 10000"/>
                    <a:gd name="connsiteX28" fmla="*/ 3246 w 10000"/>
                    <a:gd name="connsiteY28" fmla="*/ 574 h 10000"/>
                    <a:gd name="connsiteX29" fmla="*/ 2982 w 10000"/>
                    <a:gd name="connsiteY29" fmla="*/ 892 h 10000"/>
                    <a:gd name="connsiteX30" fmla="*/ 2719 w 10000"/>
                    <a:gd name="connsiteY30" fmla="*/ 1274 h 10000"/>
                    <a:gd name="connsiteX31" fmla="*/ 2544 w 10000"/>
                    <a:gd name="connsiteY31" fmla="*/ 1720 h 10000"/>
                    <a:gd name="connsiteX32" fmla="*/ 2544 w 10000"/>
                    <a:gd name="connsiteY32" fmla="*/ 2166 h 10000"/>
                    <a:gd name="connsiteX33" fmla="*/ 2544 w 10000"/>
                    <a:gd name="connsiteY33" fmla="*/ 2166 h 10000"/>
                    <a:gd name="connsiteX34" fmla="*/ 2632 w 10000"/>
                    <a:gd name="connsiteY34" fmla="*/ 2739 h 10000"/>
                    <a:gd name="connsiteX35" fmla="*/ 2982 w 10000"/>
                    <a:gd name="connsiteY35" fmla="*/ 3312 h 10000"/>
                    <a:gd name="connsiteX36" fmla="*/ 3421 w 10000"/>
                    <a:gd name="connsiteY36" fmla="*/ 3822 h 10000"/>
                    <a:gd name="connsiteX37" fmla="*/ 3860 w 10000"/>
                    <a:gd name="connsiteY37" fmla="*/ 4203 h 10000"/>
                    <a:gd name="connsiteX38" fmla="*/ 3860 w 10000"/>
                    <a:gd name="connsiteY38" fmla="*/ 4203 h 10000"/>
                    <a:gd name="connsiteX39" fmla="*/ 2895 w 10000"/>
                    <a:gd name="connsiteY39" fmla="*/ 4522 h 10000"/>
                    <a:gd name="connsiteX40" fmla="*/ 2105 w 10000"/>
                    <a:gd name="connsiteY40" fmla="*/ 4905 h 10000"/>
                    <a:gd name="connsiteX41" fmla="*/ 1404 w 10000"/>
                    <a:gd name="connsiteY41" fmla="*/ 5478 h 10000"/>
                    <a:gd name="connsiteX42" fmla="*/ 877 w 10000"/>
                    <a:gd name="connsiteY42" fmla="*/ 6241 h 10000"/>
                    <a:gd name="connsiteX43" fmla="*/ 439 w 10000"/>
                    <a:gd name="connsiteY43" fmla="*/ 7005 h 10000"/>
                    <a:gd name="connsiteX44" fmla="*/ 175 w 10000"/>
                    <a:gd name="connsiteY44" fmla="*/ 7898 h 10000"/>
                    <a:gd name="connsiteX45" fmla="*/ 0 w 10000"/>
                    <a:gd name="connsiteY45" fmla="*/ 8854 h 10000"/>
                    <a:gd name="connsiteX46" fmla="*/ 0 w 10000"/>
                    <a:gd name="connsiteY46" fmla="*/ 9936 h 10000"/>
                    <a:gd name="connsiteX0" fmla="*/ 9912 w 10000"/>
                    <a:gd name="connsiteY0" fmla="*/ 10000 h 10000"/>
                    <a:gd name="connsiteX1" fmla="*/ 10000 w 10000"/>
                    <a:gd name="connsiteY1" fmla="*/ 8854 h 10000"/>
                    <a:gd name="connsiteX2" fmla="*/ 9912 w 10000"/>
                    <a:gd name="connsiteY2" fmla="*/ 7898 h 10000"/>
                    <a:gd name="connsiteX3" fmla="*/ 9561 w 10000"/>
                    <a:gd name="connsiteY3" fmla="*/ 7005 h 10000"/>
                    <a:gd name="connsiteX4" fmla="*/ 9211 w 10000"/>
                    <a:gd name="connsiteY4" fmla="*/ 6241 h 10000"/>
                    <a:gd name="connsiteX5" fmla="*/ 8684 w 10000"/>
                    <a:gd name="connsiteY5" fmla="*/ 5478 h 10000"/>
                    <a:gd name="connsiteX6" fmla="*/ 7982 w 10000"/>
                    <a:gd name="connsiteY6" fmla="*/ 4905 h 10000"/>
                    <a:gd name="connsiteX7" fmla="*/ 7105 w 10000"/>
                    <a:gd name="connsiteY7" fmla="*/ 4522 h 10000"/>
                    <a:gd name="connsiteX8" fmla="*/ 6140 w 10000"/>
                    <a:gd name="connsiteY8" fmla="*/ 4203 h 10000"/>
                    <a:gd name="connsiteX9" fmla="*/ 6140 w 10000"/>
                    <a:gd name="connsiteY9" fmla="*/ 4203 h 10000"/>
                    <a:gd name="connsiteX10" fmla="*/ 6667 w 10000"/>
                    <a:gd name="connsiteY10" fmla="*/ 3822 h 10000"/>
                    <a:gd name="connsiteX11" fmla="*/ 7018 w 10000"/>
                    <a:gd name="connsiteY11" fmla="*/ 3312 h 10000"/>
                    <a:gd name="connsiteX12" fmla="*/ 7281 w 10000"/>
                    <a:gd name="connsiteY12" fmla="*/ 2739 h 10000"/>
                    <a:gd name="connsiteX13" fmla="*/ 7544 w 10000"/>
                    <a:gd name="connsiteY13" fmla="*/ 2166 h 10000"/>
                    <a:gd name="connsiteX14" fmla="*/ 7544 w 10000"/>
                    <a:gd name="connsiteY14" fmla="*/ 2166 h 10000"/>
                    <a:gd name="connsiteX15" fmla="*/ 7456 w 10000"/>
                    <a:gd name="connsiteY15" fmla="*/ 1720 h 10000"/>
                    <a:gd name="connsiteX16" fmla="*/ 7281 w 10000"/>
                    <a:gd name="connsiteY16" fmla="*/ 1274 h 10000"/>
                    <a:gd name="connsiteX17" fmla="*/ 7105 w 10000"/>
                    <a:gd name="connsiteY17" fmla="*/ 892 h 10000"/>
                    <a:gd name="connsiteX18" fmla="*/ 6754 w 10000"/>
                    <a:gd name="connsiteY18" fmla="*/ 574 h 10000"/>
                    <a:gd name="connsiteX19" fmla="*/ 6404 w 10000"/>
                    <a:gd name="connsiteY19" fmla="*/ 319 h 10000"/>
                    <a:gd name="connsiteX20" fmla="*/ 5965 w 10000"/>
                    <a:gd name="connsiteY20" fmla="*/ 191 h 10000"/>
                    <a:gd name="connsiteX21" fmla="*/ 5526 w 10000"/>
                    <a:gd name="connsiteY21" fmla="*/ 0 h 10000"/>
                    <a:gd name="connsiteX22" fmla="*/ 5000 w 10000"/>
                    <a:gd name="connsiteY22" fmla="*/ 0 h 10000"/>
                    <a:gd name="connsiteX23" fmla="*/ 5000 w 10000"/>
                    <a:gd name="connsiteY23" fmla="*/ 0 h 10000"/>
                    <a:gd name="connsiteX24" fmla="*/ 4561 w 10000"/>
                    <a:gd name="connsiteY24" fmla="*/ 0 h 10000"/>
                    <a:gd name="connsiteX25" fmla="*/ 4123 w 10000"/>
                    <a:gd name="connsiteY25" fmla="*/ 191 h 10000"/>
                    <a:gd name="connsiteX26" fmla="*/ 3684 w 10000"/>
                    <a:gd name="connsiteY26" fmla="*/ 319 h 10000"/>
                    <a:gd name="connsiteX27" fmla="*/ 3246 w 10000"/>
                    <a:gd name="connsiteY27" fmla="*/ 574 h 10000"/>
                    <a:gd name="connsiteX28" fmla="*/ 2982 w 10000"/>
                    <a:gd name="connsiteY28" fmla="*/ 892 h 10000"/>
                    <a:gd name="connsiteX29" fmla="*/ 2719 w 10000"/>
                    <a:gd name="connsiteY29" fmla="*/ 1274 h 10000"/>
                    <a:gd name="connsiteX30" fmla="*/ 2544 w 10000"/>
                    <a:gd name="connsiteY30" fmla="*/ 1720 h 10000"/>
                    <a:gd name="connsiteX31" fmla="*/ 2544 w 10000"/>
                    <a:gd name="connsiteY31" fmla="*/ 2166 h 10000"/>
                    <a:gd name="connsiteX32" fmla="*/ 2544 w 10000"/>
                    <a:gd name="connsiteY32" fmla="*/ 2166 h 10000"/>
                    <a:gd name="connsiteX33" fmla="*/ 2632 w 10000"/>
                    <a:gd name="connsiteY33" fmla="*/ 2739 h 10000"/>
                    <a:gd name="connsiteX34" fmla="*/ 2982 w 10000"/>
                    <a:gd name="connsiteY34" fmla="*/ 3312 h 10000"/>
                    <a:gd name="connsiteX35" fmla="*/ 3421 w 10000"/>
                    <a:gd name="connsiteY35" fmla="*/ 3822 h 10000"/>
                    <a:gd name="connsiteX36" fmla="*/ 3860 w 10000"/>
                    <a:gd name="connsiteY36" fmla="*/ 4203 h 10000"/>
                    <a:gd name="connsiteX37" fmla="*/ 3860 w 10000"/>
                    <a:gd name="connsiteY37" fmla="*/ 4203 h 10000"/>
                    <a:gd name="connsiteX38" fmla="*/ 2895 w 10000"/>
                    <a:gd name="connsiteY38" fmla="*/ 4522 h 10000"/>
                    <a:gd name="connsiteX39" fmla="*/ 2105 w 10000"/>
                    <a:gd name="connsiteY39" fmla="*/ 4905 h 10000"/>
                    <a:gd name="connsiteX40" fmla="*/ 1404 w 10000"/>
                    <a:gd name="connsiteY40" fmla="*/ 5478 h 10000"/>
                    <a:gd name="connsiteX41" fmla="*/ 877 w 10000"/>
                    <a:gd name="connsiteY41" fmla="*/ 6241 h 10000"/>
                    <a:gd name="connsiteX42" fmla="*/ 439 w 10000"/>
                    <a:gd name="connsiteY42" fmla="*/ 7005 h 10000"/>
                    <a:gd name="connsiteX43" fmla="*/ 175 w 10000"/>
                    <a:gd name="connsiteY43" fmla="*/ 7898 h 10000"/>
                    <a:gd name="connsiteX44" fmla="*/ 0 w 10000"/>
                    <a:gd name="connsiteY44" fmla="*/ 8854 h 10000"/>
                    <a:gd name="connsiteX45" fmla="*/ 0 w 10000"/>
                    <a:gd name="connsiteY45" fmla="*/ 9936 h 10000"/>
                    <a:gd name="connsiteX0" fmla="*/ 10000 w 10000"/>
                    <a:gd name="connsiteY0" fmla="*/ 8854 h 9936"/>
                    <a:gd name="connsiteX1" fmla="*/ 9912 w 10000"/>
                    <a:gd name="connsiteY1" fmla="*/ 7898 h 9936"/>
                    <a:gd name="connsiteX2" fmla="*/ 9561 w 10000"/>
                    <a:gd name="connsiteY2" fmla="*/ 7005 h 9936"/>
                    <a:gd name="connsiteX3" fmla="*/ 9211 w 10000"/>
                    <a:gd name="connsiteY3" fmla="*/ 6241 h 9936"/>
                    <a:gd name="connsiteX4" fmla="*/ 8684 w 10000"/>
                    <a:gd name="connsiteY4" fmla="*/ 5478 h 9936"/>
                    <a:gd name="connsiteX5" fmla="*/ 7982 w 10000"/>
                    <a:gd name="connsiteY5" fmla="*/ 4905 h 9936"/>
                    <a:gd name="connsiteX6" fmla="*/ 7105 w 10000"/>
                    <a:gd name="connsiteY6" fmla="*/ 4522 h 9936"/>
                    <a:gd name="connsiteX7" fmla="*/ 6140 w 10000"/>
                    <a:gd name="connsiteY7" fmla="*/ 4203 h 9936"/>
                    <a:gd name="connsiteX8" fmla="*/ 6140 w 10000"/>
                    <a:gd name="connsiteY8" fmla="*/ 4203 h 9936"/>
                    <a:gd name="connsiteX9" fmla="*/ 6667 w 10000"/>
                    <a:gd name="connsiteY9" fmla="*/ 3822 h 9936"/>
                    <a:gd name="connsiteX10" fmla="*/ 7018 w 10000"/>
                    <a:gd name="connsiteY10" fmla="*/ 3312 h 9936"/>
                    <a:gd name="connsiteX11" fmla="*/ 7281 w 10000"/>
                    <a:gd name="connsiteY11" fmla="*/ 2739 h 9936"/>
                    <a:gd name="connsiteX12" fmla="*/ 7544 w 10000"/>
                    <a:gd name="connsiteY12" fmla="*/ 2166 h 9936"/>
                    <a:gd name="connsiteX13" fmla="*/ 7544 w 10000"/>
                    <a:gd name="connsiteY13" fmla="*/ 2166 h 9936"/>
                    <a:gd name="connsiteX14" fmla="*/ 7456 w 10000"/>
                    <a:gd name="connsiteY14" fmla="*/ 1720 h 9936"/>
                    <a:gd name="connsiteX15" fmla="*/ 7281 w 10000"/>
                    <a:gd name="connsiteY15" fmla="*/ 1274 h 9936"/>
                    <a:gd name="connsiteX16" fmla="*/ 7105 w 10000"/>
                    <a:gd name="connsiteY16" fmla="*/ 892 h 9936"/>
                    <a:gd name="connsiteX17" fmla="*/ 6754 w 10000"/>
                    <a:gd name="connsiteY17" fmla="*/ 574 h 9936"/>
                    <a:gd name="connsiteX18" fmla="*/ 6404 w 10000"/>
                    <a:gd name="connsiteY18" fmla="*/ 319 h 9936"/>
                    <a:gd name="connsiteX19" fmla="*/ 5965 w 10000"/>
                    <a:gd name="connsiteY19" fmla="*/ 191 h 9936"/>
                    <a:gd name="connsiteX20" fmla="*/ 5526 w 10000"/>
                    <a:gd name="connsiteY20" fmla="*/ 0 h 9936"/>
                    <a:gd name="connsiteX21" fmla="*/ 5000 w 10000"/>
                    <a:gd name="connsiteY21" fmla="*/ 0 h 9936"/>
                    <a:gd name="connsiteX22" fmla="*/ 5000 w 10000"/>
                    <a:gd name="connsiteY22" fmla="*/ 0 h 9936"/>
                    <a:gd name="connsiteX23" fmla="*/ 4561 w 10000"/>
                    <a:gd name="connsiteY23" fmla="*/ 0 h 9936"/>
                    <a:gd name="connsiteX24" fmla="*/ 4123 w 10000"/>
                    <a:gd name="connsiteY24" fmla="*/ 191 h 9936"/>
                    <a:gd name="connsiteX25" fmla="*/ 3684 w 10000"/>
                    <a:gd name="connsiteY25" fmla="*/ 319 h 9936"/>
                    <a:gd name="connsiteX26" fmla="*/ 3246 w 10000"/>
                    <a:gd name="connsiteY26" fmla="*/ 574 h 9936"/>
                    <a:gd name="connsiteX27" fmla="*/ 2982 w 10000"/>
                    <a:gd name="connsiteY27" fmla="*/ 892 h 9936"/>
                    <a:gd name="connsiteX28" fmla="*/ 2719 w 10000"/>
                    <a:gd name="connsiteY28" fmla="*/ 1274 h 9936"/>
                    <a:gd name="connsiteX29" fmla="*/ 2544 w 10000"/>
                    <a:gd name="connsiteY29" fmla="*/ 1720 h 9936"/>
                    <a:gd name="connsiteX30" fmla="*/ 2544 w 10000"/>
                    <a:gd name="connsiteY30" fmla="*/ 2166 h 9936"/>
                    <a:gd name="connsiteX31" fmla="*/ 2544 w 10000"/>
                    <a:gd name="connsiteY31" fmla="*/ 2166 h 9936"/>
                    <a:gd name="connsiteX32" fmla="*/ 2632 w 10000"/>
                    <a:gd name="connsiteY32" fmla="*/ 2739 h 9936"/>
                    <a:gd name="connsiteX33" fmla="*/ 2982 w 10000"/>
                    <a:gd name="connsiteY33" fmla="*/ 3312 h 9936"/>
                    <a:gd name="connsiteX34" fmla="*/ 3421 w 10000"/>
                    <a:gd name="connsiteY34" fmla="*/ 3822 h 9936"/>
                    <a:gd name="connsiteX35" fmla="*/ 3860 w 10000"/>
                    <a:gd name="connsiteY35" fmla="*/ 4203 h 9936"/>
                    <a:gd name="connsiteX36" fmla="*/ 3860 w 10000"/>
                    <a:gd name="connsiteY36" fmla="*/ 4203 h 9936"/>
                    <a:gd name="connsiteX37" fmla="*/ 2895 w 10000"/>
                    <a:gd name="connsiteY37" fmla="*/ 4522 h 9936"/>
                    <a:gd name="connsiteX38" fmla="*/ 2105 w 10000"/>
                    <a:gd name="connsiteY38" fmla="*/ 4905 h 9936"/>
                    <a:gd name="connsiteX39" fmla="*/ 1404 w 10000"/>
                    <a:gd name="connsiteY39" fmla="*/ 5478 h 9936"/>
                    <a:gd name="connsiteX40" fmla="*/ 877 w 10000"/>
                    <a:gd name="connsiteY40" fmla="*/ 6241 h 9936"/>
                    <a:gd name="connsiteX41" fmla="*/ 439 w 10000"/>
                    <a:gd name="connsiteY41" fmla="*/ 7005 h 9936"/>
                    <a:gd name="connsiteX42" fmla="*/ 175 w 10000"/>
                    <a:gd name="connsiteY42" fmla="*/ 7898 h 9936"/>
                    <a:gd name="connsiteX43" fmla="*/ 0 w 10000"/>
                    <a:gd name="connsiteY43" fmla="*/ 8854 h 9936"/>
                    <a:gd name="connsiteX44" fmla="*/ 0 w 10000"/>
                    <a:gd name="connsiteY44" fmla="*/ 9936 h 9936"/>
                    <a:gd name="connsiteX0" fmla="*/ 9912 w 9912"/>
                    <a:gd name="connsiteY0" fmla="*/ 7949 h 10000"/>
                    <a:gd name="connsiteX1" fmla="*/ 9561 w 9912"/>
                    <a:gd name="connsiteY1" fmla="*/ 7050 h 10000"/>
                    <a:gd name="connsiteX2" fmla="*/ 9211 w 9912"/>
                    <a:gd name="connsiteY2" fmla="*/ 6281 h 10000"/>
                    <a:gd name="connsiteX3" fmla="*/ 8684 w 9912"/>
                    <a:gd name="connsiteY3" fmla="*/ 5513 h 10000"/>
                    <a:gd name="connsiteX4" fmla="*/ 7982 w 9912"/>
                    <a:gd name="connsiteY4" fmla="*/ 4937 h 10000"/>
                    <a:gd name="connsiteX5" fmla="*/ 7105 w 9912"/>
                    <a:gd name="connsiteY5" fmla="*/ 4551 h 10000"/>
                    <a:gd name="connsiteX6" fmla="*/ 6140 w 9912"/>
                    <a:gd name="connsiteY6" fmla="*/ 4230 h 10000"/>
                    <a:gd name="connsiteX7" fmla="*/ 6140 w 9912"/>
                    <a:gd name="connsiteY7" fmla="*/ 4230 h 10000"/>
                    <a:gd name="connsiteX8" fmla="*/ 6667 w 9912"/>
                    <a:gd name="connsiteY8" fmla="*/ 3847 h 10000"/>
                    <a:gd name="connsiteX9" fmla="*/ 7018 w 9912"/>
                    <a:gd name="connsiteY9" fmla="*/ 3333 h 10000"/>
                    <a:gd name="connsiteX10" fmla="*/ 7281 w 9912"/>
                    <a:gd name="connsiteY10" fmla="*/ 2757 h 10000"/>
                    <a:gd name="connsiteX11" fmla="*/ 7544 w 9912"/>
                    <a:gd name="connsiteY11" fmla="*/ 2180 h 10000"/>
                    <a:gd name="connsiteX12" fmla="*/ 7544 w 9912"/>
                    <a:gd name="connsiteY12" fmla="*/ 2180 h 10000"/>
                    <a:gd name="connsiteX13" fmla="*/ 7456 w 9912"/>
                    <a:gd name="connsiteY13" fmla="*/ 1731 h 10000"/>
                    <a:gd name="connsiteX14" fmla="*/ 7281 w 9912"/>
                    <a:gd name="connsiteY14" fmla="*/ 1282 h 10000"/>
                    <a:gd name="connsiteX15" fmla="*/ 7105 w 9912"/>
                    <a:gd name="connsiteY15" fmla="*/ 898 h 10000"/>
                    <a:gd name="connsiteX16" fmla="*/ 6754 w 9912"/>
                    <a:gd name="connsiteY16" fmla="*/ 578 h 10000"/>
                    <a:gd name="connsiteX17" fmla="*/ 6404 w 9912"/>
                    <a:gd name="connsiteY17" fmla="*/ 321 h 10000"/>
                    <a:gd name="connsiteX18" fmla="*/ 5965 w 9912"/>
                    <a:gd name="connsiteY18" fmla="*/ 192 h 10000"/>
                    <a:gd name="connsiteX19" fmla="*/ 5526 w 9912"/>
                    <a:gd name="connsiteY19" fmla="*/ 0 h 10000"/>
                    <a:gd name="connsiteX20" fmla="*/ 5000 w 9912"/>
                    <a:gd name="connsiteY20" fmla="*/ 0 h 10000"/>
                    <a:gd name="connsiteX21" fmla="*/ 5000 w 9912"/>
                    <a:gd name="connsiteY21" fmla="*/ 0 h 10000"/>
                    <a:gd name="connsiteX22" fmla="*/ 4561 w 9912"/>
                    <a:gd name="connsiteY22" fmla="*/ 0 h 10000"/>
                    <a:gd name="connsiteX23" fmla="*/ 4123 w 9912"/>
                    <a:gd name="connsiteY23" fmla="*/ 192 h 10000"/>
                    <a:gd name="connsiteX24" fmla="*/ 3684 w 9912"/>
                    <a:gd name="connsiteY24" fmla="*/ 321 h 10000"/>
                    <a:gd name="connsiteX25" fmla="*/ 3246 w 9912"/>
                    <a:gd name="connsiteY25" fmla="*/ 578 h 10000"/>
                    <a:gd name="connsiteX26" fmla="*/ 2982 w 9912"/>
                    <a:gd name="connsiteY26" fmla="*/ 898 h 10000"/>
                    <a:gd name="connsiteX27" fmla="*/ 2719 w 9912"/>
                    <a:gd name="connsiteY27" fmla="*/ 1282 h 10000"/>
                    <a:gd name="connsiteX28" fmla="*/ 2544 w 9912"/>
                    <a:gd name="connsiteY28" fmla="*/ 1731 h 10000"/>
                    <a:gd name="connsiteX29" fmla="*/ 2544 w 9912"/>
                    <a:gd name="connsiteY29" fmla="*/ 2180 h 10000"/>
                    <a:gd name="connsiteX30" fmla="*/ 2544 w 9912"/>
                    <a:gd name="connsiteY30" fmla="*/ 2180 h 10000"/>
                    <a:gd name="connsiteX31" fmla="*/ 2632 w 9912"/>
                    <a:gd name="connsiteY31" fmla="*/ 2757 h 10000"/>
                    <a:gd name="connsiteX32" fmla="*/ 2982 w 9912"/>
                    <a:gd name="connsiteY32" fmla="*/ 3333 h 10000"/>
                    <a:gd name="connsiteX33" fmla="*/ 3421 w 9912"/>
                    <a:gd name="connsiteY33" fmla="*/ 3847 h 10000"/>
                    <a:gd name="connsiteX34" fmla="*/ 3860 w 9912"/>
                    <a:gd name="connsiteY34" fmla="*/ 4230 h 10000"/>
                    <a:gd name="connsiteX35" fmla="*/ 3860 w 9912"/>
                    <a:gd name="connsiteY35" fmla="*/ 4230 h 10000"/>
                    <a:gd name="connsiteX36" fmla="*/ 2895 w 9912"/>
                    <a:gd name="connsiteY36" fmla="*/ 4551 h 10000"/>
                    <a:gd name="connsiteX37" fmla="*/ 2105 w 9912"/>
                    <a:gd name="connsiteY37" fmla="*/ 4937 h 10000"/>
                    <a:gd name="connsiteX38" fmla="*/ 1404 w 9912"/>
                    <a:gd name="connsiteY38" fmla="*/ 5513 h 10000"/>
                    <a:gd name="connsiteX39" fmla="*/ 877 w 9912"/>
                    <a:gd name="connsiteY39" fmla="*/ 6281 h 10000"/>
                    <a:gd name="connsiteX40" fmla="*/ 439 w 9912"/>
                    <a:gd name="connsiteY40" fmla="*/ 7050 h 10000"/>
                    <a:gd name="connsiteX41" fmla="*/ 175 w 9912"/>
                    <a:gd name="connsiteY41" fmla="*/ 7949 h 10000"/>
                    <a:gd name="connsiteX42" fmla="*/ 0 w 9912"/>
                    <a:gd name="connsiteY42" fmla="*/ 8911 h 10000"/>
                    <a:gd name="connsiteX43" fmla="*/ 0 w 9912"/>
                    <a:gd name="connsiteY43" fmla="*/ 10000 h 10000"/>
                    <a:gd name="connsiteX0" fmla="*/ 9646 w 9646"/>
                    <a:gd name="connsiteY0" fmla="*/ 7050 h 10000"/>
                    <a:gd name="connsiteX1" fmla="*/ 9293 w 9646"/>
                    <a:gd name="connsiteY1" fmla="*/ 6281 h 10000"/>
                    <a:gd name="connsiteX2" fmla="*/ 8761 w 9646"/>
                    <a:gd name="connsiteY2" fmla="*/ 5513 h 10000"/>
                    <a:gd name="connsiteX3" fmla="*/ 8053 w 9646"/>
                    <a:gd name="connsiteY3" fmla="*/ 4937 h 10000"/>
                    <a:gd name="connsiteX4" fmla="*/ 7168 w 9646"/>
                    <a:gd name="connsiteY4" fmla="*/ 4551 h 10000"/>
                    <a:gd name="connsiteX5" fmla="*/ 6195 w 9646"/>
                    <a:gd name="connsiteY5" fmla="*/ 4230 h 10000"/>
                    <a:gd name="connsiteX6" fmla="*/ 6195 w 9646"/>
                    <a:gd name="connsiteY6" fmla="*/ 4230 h 10000"/>
                    <a:gd name="connsiteX7" fmla="*/ 6726 w 9646"/>
                    <a:gd name="connsiteY7" fmla="*/ 3847 h 10000"/>
                    <a:gd name="connsiteX8" fmla="*/ 7080 w 9646"/>
                    <a:gd name="connsiteY8" fmla="*/ 3333 h 10000"/>
                    <a:gd name="connsiteX9" fmla="*/ 7346 w 9646"/>
                    <a:gd name="connsiteY9" fmla="*/ 2757 h 10000"/>
                    <a:gd name="connsiteX10" fmla="*/ 7611 w 9646"/>
                    <a:gd name="connsiteY10" fmla="*/ 2180 h 10000"/>
                    <a:gd name="connsiteX11" fmla="*/ 7611 w 9646"/>
                    <a:gd name="connsiteY11" fmla="*/ 2180 h 10000"/>
                    <a:gd name="connsiteX12" fmla="*/ 7522 w 9646"/>
                    <a:gd name="connsiteY12" fmla="*/ 1731 h 10000"/>
                    <a:gd name="connsiteX13" fmla="*/ 7346 w 9646"/>
                    <a:gd name="connsiteY13" fmla="*/ 1282 h 10000"/>
                    <a:gd name="connsiteX14" fmla="*/ 7168 w 9646"/>
                    <a:gd name="connsiteY14" fmla="*/ 898 h 10000"/>
                    <a:gd name="connsiteX15" fmla="*/ 6814 w 9646"/>
                    <a:gd name="connsiteY15" fmla="*/ 578 h 10000"/>
                    <a:gd name="connsiteX16" fmla="*/ 6461 w 9646"/>
                    <a:gd name="connsiteY16" fmla="*/ 321 h 10000"/>
                    <a:gd name="connsiteX17" fmla="*/ 6018 w 9646"/>
                    <a:gd name="connsiteY17" fmla="*/ 192 h 10000"/>
                    <a:gd name="connsiteX18" fmla="*/ 5575 w 9646"/>
                    <a:gd name="connsiteY18" fmla="*/ 0 h 10000"/>
                    <a:gd name="connsiteX19" fmla="*/ 5044 w 9646"/>
                    <a:gd name="connsiteY19" fmla="*/ 0 h 10000"/>
                    <a:gd name="connsiteX20" fmla="*/ 5044 w 9646"/>
                    <a:gd name="connsiteY20" fmla="*/ 0 h 10000"/>
                    <a:gd name="connsiteX21" fmla="*/ 4601 w 9646"/>
                    <a:gd name="connsiteY21" fmla="*/ 0 h 10000"/>
                    <a:gd name="connsiteX22" fmla="*/ 4160 w 9646"/>
                    <a:gd name="connsiteY22" fmla="*/ 192 h 10000"/>
                    <a:gd name="connsiteX23" fmla="*/ 3717 w 9646"/>
                    <a:gd name="connsiteY23" fmla="*/ 321 h 10000"/>
                    <a:gd name="connsiteX24" fmla="*/ 3275 w 9646"/>
                    <a:gd name="connsiteY24" fmla="*/ 578 h 10000"/>
                    <a:gd name="connsiteX25" fmla="*/ 3008 w 9646"/>
                    <a:gd name="connsiteY25" fmla="*/ 898 h 10000"/>
                    <a:gd name="connsiteX26" fmla="*/ 2743 w 9646"/>
                    <a:gd name="connsiteY26" fmla="*/ 1282 h 10000"/>
                    <a:gd name="connsiteX27" fmla="*/ 2567 w 9646"/>
                    <a:gd name="connsiteY27" fmla="*/ 1731 h 10000"/>
                    <a:gd name="connsiteX28" fmla="*/ 2567 w 9646"/>
                    <a:gd name="connsiteY28" fmla="*/ 2180 h 10000"/>
                    <a:gd name="connsiteX29" fmla="*/ 2567 w 9646"/>
                    <a:gd name="connsiteY29" fmla="*/ 2180 h 10000"/>
                    <a:gd name="connsiteX30" fmla="*/ 2655 w 9646"/>
                    <a:gd name="connsiteY30" fmla="*/ 2757 h 10000"/>
                    <a:gd name="connsiteX31" fmla="*/ 3008 w 9646"/>
                    <a:gd name="connsiteY31" fmla="*/ 3333 h 10000"/>
                    <a:gd name="connsiteX32" fmla="*/ 3451 w 9646"/>
                    <a:gd name="connsiteY32" fmla="*/ 3847 h 10000"/>
                    <a:gd name="connsiteX33" fmla="*/ 3894 w 9646"/>
                    <a:gd name="connsiteY33" fmla="*/ 4230 h 10000"/>
                    <a:gd name="connsiteX34" fmla="*/ 3894 w 9646"/>
                    <a:gd name="connsiteY34" fmla="*/ 4230 h 10000"/>
                    <a:gd name="connsiteX35" fmla="*/ 2921 w 9646"/>
                    <a:gd name="connsiteY35" fmla="*/ 4551 h 10000"/>
                    <a:gd name="connsiteX36" fmla="*/ 2124 w 9646"/>
                    <a:gd name="connsiteY36" fmla="*/ 4937 h 10000"/>
                    <a:gd name="connsiteX37" fmla="*/ 1416 w 9646"/>
                    <a:gd name="connsiteY37" fmla="*/ 5513 h 10000"/>
                    <a:gd name="connsiteX38" fmla="*/ 885 w 9646"/>
                    <a:gd name="connsiteY38" fmla="*/ 6281 h 10000"/>
                    <a:gd name="connsiteX39" fmla="*/ 443 w 9646"/>
                    <a:gd name="connsiteY39" fmla="*/ 7050 h 10000"/>
                    <a:gd name="connsiteX40" fmla="*/ 177 w 9646"/>
                    <a:gd name="connsiteY40" fmla="*/ 7949 h 10000"/>
                    <a:gd name="connsiteX41" fmla="*/ 0 w 9646"/>
                    <a:gd name="connsiteY41" fmla="*/ 8911 h 10000"/>
                    <a:gd name="connsiteX42" fmla="*/ 0 w 9646"/>
                    <a:gd name="connsiteY42" fmla="*/ 10000 h 10000"/>
                    <a:gd name="connsiteX0" fmla="*/ 9634 w 9634"/>
                    <a:gd name="connsiteY0" fmla="*/ 6281 h 10000"/>
                    <a:gd name="connsiteX1" fmla="*/ 9083 w 9634"/>
                    <a:gd name="connsiteY1" fmla="*/ 5513 h 10000"/>
                    <a:gd name="connsiteX2" fmla="*/ 8349 w 9634"/>
                    <a:gd name="connsiteY2" fmla="*/ 4937 h 10000"/>
                    <a:gd name="connsiteX3" fmla="*/ 7431 w 9634"/>
                    <a:gd name="connsiteY3" fmla="*/ 4551 h 10000"/>
                    <a:gd name="connsiteX4" fmla="*/ 6422 w 9634"/>
                    <a:gd name="connsiteY4" fmla="*/ 4230 h 10000"/>
                    <a:gd name="connsiteX5" fmla="*/ 6422 w 9634"/>
                    <a:gd name="connsiteY5" fmla="*/ 4230 h 10000"/>
                    <a:gd name="connsiteX6" fmla="*/ 6973 w 9634"/>
                    <a:gd name="connsiteY6" fmla="*/ 3847 h 10000"/>
                    <a:gd name="connsiteX7" fmla="*/ 7340 w 9634"/>
                    <a:gd name="connsiteY7" fmla="*/ 3333 h 10000"/>
                    <a:gd name="connsiteX8" fmla="*/ 7616 w 9634"/>
                    <a:gd name="connsiteY8" fmla="*/ 2757 h 10000"/>
                    <a:gd name="connsiteX9" fmla="*/ 7890 w 9634"/>
                    <a:gd name="connsiteY9" fmla="*/ 2180 h 10000"/>
                    <a:gd name="connsiteX10" fmla="*/ 7890 w 9634"/>
                    <a:gd name="connsiteY10" fmla="*/ 2180 h 10000"/>
                    <a:gd name="connsiteX11" fmla="*/ 7798 w 9634"/>
                    <a:gd name="connsiteY11" fmla="*/ 1731 h 10000"/>
                    <a:gd name="connsiteX12" fmla="*/ 7616 w 9634"/>
                    <a:gd name="connsiteY12" fmla="*/ 1282 h 10000"/>
                    <a:gd name="connsiteX13" fmla="*/ 7431 w 9634"/>
                    <a:gd name="connsiteY13" fmla="*/ 898 h 10000"/>
                    <a:gd name="connsiteX14" fmla="*/ 7064 w 9634"/>
                    <a:gd name="connsiteY14" fmla="*/ 578 h 10000"/>
                    <a:gd name="connsiteX15" fmla="*/ 6698 w 9634"/>
                    <a:gd name="connsiteY15" fmla="*/ 321 h 10000"/>
                    <a:gd name="connsiteX16" fmla="*/ 6239 w 9634"/>
                    <a:gd name="connsiteY16" fmla="*/ 192 h 10000"/>
                    <a:gd name="connsiteX17" fmla="*/ 5780 w 9634"/>
                    <a:gd name="connsiteY17" fmla="*/ 0 h 10000"/>
                    <a:gd name="connsiteX18" fmla="*/ 5229 w 9634"/>
                    <a:gd name="connsiteY18" fmla="*/ 0 h 10000"/>
                    <a:gd name="connsiteX19" fmla="*/ 5229 w 9634"/>
                    <a:gd name="connsiteY19" fmla="*/ 0 h 10000"/>
                    <a:gd name="connsiteX20" fmla="*/ 4770 w 9634"/>
                    <a:gd name="connsiteY20" fmla="*/ 0 h 10000"/>
                    <a:gd name="connsiteX21" fmla="*/ 4313 w 9634"/>
                    <a:gd name="connsiteY21" fmla="*/ 192 h 10000"/>
                    <a:gd name="connsiteX22" fmla="*/ 3853 w 9634"/>
                    <a:gd name="connsiteY22" fmla="*/ 321 h 10000"/>
                    <a:gd name="connsiteX23" fmla="*/ 3395 w 9634"/>
                    <a:gd name="connsiteY23" fmla="*/ 578 h 10000"/>
                    <a:gd name="connsiteX24" fmla="*/ 3118 w 9634"/>
                    <a:gd name="connsiteY24" fmla="*/ 898 h 10000"/>
                    <a:gd name="connsiteX25" fmla="*/ 2844 w 9634"/>
                    <a:gd name="connsiteY25" fmla="*/ 1282 h 10000"/>
                    <a:gd name="connsiteX26" fmla="*/ 2661 w 9634"/>
                    <a:gd name="connsiteY26" fmla="*/ 1731 h 10000"/>
                    <a:gd name="connsiteX27" fmla="*/ 2661 w 9634"/>
                    <a:gd name="connsiteY27" fmla="*/ 2180 h 10000"/>
                    <a:gd name="connsiteX28" fmla="*/ 2661 w 9634"/>
                    <a:gd name="connsiteY28" fmla="*/ 2180 h 10000"/>
                    <a:gd name="connsiteX29" fmla="*/ 2752 w 9634"/>
                    <a:gd name="connsiteY29" fmla="*/ 2757 h 10000"/>
                    <a:gd name="connsiteX30" fmla="*/ 3118 w 9634"/>
                    <a:gd name="connsiteY30" fmla="*/ 3333 h 10000"/>
                    <a:gd name="connsiteX31" fmla="*/ 3578 w 9634"/>
                    <a:gd name="connsiteY31" fmla="*/ 3847 h 10000"/>
                    <a:gd name="connsiteX32" fmla="*/ 4037 w 9634"/>
                    <a:gd name="connsiteY32" fmla="*/ 4230 h 10000"/>
                    <a:gd name="connsiteX33" fmla="*/ 4037 w 9634"/>
                    <a:gd name="connsiteY33" fmla="*/ 4230 h 10000"/>
                    <a:gd name="connsiteX34" fmla="*/ 3028 w 9634"/>
                    <a:gd name="connsiteY34" fmla="*/ 4551 h 10000"/>
                    <a:gd name="connsiteX35" fmla="*/ 2202 w 9634"/>
                    <a:gd name="connsiteY35" fmla="*/ 4937 h 10000"/>
                    <a:gd name="connsiteX36" fmla="*/ 1468 w 9634"/>
                    <a:gd name="connsiteY36" fmla="*/ 5513 h 10000"/>
                    <a:gd name="connsiteX37" fmla="*/ 917 w 9634"/>
                    <a:gd name="connsiteY37" fmla="*/ 6281 h 10000"/>
                    <a:gd name="connsiteX38" fmla="*/ 459 w 9634"/>
                    <a:gd name="connsiteY38" fmla="*/ 7050 h 10000"/>
                    <a:gd name="connsiteX39" fmla="*/ 183 w 9634"/>
                    <a:gd name="connsiteY39" fmla="*/ 7949 h 10000"/>
                    <a:gd name="connsiteX40" fmla="*/ 0 w 9634"/>
                    <a:gd name="connsiteY40" fmla="*/ 8911 h 10000"/>
                    <a:gd name="connsiteX41" fmla="*/ 0 w 9634"/>
                    <a:gd name="connsiteY41" fmla="*/ 1000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9634" h="10000">
                      <a:moveTo>
                        <a:pt x="9634" y="6281"/>
                      </a:moveTo>
                      <a:lnTo>
                        <a:pt x="9083" y="5513"/>
                      </a:lnTo>
                      <a:lnTo>
                        <a:pt x="8349" y="4937"/>
                      </a:lnTo>
                      <a:lnTo>
                        <a:pt x="7431" y="4551"/>
                      </a:lnTo>
                      <a:lnTo>
                        <a:pt x="6422" y="4230"/>
                      </a:lnTo>
                      <a:lnTo>
                        <a:pt x="6422" y="4230"/>
                      </a:lnTo>
                      <a:lnTo>
                        <a:pt x="6973" y="3847"/>
                      </a:lnTo>
                      <a:lnTo>
                        <a:pt x="7340" y="3333"/>
                      </a:lnTo>
                      <a:cubicBezTo>
                        <a:pt x="7432" y="3142"/>
                        <a:pt x="7523" y="2948"/>
                        <a:pt x="7616" y="2757"/>
                      </a:cubicBezTo>
                      <a:lnTo>
                        <a:pt x="7890" y="2180"/>
                      </a:lnTo>
                      <a:lnTo>
                        <a:pt x="7890" y="2180"/>
                      </a:lnTo>
                      <a:cubicBezTo>
                        <a:pt x="7860" y="2030"/>
                        <a:pt x="7828" y="1881"/>
                        <a:pt x="7798" y="1731"/>
                      </a:cubicBezTo>
                      <a:cubicBezTo>
                        <a:pt x="7738" y="1581"/>
                        <a:pt x="7676" y="1431"/>
                        <a:pt x="7616" y="1282"/>
                      </a:cubicBezTo>
                      <a:cubicBezTo>
                        <a:pt x="7553" y="1154"/>
                        <a:pt x="7493" y="1026"/>
                        <a:pt x="7431" y="898"/>
                      </a:cubicBezTo>
                      <a:lnTo>
                        <a:pt x="7064" y="578"/>
                      </a:lnTo>
                      <a:lnTo>
                        <a:pt x="6698" y="321"/>
                      </a:lnTo>
                      <a:lnTo>
                        <a:pt x="6239" y="192"/>
                      </a:lnTo>
                      <a:lnTo>
                        <a:pt x="5780" y="0"/>
                      </a:lnTo>
                      <a:lnTo>
                        <a:pt x="5229" y="0"/>
                      </a:lnTo>
                      <a:lnTo>
                        <a:pt x="5229" y="0"/>
                      </a:lnTo>
                      <a:lnTo>
                        <a:pt x="4770" y="0"/>
                      </a:lnTo>
                      <a:lnTo>
                        <a:pt x="4313" y="192"/>
                      </a:lnTo>
                      <a:lnTo>
                        <a:pt x="3853" y="321"/>
                      </a:lnTo>
                      <a:lnTo>
                        <a:pt x="3395" y="578"/>
                      </a:lnTo>
                      <a:lnTo>
                        <a:pt x="3118" y="898"/>
                      </a:lnTo>
                      <a:lnTo>
                        <a:pt x="2844" y="1282"/>
                      </a:lnTo>
                      <a:cubicBezTo>
                        <a:pt x="2784" y="1431"/>
                        <a:pt x="2721" y="1581"/>
                        <a:pt x="2661" y="1731"/>
                      </a:cubicBezTo>
                      <a:lnTo>
                        <a:pt x="2661" y="2180"/>
                      </a:lnTo>
                      <a:lnTo>
                        <a:pt x="2661" y="2180"/>
                      </a:lnTo>
                      <a:cubicBezTo>
                        <a:pt x="2691" y="2372"/>
                        <a:pt x="2722" y="2564"/>
                        <a:pt x="2752" y="2757"/>
                      </a:cubicBezTo>
                      <a:lnTo>
                        <a:pt x="3118" y="3333"/>
                      </a:lnTo>
                      <a:lnTo>
                        <a:pt x="3578" y="3847"/>
                      </a:lnTo>
                      <a:lnTo>
                        <a:pt x="4037" y="4230"/>
                      </a:lnTo>
                      <a:lnTo>
                        <a:pt x="4037" y="4230"/>
                      </a:lnTo>
                      <a:lnTo>
                        <a:pt x="3028" y="4551"/>
                      </a:lnTo>
                      <a:lnTo>
                        <a:pt x="2202" y="4937"/>
                      </a:lnTo>
                      <a:lnTo>
                        <a:pt x="1468" y="5513"/>
                      </a:lnTo>
                      <a:lnTo>
                        <a:pt x="917" y="6281"/>
                      </a:lnTo>
                      <a:lnTo>
                        <a:pt x="459" y="7050"/>
                      </a:lnTo>
                      <a:lnTo>
                        <a:pt x="183" y="7949"/>
                      </a:lnTo>
                      <a:lnTo>
                        <a:pt x="0" y="8911"/>
                      </a:lnTo>
                      <a:lnTo>
                        <a:pt x="0" y="10000"/>
                      </a:lnTo>
                    </a:path>
                  </a:pathLst>
                </a:custGeom>
                <a:noFill/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>
                    <a:defRPr/>
                  </a:pPr>
                  <a:endParaRPr lang="en-US" sz="1800">
                    <a:solidFill>
                      <a:srgbClr val="263147"/>
                    </a:solidFill>
                    <a:cs typeface="Arial" charset="0"/>
                  </a:endParaRPr>
                </a:p>
              </p:txBody>
            </p:sp>
            <p:cxnSp>
              <p:nvCxnSpPr>
                <p:cNvPr id="25" name="Connecteur droit 325"/>
                <p:cNvCxnSpPr/>
                <p:nvPr/>
              </p:nvCxnSpPr>
              <p:spPr>
                <a:xfrm flipV="1">
                  <a:off x="4476193" y="4957472"/>
                  <a:ext cx="87297" cy="4115"/>
                </a:xfrm>
                <a:prstGeom prst="line">
                  <a:avLst/>
                </a:prstGeom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9" name="Groupe 32"/>
            <p:cNvGrpSpPr>
              <a:grpSpLocks/>
            </p:cNvGrpSpPr>
            <p:nvPr userDrawn="1"/>
          </p:nvGrpSpPr>
          <p:grpSpPr bwMode="auto">
            <a:xfrm>
              <a:off x="8691235" y="2740981"/>
              <a:ext cx="389203" cy="362534"/>
              <a:chOff x="4999013" y="3508177"/>
              <a:chExt cx="228601" cy="217487"/>
            </a:xfrm>
          </p:grpSpPr>
          <p:sp>
            <p:nvSpPr>
              <p:cNvPr id="16" name="Freeform 213"/>
              <p:cNvSpPr>
                <a:spLocks/>
              </p:cNvSpPr>
              <p:nvPr/>
            </p:nvSpPr>
            <p:spPr bwMode="auto">
              <a:xfrm>
                <a:off x="4999361" y="3508591"/>
                <a:ext cx="85862" cy="83804"/>
              </a:xfrm>
              <a:custGeom>
                <a:avLst/>
                <a:gdLst/>
                <a:ahLst/>
                <a:cxnLst>
                  <a:cxn ang="0">
                    <a:pos x="54" y="42"/>
                  </a:cxn>
                  <a:cxn ang="0">
                    <a:pos x="54" y="42"/>
                  </a:cxn>
                  <a:cxn ang="0">
                    <a:pos x="54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2" y="53"/>
                  </a:cxn>
                  <a:cxn ang="0">
                    <a:pos x="12" y="53"/>
                  </a:cxn>
                  <a:cxn ang="0">
                    <a:pos x="7" y="53"/>
                  </a:cxn>
                  <a:cxn ang="0">
                    <a:pos x="3" y="51"/>
                  </a:cxn>
                  <a:cxn ang="0">
                    <a:pos x="0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7"/>
                  </a:cxn>
                  <a:cxn ang="0">
                    <a:pos x="3" y="3"/>
                  </a:cxn>
                  <a:cxn ang="0">
                    <a:pos x="7" y="0"/>
                  </a:cxn>
                  <a:cxn ang="0">
                    <a:pos x="12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4" y="7"/>
                  </a:cxn>
                  <a:cxn ang="0">
                    <a:pos x="54" y="12"/>
                  </a:cxn>
                  <a:cxn ang="0">
                    <a:pos x="54" y="42"/>
                  </a:cxn>
                </a:cxnLst>
                <a:rect l="0" t="0" r="r" b="b"/>
                <a:pathLst>
                  <a:path w="54" h="53">
                    <a:moveTo>
                      <a:pt x="54" y="42"/>
                    </a:moveTo>
                    <a:lnTo>
                      <a:pt x="54" y="42"/>
                    </a:lnTo>
                    <a:lnTo>
                      <a:pt x="54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2" y="53"/>
                    </a:lnTo>
                    <a:lnTo>
                      <a:pt x="12" y="53"/>
                    </a:lnTo>
                    <a:lnTo>
                      <a:pt x="7" y="53"/>
                    </a:lnTo>
                    <a:lnTo>
                      <a:pt x="3" y="51"/>
                    </a:lnTo>
                    <a:lnTo>
                      <a:pt x="0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7" y="0"/>
                    </a:lnTo>
                    <a:lnTo>
                      <a:pt x="1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4" y="7"/>
                    </a:lnTo>
                    <a:lnTo>
                      <a:pt x="54" y="12"/>
                    </a:lnTo>
                    <a:lnTo>
                      <a:pt x="54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7" name="Freeform 214"/>
              <p:cNvSpPr>
                <a:spLocks/>
              </p:cNvSpPr>
              <p:nvPr/>
            </p:nvSpPr>
            <p:spPr bwMode="auto">
              <a:xfrm>
                <a:off x="5139770" y="3508591"/>
                <a:ext cx="87881" cy="83804"/>
              </a:xfrm>
              <a:custGeom>
                <a:avLst/>
                <a:gdLst/>
                <a:ahLst/>
                <a:cxnLst>
                  <a:cxn ang="0">
                    <a:pos x="55" y="42"/>
                  </a:cxn>
                  <a:cxn ang="0">
                    <a:pos x="55" y="42"/>
                  </a:cxn>
                  <a:cxn ang="0">
                    <a:pos x="53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1" y="53"/>
                  </a:cxn>
                  <a:cxn ang="0">
                    <a:pos x="11" y="53"/>
                  </a:cxn>
                  <a:cxn ang="0">
                    <a:pos x="8" y="53"/>
                  </a:cxn>
                  <a:cxn ang="0">
                    <a:pos x="4" y="51"/>
                  </a:cxn>
                  <a:cxn ang="0">
                    <a:pos x="1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4" y="3"/>
                  </a:cxn>
                  <a:cxn ang="0">
                    <a:pos x="8" y="0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3" y="7"/>
                  </a:cxn>
                  <a:cxn ang="0">
                    <a:pos x="55" y="12"/>
                  </a:cxn>
                  <a:cxn ang="0">
                    <a:pos x="55" y="42"/>
                  </a:cxn>
                </a:cxnLst>
                <a:rect l="0" t="0" r="r" b="b"/>
                <a:pathLst>
                  <a:path w="55" h="53">
                    <a:moveTo>
                      <a:pt x="55" y="42"/>
                    </a:moveTo>
                    <a:lnTo>
                      <a:pt x="55" y="42"/>
                    </a:lnTo>
                    <a:lnTo>
                      <a:pt x="53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1" y="53"/>
                    </a:lnTo>
                    <a:lnTo>
                      <a:pt x="11" y="53"/>
                    </a:lnTo>
                    <a:lnTo>
                      <a:pt x="8" y="53"/>
                    </a:lnTo>
                    <a:lnTo>
                      <a:pt x="4" y="51"/>
                    </a:lnTo>
                    <a:lnTo>
                      <a:pt x="1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4" y="3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3" y="7"/>
                    </a:lnTo>
                    <a:lnTo>
                      <a:pt x="55" y="12"/>
                    </a:lnTo>
                    <a:lnTo>
                      <a:pt x="55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8" name="Freeform 215"/>
              <p:cNvSpPr>
                <a:spLocks/>
              </p:cNvSpPr>
              <p:nvPr/>
            </p:nvSpPr>
            <p:spPr bwMode="auto">
              <a:xfrm>
                <a:off x="5071081" y="3640011"/>
                <a:ext cx="84851" cy="85709"/>
              </a:xfrm>
              <a:custGeom>
                <a:avLst/>
                <a:gdLst/>
                <a:ahLst/>
                <a:cxnLst>
                  <a:cxn ang="0">
                    <a:pos x="36" y="54"/>
                  </a:cxn>
                  <a:cxn ang="0">
                    <a:pos x="29" y="54"/>
                  </a:cxn>
                  <a:cxn ang="0">
                    <a:pos x="11" y="54"/>
                  </a:cxn>
                  <a:cxn ang="0">
                    <a:pos x="11" y="54"/>
                  </a:cxn>
                  <a:cxn ang="0">
                    <a:pos x="7" y="53"/>
                  </a:cxn>
                  <a:cxn ang="0">
                    <a:pos x="3" y="50"/>
                  </a:cxn>
                  <a:cxn ang="0">
                    <a:pos x="1" y="46"/>
                  </a:cxn>
                  <a:cxn ang="0">
                    <a:pos x="0" y="43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3" y="3"/>
                  </a:cxn>
                  <a:cxn ang="0">
                    <a:pos x="7" y="1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1"/>
                  </a:cxn>
                  <a:cxn ang="0">
                    <a:pos x="50" y="3"/>
                  </a:cxn>
                  <a:cxn ang="0">
                    <a:pos x="53" y="7"/>
                  </a:cxn>
                  <a:cxn ang="0">
                    <a:pos x="54" y="12"/>
                  </a:cxn>
                  <a:cxn ang="0">
                    <a:pos x="54" y="43"/>
                  </a:cxn>
                </a:cxnLst>
                <a:rect l="0" t="0" r="r" b="b"/>
                <a:pathLst>
                  <a:path w="54" h="54">
                    <a:moveTo>
                      <a:pt x="36" y="54"/>
                    </a:moveTo>
                    <a:lnTo>
                      <a:pt x="29" y="54"/>
                    </a:lnTo>
                    <a:lnTo>
                      <a:pt x="11" y="54"/>
                    </a:lnTo>
                    <a:lnTo>
                      <a:pt x="11" y="54"/>
                    </a:lnTo>
                    <a:lnTo>
                      <a:pt x="7" y="53"/>
                    </a:lnTo>
                    <a:lnTo>
                      <a:pt x="3" y="50"/>
                    </a:lnTo>
                    <a:lnTo>
                      <a:pt x="1" y="46"/>
                    </a:lnTo>
                    <a:lnTo>
                      <a:pt x="0" y="43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3" y="3"/>
                    </a:lnTo>
                    <a:lnTo>
                      <a:pt x="7" y="1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1"/>
                    </a:lnTo>
                    <a:lnTo>
                      <a:pt x="50" y="3"/>
                    </a:lnTo>
                    <a:lnTo>
                      <a:pt x="53" y="7"/>
                    </a:lnTo>
                    <a:lnTo>
                      <a:pt x="54" y="12"/>
                    </a:lnTo>
                    <a:lnTo>
                      <a:pt x="54" y="43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9" name="Freeform 216"/>
              <p:cNvSpPr>
                <a:spLocks/>
              </p:cNvSpPr>
              <p:nvPr/>
            </p:nvSpPr>
            <p:spPr bwMode="auto">
              <a:xfrm>
                <a:off x="5037746" y="3596204"/>
                <a:ext cx="148490" cy="17142"/>
              </a:xfrm>
              <a:custGeom>
                <a:avLst/>
                <a:gdLst/>
                <a:ahLst/>
                <a:cxnLst>
                  <a:cxn ang="0">
                    <a:pos x="94" y="0"/>
                  </a:cxn>
                  <a:cxn ang="0">
                    <a:pos x="94" y="0"/>
                  </a:cxn>
                  <a:cxn ang="0">
                    <a:pos x="94" y="5"/>
                  </a:cxn>
                  <a:cxn ang="0">
                    <a:pos x="92" y="9"/>
                  </a:cxn>
                  <a:cxn ang="0">
                    <a:pos x="88" y="10"/>
                  </a:cxn>
                  <a:cxn ang="0">
                    <a:pos x="83" y="11"/>
                  </a:cxn>
                  <a:cxn ang="0">
                    <a:pos x="47" y="11"/>
                  </a:cxn>
                  <a:cxn ang="0">
                    <a:pos x="12" y="11"/>
                  </a:cxn>
                  <a:cxn ang="0">
                    <a:pos x="12" y="11"/>
                  </a:cxn>
                  <a:cxn ang="0">
                    <a:pos x="8" y="10"/>
                  </a:cxn>
                  <a:cxn ang="0">
                    <a:pos x="4" y="9"/>
                  </a:cxn>
                  <a:cxn ang="0">
                    <a:pos x="2" y="5"/>
                  </a:cxn>
                  <a:cxn ang="0">
                    <a:pos x="0" y="0"/>
                  </a:cxn>
                </a:cxnLst>
                <a:rect l="0" t="0" r="r" b="b"/>
                <a:pathLst>
                  <a:path w="94" h="11">
                    <a:moveTo>
                      <a:pt x="94" y="0"/>
                    </a:moveTo>
                    <a:lnTo>
                      <a:pt x="94" y="0"/>
                    </a:lnTo>
                    <a:lnTo>
                      <a:pt x="94" y="5"/>
                    </a:lnTo>
                    <a:lnTo>
                      <a:pt x="92" y="9"/>
                    </a:lnTo>
                    <a:lnTo>
                      <a:pt x="88" y="10"/>
                    </a:lnTo>
                    <a:lnTo>
                      <a:pt x="83" y="11"/>
                    </a:lnTo>
                    <a:lnTo>
                      <a:pt x="47" y="11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8" y="10"/>
                    </a:lnTo>
                    <a:lnTo>
                      <a:pt x="4" y="9"/>
                    </a:lnTo>
                    <a:lnTo>
                      <a:pt x="2" y="5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0" name="Line 217"/>
              <p:cNvSpPr>
                <a:spLocks noChangeShapeType="1"/>
              </p:cNvSpPr>
              <p:nvPr/>
            </p:nvSpPr>
            <p:spPr bwMode="auto">
              <a:xfrm flipV="1">
                <a:off x="5112496" y="3613346"/>
                <a:ext cx="2020" cy="26665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10" name="Groupe 281"/>
            <p:cNvGrpSpPr>
              <a:grpSpLocks/>
            </p:cNvGrpSpPr>
            <p:nvPr userDrawn="1"/>
          </p:nvGrpSpPr>
          <p:grpSpPr bwMode="auto">
            <a:xfrm>
              <a:off x="5543115" y="3570780"/>
              <a:ext cx="562532" cy="335672"/>
              <a:chOff x="3909988" y="7116564"/>
              <a:chExt cx="268288" cy="163512"/>
            </a:xfrm>
          </p:grpSpPr>
          <p:sp>
            <p:nvSpPr>
              <p:cNvPr id="12" name="Line 326"/>
              <p:cNvSpPr>
                <a:spLocks noChangeShapeType="1"/>
              </p:cNvSpPr>
              <p:nvPr/>
            </p:nvSpPr>
            <p:spPr bwMode="auto">
              <a:xfrm>
                <a:off x="3909880" y="7120976"/>
                <a:ext cx="1640" cy="1577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3" name="Line 327"/>
              <p:cNvSpPr>
                <a:spLocks noChangeShapeType="1"/>
              </p:cNvSpPr>
              <p:nvPr/>
            </p:nvSpPr>
            <p:spPr bwMode="auto">
              <a:xfrm>
                <a:off x="3911520" y="7278723"/>
                <a:ext cx="266571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4" name="Freeform 328"/>
              <p:cNvSpPr>
                <a:spLocks/>
              </p:cNvSpPr>
              <p:nvPr/>
            </p:nvSpPr>
            <p:spPr bwMode="auto">
              <a:xfrm>
                <a:off x="3936127" y="7143401"/>
                <a:ext cx="179628" cy="115991"/>
              </a:xfrm>
              <a:custGeom>
                <a:avLst/>
                <a:gdLst/>
                <a:ahLst/>
                <a:cxnLst>
                  <a:cxn ang="0">
                    <a:pos x="0" y="73"/>
                  </a:cxn>
                  <a:cxn ang="0">
                    <a:pos x="34" y="39"/>
                  </a:cxn>
                  <a:cxn ang="0">
                    <a:pos x="55" y="59"/>
                  </a:cxn>
                  <a:cxn ang="0">
                    <a:pos x="114" y="0"/>
                  </a:cxn>
                </a:cxnLst>
                <a:rect l="0" t="0" r="r" b="b"/>
                <a:pathLst>
                  <a:path w="114" h="73">
                    <a:moveTo>
                      <a:pt x="0" y="73"/>
                    </a:moveTo>
                    <a:lnTo>
                      <a:pt x="34" y="39"/>
                    </a:lnTo>
                    <a:lnTo>
                      <a:pt x="55" y="59"/>
                    </a:lnTo>
                    <a:lnTo>
                      <a:pt x="114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5" name="Freeform 329"/>
              <p:cNvSpPr>
                <a:spLocks/>
              </p:cNvSpPr>
              <p:nvPr/>
            </p:nvSpPr>
            <p:spPr bwMode="auto">
              <a:xfrm>
                <a:off x="4087867" y="7116337"/>
                <a:ext cx="50854" cy="556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2" y="0"/>
                  </a:cxn>
                  <a:cxn ang="0">
                    <a:pos x="32" y="35"/>
                  </a:cxn>
                </a:cxnLst>
                <a:rect l="0" t="0" r="r" b="b"/>
                <a:pathLst>
                  <a:path w="32" h="35">
                    <a:moveTo>
                      <a:pt x="0" y="0"/>
                    </a:moveTo>
                    <a:lnTo>
                      <a:pt x="32" y="0"/>
                    </a:lnTo>
                    <a:lnTo>
                      <a:pt x="32" y="3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sp>
          <p:nvSpPr>
            <p:cNvPr id="11" name="Freeform 72"/>
            <p:cNvSpPr>
              <a:spLocks/>
            </p:cNvSpPr>
            <p:nvPr userDrawn="1"/>
          </p:nvSpPr>
          <p:spPr bwMode="auto">
            <a:xfrm>
              <a:off x="2579688" y="3656035"/>
              <a:ext cx="581290" cy="349236"/>
            </a:xfrm>
            <a:custGeom>
              <a:avLst/>
              <a:gdLst/>
              <a:ahLst/>
              <a:cxnLst>
                <a:cxn ang="0">
                  <a:pos x="180" y="132"/>
                </a:cxn>
                <a:cxn ang="0">
                  <a:pos x="193" y="129"/>
                </a:cxn>
                <a:cxn ang="0">
                  <a:pos x="204" y="121"/>
                </a:cxn>
                <a:cxn ang="0">
                  <a:pos x="212" y="110"/>
                </a:cxn>
                <a:cxn ang="0">
                  <a:pos x="215" y="97"/>
                </a:cxn>
                <a:cxn ang="0">
                  <a:pos x="215" y="90"/>
                </a:cxn>
                <a:cxn ang="0">
                  <a:pos x="208" y="77"/>
                </a:cxn>
                <a:cxn ang="0">
                  <a:pos x="199" y="68"/>
                </a:cxn>
                <a:cxn ang="0">
                  <a:pos x="187" y="63"/>
                </a:cxn>
                <a:cxn ang="0">
                  <a:pos x="180" y="62"/>
                </a:cxn>
                <a:cxn ang="0">
                  <a:pos x="179" y="62"/>
                </a:cxn>
                <a:cxn ang="0">
                  <a:pos x="179" y="61"/>
                </a:cxn>
                <a:cxn ang="0">
                  <a:pos x="174" y="36"/>
                </a:cxn>
                <a:cxn ang="0">
                  <a:pos x="161" y="17"/>
                </a:cxn>
                <a:cxn ang="0">
                  <a:pos x="142" y="5"/>
                </a:cxn>
                <a:cxn ang="0">
                  <a:pos x="120" y="0"/>
                </a:cxn>
                <a:cxn ang="0">
                  <a:pos x="109" y="1"/>
                </a:cxn>
                <a:cxn ang="0">
                  <a:pos x="92" y="6"/>
                </a:cxn>
                <a:cxn ang="0">
                  <a:pos x="78" y="17"/>
                </a:cxn>
                <a:cxn ang="0">
                  <a:pos x="66" y="31"/>
                </a:cxn>
                <a:cxn ang="0">
                  <a:pos x="62" y="39"/>
                </a:cxn>
                <a:cxn ang="0">
                  <a:pos x="47" y="36"/>
                </a:cxn>
                <a:cxn ang="0">
                  <a:pos x="38" y="38"/>
                </a:cxn>
                <a:cxn ang="0">
                  <a:pos x="21" y="45"/>
                </a:cxn>
                <a:cxn ang="0">
                  <a:pos x="8" y="58"/>
                </a:cxn>
                <a:cxn ang="0">
                  <a:pos x="2" y="75"/>
                </a:cxn>
                <a:cxn ang="0">
                  <a:pos x="0" y="85"/>
                </a:cxn>
                <a:cxn ang="0">
                  <a:pos x="4" y="102"/>
                </a:cxn>
                <a:cxn ang="0">
                  <a:pos x="14" y="118"/>
                </a:cxn>
                <a:cxn ang="0">
                  <a:pos x="30" y="128"/>
                </a:cxn>
                <a:cxn ang="0">
                  <a:pos x="47" y="132"/>
                </a:cxn>
                <a:cxn ang="0">
                  <a:pos x="147" y="132"/>
                </a:cxn>
              </a:cxnLst>
              <a:rect l="0" t="0" r="r" b="b"/>
              <a:pathLst>
                <a:path w="215" h="132">
                  <a:moveTo>
                    <a:pt x="180" y="132"/>
                  </a:moveTo>
                  <a:lnTo>
                    <a:pt x="180" y="132"/>
                  </a:lnTo>
                  <a:lnTo>
                    <a:pt x="187" y="132"/>
                  </a:lnTo>
                  <a:lnTo>
                    <a:pt x="193" y="129"/>
                  </a:lnTo>
                  <a:lnTo>
                    <a:pt x="199" y="125"/>
                  </a:lnTo>
                  <a:lnTo>
                    <a:pt x="204" y="121"/>
                  </a:lnTo>
                  <a:lnTo>
                    <a:pt x="208" y="116"/>
                  </a:lnTo>
                  <a:lnTo>
                    <a:pt x="212" y="110"/>
                  </a:lnTo>
                  <a:lnTo>
                    <a:pt x="215" y="104"/>
                  </a:lnTo>
                  <a:lnTo>
                    <a:pt x="215" y="97"/>
                  </a:lnTo>
                  <a:lnTo>
                    <a:pt x="215" y="97"/>
                  </a:lnTo>
                  <a:lnTo>
                    <a:pt x="215" y="90"/>
                  </a:lnTo>
                  <a:lnTo>
                    <a:pt x="212" y="83"/>
                  </a:lnTo>
                  <a:lnTo>
                    <a:pt x="208" y="77"/>
                  </a:lnTo>
                  <a:lnTo>
                    <a:pt x="204" y="72"/>
                  </a:lnTo>
                  <a:lnTo>
                    <a:pt x="199" y="68"/>
                  </a:lnTo>
                  <a:lnTo>
                    <a:pt x="193" y="64"/>
                  </a:lnTo>
                  <a:lnTo>
                    <a:pt x="187" y="63"/>
                  </a:lnTo>
                  <a:lnTo>
                    <a:pt x="180" y="62"/>
                  </a:lnTo>
                  <a:lnTo>
                    <a:pt x="180" y="62"/>
                  </a:lnTo>
                  <a:lnTo>
                    <a:pt x="179" y="62"/>
                  </a:lnTo>
                  <a:lnTo>
                    <a:pt x="179" y="62"/>
                  </a:lnTo>
                  <a:lnTo>
                    <a:pt x="179" y="61"/>
                  </a:lnTo>
                  <a:lnTo>
                    <a:pt x="179" y="61"/>
                  </a:lnTo>
                  <a:lnTo>
                    <a:pt x="178" y="48"/>
                  </a:lnTo>
                  <a:lnTo>
                    <a:pt x="174" y="36"/>
                  </a:lnTo>
                  <a:lnTo>
                    <a:pt x="169" y="26"/>
                  </a:lnTo>
                  <a:lnTo>
                    <a:pt x="161" y="17"/>
                  </a:lnTo>
                  <a:lnTo>
                    <a:pt x="152" y="10"/>
                  </a:lnTo>
                  <a:lnTo>
                    <a:pt x="142" y="5"/>
                  </a:lnTo>
                  <a:lnTo>
                    <a:pt x="131" y="1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09" y="1"/>
                  </a:lnTo>
                  <a:lnTo>
                    <a:pt x="101" y="2"/>
                  </a:lnTo>
                  <a:lnTo>
                    <a:pt x="92" y="6"/>
                  </a:lnTo>
                  <a:lnTo>
                    <a:pt x="84" y="11"/>
                  </a:lnTo>
                  <a:lnTo>
                    <a:pt x="78" y="17"/>
                  </a:lnTo>
                  <a:lnTo>
                    <a:pt x="71" y="24"/>
                  </a:lnTo>
                  <a:lnTo>
                    <a:pt x="66" y="31"/>
                  </a:lnTo>
                  <a:lnTo>
                    <a:pt x="62" y="39"/>
                  </a:lnTo>
                  <a:lnTo>
                    <a:pt x="62" y="39"/>
                  </a:lnTo>
                  <a:lnTo>
                    <a:pt x="55" y="38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38" y="38"/>
                  </a:lnTo>
                  <a:lnTo>
                    <a:pt x="30" y="40"/>
                  </a:lnTo>
                  <a:lnTo>
                    <a:pt x="21" y="45"/>
                  </a:lnTo>
                  <a:lnTo>
                    <a:pt x="14" y="50"/>
                  </a:lnTo>
                  <a:lnTo>
                    <a:pt x="8" y="58"/>
                  </a:lnTo>
                  <a:lnTo>
                    <a:pt x="4" y="66"/>
                  </a:lnTo>
                  <a:lnTo>
                    <a:pt x="2" y="7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2" y="94"/>
                  </a:lnTo>
                  <a:lnTo>
                    <a:pt x="4" y="102"/>
                  </a:lnTo>
                  <a:lnTo>
                    <a:pt x="8" y="111"/>
                  </a:lnTo>
                  <a:lnTo>
                    <a:pt x="14" y="118"/>
                  </a:lnTo>
                  <a:lnTo>
                    <a:pt x="21" y="124"/>
                  </a:lnTo>
                  <a:lnTo>
                    <a:pt x="30" y="128"/>
                  </a:lnTo>
                  <a:lnTo>
                    <a:pt x="38" y="130"/>
                  </a:lnTo>
                  <a:lnTo>
                    <a:pt x="47" y="132"/>
                  </a:lnTo>
                  <a:lnTo>
                    <a:pt x="47" y="132"/>
                  </a:lnTo>
                  <a:lnTo>
                    <a:pt x="147" y="132"/>
                  </a:lnTo>
                </a:path>
              </a:pathLst>
            </a:custGeom>
            <a:noFill/>
            <a:ln w="1905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lIns="83969" tIns="41985" rIns="83969" bIns="41985"/>
            <a:lstStyle/>
            <a:p>
              <a:pPr defTabSz="914400">
                <a:defRPr/>
              </a:pPr>
              <a:endParaRPr lang="en-US" sz="1800">
                <a:solidFill>
                  <a:srgbClr val="263147"/>
                </a:solidFill>
                <a:cs typeface="Arial" charset="0"/>
              </a:endParaRPr>
            </a:p>
          </p:txBody>
        </p:sp>
      </p:grpSp>
      <p:graphicFrame>
        <p:nvGraphicFramePr>
          <p:cNvPr id="42" name="Object 2" hidden="1"/>
          <p:cNvGraphicFramePr>
            <a:graphicFrameLocks noChangeAspect="1"/>
          </p:cNvGraphicFramePr>
          <p:nvPr/>
        </p:nvGraphicFramePr>
        <p:xfrm>
          <a:off x="0" y="0"/>
          <a:ext cx="158222" cy="158750"/>
        </p:xfrm>
        <a:graphic>
          <a:graphicData uri="http://schemas.openxmlformats.org/presentationml/2006/ole">
            <p:oleObj spid="_x0000_s400387" name="think-cell Slide" r:id="rId6" imgW="360" imgH="360" progId="">
              <p:embed/>
            </p:oleObj>
          </a:graphicData>
        </a:graphic>
      </p:graphicFrame>
      <p:sp>
        <p:nvSpPr>
          <p:cNvPr id="43" name="Rectangle 7"/>
          <p:cNvSpPr/>
          <p:nvPr>
            <p:custDataLst>
              <p:tags r:id="rId2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xmlns="" val="414389464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6679" name="Picture 7" descr="Isis-Mobile-Wallet"/>
          <p:cNvPicPr>
            <a:picLocks noChangeAspect="1" noChangeArrowheads="1"/>
          </p:cNvPicPr>
          <p:nvPr userDrawn="1"/>
        </p:nvPicPr>
        <p:blipFill>
          <a:blip r:embed="rId4" cstate="print"/>
          <a:srcRect r="27500"/>
          <a:stretch>
            <a:fillRect/>
          </a:stretch>
        </p:blipFill>
        <p:spPr bwMode="auto">
          <a:xfrm>
            <a:off x="0" y="0"/>
            <a:ext cx="9906000" cy="49530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222" cy="158750"/>
        </p:xfrm>
        <a:graphic>
          <a:graphicData uri="http://schemas.openxmlformats.org/presentationml/2006/ole">
            <p:oleObj spid="_x0000_s401410" name="think-cell Slide" r:id="rId5" imgW="360" imgH="360" progId="">
              <p:embed/>
            </p:oleObj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/>
        </p:nvGraphicFramePr>
        <p:xfrm>
          <a:off x="0" y="0"/>
          <a:ext cx="158222" cy="158750"/>
        </p:xfrm>
        <a:graphic>
          <a:graphicData uri="http://schemas.openxmlformats.org/presentationml/2006/ole">
            <p:oleObj spid="_x0000_s401411" name="think-cell Slide" r:id="rId6" imgW="360" imgH="360" progId="">
              <p:embed/>
            </p:oleObj>
          </a:graphicData>
        </a:graphic>
      </p:graphicFrame>
      <p:sp>
        <p:nvSpPr>
          <p:cNvPr id="43" name="Rectangle 7"/>
          <p:cNvSpPr/>
          <p:nvPr>
            <p:custDataLst>
              <p:tags r:id="rId2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xmlns="" val="414389464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404482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405506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06530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407554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408578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09602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10626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411650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470018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471042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72066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76954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473090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474114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75138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76162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" y="1"/>
          <a:ext cx="147061" cy="143985"/>
        </p:xfrm>
        <a:graphic>
          <a:graphicData uri="http://schemas.openxmlformats.org/presentationml/2006/ole">
            <p:oleObj spid="_x0000_s477186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632467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9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482306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483330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84354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tags" Target="../tags/tag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10" Type="http://schemas.openxmlformats.org/officeDocument/2006/relationships/theme" Target="../theme/theme1.xml"/><Relationship Id="rId19" Type="http://schemas.openxmlformats.org/officeDocument/2006/relationships/tags" Target="../tags/tag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45.vml"/><Relationship Id="rId13" Type="http://schemas.openxmlformats.org/officeDocument/2006/relationships/tags" Target="../tags/tag205.xml"/><Relationship Id="rId3" Type="http://schemas.openxmlformats.org/officeDocument/2006/relationships/slideLayout" Target="../slideLayouts/slideLayout73.xml"/><Relationship Id="rId7" Type="http://schemas.openxmlformats.org/officeDocument/2006/relationships/theme" Target="../theme/theme10.xml"/><Relationship Id="rId12" Type="http://schemas.openxmlformats.org/officeDocument/2006/relationships/tags" Target="../tags/tag204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72.xml"/><Relationship Id="rId16" Type="http://schemas.openxmlformats.org/officeDocument/2006/relationships/oleObject" Target="../embeddings/oleObject48.bin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tags" Target="../tags/tag203.xml"/><Relationship Id="rId5" Type="http://schemas.openxmlformats.org/officeDocument/2006/relationships/slideLayout" Target="../slideLayouts/slideLayout75.xml"/><Relationship Id="rId15" Type="http://schemas.openxmlformats.org/officeDocument/2006/relationships/tags" Target="../tags/tag207.xml"/><Relationship Id="rId10" Type="http://schemas.openxmlformats.org/officeDocument/2006/relationships/tags" Target="../tags/tag202.xml"/><Relationship Id="rId4" Type="http://schemas.openxmlformats.org/officeDocument/2006/relationships/slideLayout" Target="../slideLayouts/slideLayout74.xml"/><Relationship Id="rId9" Type="http://schemas.openxmlformats.org/officeDocument/2006/relationships/tags" Target="../tags/tag201.xml"/><Relationship Id="rId14" Type="http://schemas.openxmlformats.org/officeDocument/2006/relationships/tags" Target="../tags/tag206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13" Type="http://schemas.openxmlformats.org/officeDocument/2006/relationships/tags" Target="../tags/tag213.xml"/><Relationship Id="rId18" Type="http://schemas.openxmlformats.org/officeDocument/2006/relationships/tags" Target="../tags/tag218.xml"/><Relationship Id="rId3" Type="http://schemas.openxmlformats.org/officeDocument/2006/relationships/slideLayout" Target="../slideLayouts/slideLayout79.xml"/><Relationship Id="rId21" Type="http://schemas.openxmlformats.org/officeDocument/2006/relationships/oleObject" Target="../embeddings/oleObject55.bin"/><Relationship Id="rId7" Type="http://schemas.openxmlformats.org/officeDocument/2006/relationships/slideLayout" Target="../slideLayouts/slideLayout83.xml"/><Relationship Id="rId12" Type="http://schemas.openxmlformats.org/officeDocument/2006/relationships/vmlDrawing" Target="../drawings/vmlDrawing49.vml"/><Relationship Id="rId17" Type="http://schemas.openxmlformats.org/officeDocument/2006/relationships/tags" Target="../tags/tag217.xml"/><Relationship Id="rId2" Type="http://schemas.openxmlformats.org/officeDocument/2006/relationships/slideLayout" Target="../slideLayouts/slideLayout78.xml"/><Relationship Id="rId16" Type="http://schemas.openxmlformats.org/officeDocument/2006/relationships/tags" Target="../tags/tag216.xml"/><Relationship Id="rId20" Type="http://schemas.openxmlformats.org/officeDocument/2006/relationships/tags" Target="../tags/tag220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theme" Target="../theme/theme11.xml"/><Relationship Id="rId5" Type="http://schemas.openxmlformats.org/officeDocument/2006/relationships/slideLayout" Target="../slideLayouts/slideLayout81.xml"/><Relationship Id="rId15" Type="http://schemas.openxmlformats.org/officeDocument/2006/relationships/tags" Target="../tags/tag215.xml"/><Relationship Id="rId10" Type="http://schemas.openxmlformats.org/officeDocument/2006/relationships/slideLayout" Target="../slideLayouts/slideLayout86.xml"/><Relationship Id="rId19" Type="http://schemas.openxmlformats.org/officeDocument/2006/relationships/tags" Target="../tags/tag219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tags" Target="../tags/tag214.xml"/><Relationship Id="rId22" Type="http://schemas.openxmlformats.org/officeDocument/2006/relationships/image" Target="../media/image2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tags" Target="../tags/tag248.xml"/><Relationship Id="rId18" Type="http://schemas.openxmlformats.org/officeDocument/2006/relationships/tags" Target="../tags/tag253.xml"/><Relationship Id="rId3" Type="http://schemas.openxmlformats.org/officeDocument/2006/relationships/slideLayout" Target="../slideLayouts/slideLayout89.xml"/><Relationship Id="rId21" Type="http://schemas.openxmlformats.org/officeDocument/2006/relationships/oleObject" Target="../embeddings/oleObject64.bin"/><Relationship Id="rId7" Type="http://schemas.openxmlformats.org/officeDocument/2006/relationships/slideLayout" Target="../slideLayouts/slideLayout93.xml"/><Relationship Id="rId12" Type="http://schemas.openxmlformats.org/officeDocument/2006/relationships/vmlDrawing" Target="../drawings/vmlDrawing58.vml"/><Relationship Id="rId17" Type="http://schemas.openxmlformats.org/officeDocument/2006/relationships/tags" Target="../tags/tag252.xml"/><Relationship Id="rId2" Type="http://schemas.openxmlformats.org/officeDocument/2006/relationships/slideLayout" Target="../slideLayouts/slideLayout88.xml"/><Relationship Id="rId16" Type="http://schemas.openxmlformats.org/officeDocument/2006/relationships/tags" Target="../tags/tag251.xml"/><Relationship Id="rId20" Type="http://schemas.openxmlformats.org/officeDocument/2006/relationships/tags" Target="../tags/tag255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theme" Target="../theme/theme12.xml"/><Relationship Id="rId5" Type="http://schemas.openxmlformats.org/officeDocument/2006/relationships/slideLayout" Target="../slideLayouts/slideLayout91.xml"/><Relationship Id="rId15" Type="http://schemas.openxmlformats.org/officeDocument/2006/relationships/tags" Target="../tags/tag250.xml"/><Relationship Id="rId10" Type="http://schemas.openxmlformats.org/officeDocument/2006/relationships/slideLayout" Target="../slideLayouts/slideLayout96.xml"/><Relationship Id="rId19" Type="http://schemas.openxmlformats.org/officeDocument/2006/relationships/tags" Target="../tags/tag254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tags" Target="../tags/tag249.xml"/><Relationship Id="rId22" Type="http://schemas.openxmlformats.org/officeDocument/2006/relationships/image" Target="../media/image2.pn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tags" Target="../tags/tag283.xml"/><Relationship Id="rId18" Type="http://schemas.openxmlformats.org/officeDocument/2006/relationships/tags" Target="../tags/tag288.xml"/><Relationship Id="rId3" Type="http://schemas.openxmlformats.org/officeDocument/2006/relationships/slideLayout" Target="../slideLayouts/slideLayout99.xml"/><Relationship Id="rId21" Type="http://schemas.openxmlformats.org/officeDocument/2006/relationships/oleObject" Target="../embeddings/oleObject73.bin"/><Relationship Id="rId7" Type="http://schemas.openxmlformats.org/officeDocument/2006/relationships/slideLayout" Target="../slideLayouts/slideLayout103.xml"/><Relationship Id="rId12" Type="http://schemas.openxmlformats.org/officeDocument/2006/relationships/vmlDrawing" Target="../drawings/vmlDrawing67.vml"/><Relationship Id="rId17" Type="http://schemas.openxmlformats.org/officeDocument/2006/relationships/tags" Target="../tags/tag287.xml"/><Relationship Id="rId2" Type="http://schemas.openxmlformats.org/officeDocument/2006/relationships/slideLayout" Target="../slideLayouts/slideLayout98.xml"/><Relationship Id="rId16" Type="http://schemas.openxmlformats.org/officeDocument/2006/relationships/tags" Target="../tags/tag286.xml"/><Relationship Id="rId20" Type="http://schemas.openxmlformats.org/officeDocument/2006/relationships/tags" Target="../tags/tag290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theme" Target="../theme/theme13.xml"/><Relationship Id="rId5" Type="http://schemas.openxmlformats.org/officeDocument/2006/relationships/slideLayout" Target="../slideLayouts/slideLayout101.xml"/><Relationship Id="rId15" Type="http://schemas.openxmlformats.org/officeDocument/2006/relationships/tags" Target="../tags/tag285.xml"/><Relationship Id="rId10" Type="http://schemas.openxmlformats.org/officeDocument/2006/relationships/slideLayout" Target="../slideLayouts/slideLayout106.xml"/><Relationship Id="rId19" Type="http://schemas.openxmlformats.org/officeDocument/2006/relationships/tags" Target="../tags/tag289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tags" Target="../tags/tag284.xml"/><Relationship Id="rId22" Type="http://schemas.openxmlformats.org/officeDocument/2006/relationships/image" Target="../media/image2.pn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.xml"/><Relationship Id="rId13" Type="http://schemas.openxmlformats.org/officeDocument/2006/relationships/tags" Target="../tags/tag318.xml"/><Relationship Id="rId18" Type="http://schemas.openxmlformats.org/officeDocument/2006/relationships/tags" Target="../tags/tag323.xml"/><Relationship Id="rId3" Type="http://schemas.openxmlformats.org/officeDocument/2006/relationships/slideLayout" Target="../slideLayouts/slideLayout109.xml"/><Relationship Id="rId21" Type="http://schemas.openxmlformats.org/officeDocument/2006/relationships/oleObject" Target="../embeddings/oleObject82.bin"/><Relationship Id="rId7" Type="http://schemas.openxmlformats.org/officeDocument/2006/relationships/slideLayout" Target="../slideLayouts/slideLayout113.xml"/><Relationship Id="rId12" Type="http://schemas.openxmlformats.org/officeDocument/2006/relationships/vmlDrawing" Target="../drawings/vmlDrawing76.vml"/><Relationship Id="rId17" Type="http://schemas.openxmlformats.org/officeDocument/2006/relationships/tags" Target="../tags/tag322.xml"/><Relationship Id="rId2" Type="http://schemas.openxmlformats.org/officeDocument/2006/relationships/slideLayout" Target="../slideLayouts/slideLayout108.xml"/><Relationship Id="rId16" Type="http://schemas.openxmlformats.org/officeDocument/2006/relationships/tags" Target="../tags/tag321.xml"/><Relationship Id="rId20" Type="http://schemas.openxmlformats.org/officeDocument/2006/relationships/tags" Target="../tags/tag325.xml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1" Type="http://schemas.openxmlformats.org/officeDocument/2006/relationships/theme" Target="../theme/theme14.xml"/><Relationship Id="rId5" Type="http://schemas.openxmlformats.org/officeDocument/2006/relationships/slideLayout" Target="../slideLayouts/slideLayout111.xml"/><Relationship Id="rId15" Type="http://schemas.openxmlformats.org/officeDocument/2006/relationships/tags" Target="../tags/tag320.xml"/><Relationship Id="rId10" Type="http://schemas.openxmlformats.org/officeDocument/2006/relationships/slideLayout" Target="../slideLayouts/slideLayout116.xml"/><Relationship Id="rId19" Type="http://schemas.openxmlformats.org/officeDocument/2006/relationships/tags" Target="../tags/tag324.xml"/><Relationship Id="rId4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115.xml"/><Relationship Id="rId14" Type="http://schemas.openxmlformats.org/officeDocument/2006/relationships/tags" Target="../tags/tag319.xml"/><Relationship Id="rId22" Type="http://schemas.openxmlformats.org/officeDocument/2006/relationships/image" Target="../media/image2.pn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theme" Target="../theme/theme15.xml"/><Relationship Id="rId13" Type="http://schemas.openxmlformats.org/officeDocument/2006/relationships/tags" Target="../tags/tag356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23.xml"/><Relationship Id="rId12" Type="http://schemas.openxmlformats.org/officeDocument/2006/relationships/tags" Target="../tags/tag355.xml"/><Relationship Id="rId17" Type="http://schemas.openxmlformats.org/officeDocument/2006/relationships/oleObject" Target="../embeddings/oleObject91.bin"/><Relationship Id="rId2" Type="http://schemas.openxmlformats.org/officeDocument/2006/relationships/slideLayout" Target="../slideLayouts/slideLayout118.xml"/><Relationship Id="rId16" Type="http://schemas.openxmlformats.org/officeDocument/2006/relationships/tags" Target="../tags/tag359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tags" Target="../tags/tag354.xml"/><Relationship Id="rId5" Type="http://schemas.openxmlformats.org/officeDocument/2006/relationships/slideLayout" Target="../slideLayouts/slideLayout121.xml"/><Relationship Id="rId15" Type="http://schemas.openxmlformats.org/officeDocument/2006/relationships/tags" Target="../tags/tag358.xml"/><Relationship Id="rId10" Type="http://schemas.openxmlformats.org/officeDocument/2006/relationships/tags" Target="../tags/tag353.xml"/><Relationship Id="rId4" Type="http://schemas.openxmlformats.org/officeDocument/2006/relationships/slideLayout" Target="../slideLayouts/slideLayout120.xml"/><Relationship Id="rId9" Type="http://schemas.openxmlformats.org/officeDocument/2006/relationships/vmlDrawing" Target="../drawings/vmlDrawing85.vml"/><Relationship Id="rId14" Type="http://schemas.openxmlformats.org/officeDocument/2006/relationships/tags" Target="../tags/tag357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1.xml"/><Relationship Id="rId13" Type="http://schemas.openxmlformats.org/officeDocument/2006/relationships/tags" Target="../tags/tag366.xml"/><Relationship Id="rId18" Type="http://schemas.openxmlformats.org/officeDocument/2006/relationships/tags" Target="../tags/tag371.xml"/><Relationship Id="rId3" Type="http://schemas.openxmlformats.org/officeDocument/2006/relationships/slideLayout" Target="../slideLayouts/slideLayout126.xml"/><Relationship Id="rId21" Type="http://schemas.openxmlformats.org/officeDocument/2006/relationships/oleObject" Target="../embeddings/oleObject100.bin"/><Relationship Id="rId7" Type="http://schemas.openxmlformats.org/officeDocument/2006/relationships/slideLayout" Target="../slideLayouts/slideLayout130.xml"/><Relationship Id="rId12" Type="http://schemas.openxmlformats.org/officeDocument/2006/relationships/vmlDrawing" Target="../drawings/vmlDrawing90.vml"/><Relationship Id="rId17" Type="http://schemas.openxmlformats.org/officeDocument/2006/relationships/tags" Target="../tags/tag370.xml"/><Relationship Id="rId2" Type="http://schemas.openxmlformats.org/officeDocument/2006/relationships/slideLayout" Target="../slideLayouts/slideLayout125.xml"/><Relationship Id="rId16" Type="http://schemas.openxmlformats.org/officeDocument/2006/relationships/tags" Target="../tags/tag369.xml"/><Relationship Id="rId20" Type="http://schemas.openxmlformats.org/officeDocument/2006/relationships/tags" Target="../tags/tag373.xml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11" Type="http://schemas.openxmlformats.org/officeDocument/2006/relationships/theme" Target="../theme/theme16.xml"/><Relationship Id="rId5" Type="http://schemas.openxmlformats.org/officeDocument/2006/relationships/slideLayout" Target="../slideLayouts/slideLayout128.xml"/><Relationship Id="rId15" Type="http://schemas.openxmlformats.org/officeDocument/2006/relationships/tags" Target="../tags/tag368.xml"/><Relationship Id="rId10" Type="http://schemas.openxmlformats.org/officeDocument/2006/relationships/slideLayout" Target="../slideLayouts/slideLayout133.xml"/><Relationship Id="rId19" Type="http://schemas.openxmlformats.org/officeDocument/2006/relationships/tags" Target="../tags/tag372.xml"/><Relationship Id="rId4" Type="http://schemas.openxmlformats.org/officeDocument/2006/relationships/slideLayout" Target="../slideLayouts/slideLayout127.xml"/><Relationship Id="rId9" Type="http://schemas.openxmlformats.org/officeDocument/2006/relationships/slideLayout" Target="../slideLayouts/slideLayout132.xml"/><Relationship Id="rId14" Type="http://schemas.openxmlformats.org/officeDocument/2006/relationships/tags" Target="../tags/tag367.xml"/><Relationship Id="rId22" Type="http://schemas.openxmlformats.org/officeDocument/2006/relationships/image" Target="../media/image2.pn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1.xml"/><Relationship Id="rId13" Type="http://schemas.openxmlformats.org/officeDocument/2006/relationships/tags" Target="../tags/tag401.xml"/><Relationship Id="rId18" Type="http://schemas.openxmlformats.org/officeDocument/2006/relationships/tags" Target="../tags/tag406.xml"/><Relationship Id="rId3" Type="http://schemas.openxmlformats.org/officeDocument/2006/relationships/slideLayout" Target="../slideLayouts/slideLayout136.xml"/><Relationship Id="rId21" Type="http://schemas.openxmlformats.org/officeDocument/2006/relationships/oleObject" Target="../embeddings/oleObject109.bin"/><Relationship Id="rId7" Type="http://schemas.openxmlformats.org/officeDocument/2006/relationships/slideLayout" Target="../slideLayouts/slideLayout140.xml"/><Relationship Id="rId12" Type="http://schemas.openxmlformats.org/officeDocument/2006/relationships/vmlDrawing" Target="../drawings/vmlDrawing99.vml"/><Relationship Id="rId17" Type="http://schemas.openxmlformats.org/officeDocument/2006/relationships/tags" Target="../tags/tag405.xml"/><Relationship Id="rId2" Type="http://schemas.openxmlformats.org/officeDocument/2006/relationships/slideLayout" Target="../slideLayouts/slideLayout135.xml"/><Relationship Id="rId16" Type="http://schemas.openxmlformats.org/officeDocument/2006/relationships/tags" Target="../tags/tag404.xml"/><Relationship Id="rId20" Type="http://schemas.openxmlformats.org/officeDocument/2006/relationships/tags" Target="../tags/tag408.xml"/><Relationship Id="rId1" Type="http://schemas.openxmlformats.org/officeDocument/2006/relationships/slideLayout" Target="../slideLayouts/slideLayout134.xml"/><Relationship Id="rId6" Type="http://schemas.openxmlformats.org/officeDocument/2006/relationships/slideLayout" Target="../slideLayouts/slideLayout139.xml"/><Relationship Id="rId11" Type="http://schemas.openxmlformats.org/officeDocument/2006/relationships/theme" Target="../theme/theme17.xml"/><Relationship Id="rId5" Type="http://schemas.openxmlformats.org/officeDocument/2006/relationships/slideLayout" Target="../slideLayouts/slideLayout138.xml"/><Relationship Id="rId15" Type="http://schemas.openxmlformats.org/officeDocument/2006/relationships/tags" Target="../tags/tag403.xml"/><Relationship Id="rId10" Type="http://schemas.openxmlformats.org/officeDocument/2006/relationships/slideLayout" Target="../slideLayouts/slideLayout143.xml"/><Relationship Id="rId19" Type="http://schemas.openxmlformats.org/officeDocument/2006/relationships/tags" Target="../tags/tag407.xml"/><Relationship Id="rId4" Type="http://schemas.openxmlformats.org/officeDocument/2006/relationships/slideLayout" Target="../slideLayouts/slideLayout137.xml"/><Relationship Id="rId9" Type="http://schemas.openxmlformats.org/officeDocument/2006/relationships/slideLayout" Target="../slideLayouts/slideLayout142.xml"/><Relationship Id="rId14" Type="http://schemas.openxmlformats.org/officeDocument/2006/relationships/tags" Target="../tags/tag402.xml"/><Relationship Id="rId22" Type="http://schemas.openxmlformats.org/officeDocument/2006/relationships/image" Target="../media/image2.pn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1.xml"/><Relationship Id="rId13" Type="http://schemas.openxmlformats.org/officeDocument/2006/relationships/tags" Target="../tags/tag436.xml"/><Relationship Id="rId18" Type="http://schemas.openxmlformats.org/officeDocument/2006/relationships/tags" Target="../tags/tag441.xml"/><Relationship Id="rId3" Type="http://schemas.openxmlformats.org/officeDocument/2006/relationships/slideLayout" Target="../slideLayouts/slideLayout146.xml"/><Relationship Id="rId21" Type="http://schemas.openxmlformats.org/officeDocument/2006/relationships/oleObject" Target="../embeddings/oleObject118.bin"/><Relationship Id="rId7" Type="http://schemas.openxmlformats.org/officeDocument/2006/relationships/slideLayout" Target="../slideLayouts/slideLayout150.xml"/><Relationship Id="rId12" Type="http://schemas.openxmlformats.org/officeDocument/2006/relationships/vmlDrawing" Target="../drawings/vmlDrawing108.vml"/><Relationship Id="rId17" Type="http://schemas.openxmlformats.org/officeDocument/2006/relationships/tags" Target="../tags/tag440.xml"/><Relationship Id="rId2" Type="http://schemas.openxmlformats.org/officeDocument/2006/relationships/slideLayout" Target="../slideLayouts/slideLayout145.xml"/><Relationship Id="rId16" Type="http://schemas.openxmlformats.org/officeDocument/2006/relationships/tags" Target="../tags/tag439.xml"/><Relationship Id="rId20" Type="http://schemas.openxmlformats.org/officeDocument/2006/relationships/tags" Target="../tags/tag443.xml"/><Relationship Id="rId1" Type="http://schemas.openxmlformats.org/officeDocument/2006/relationships/slideLayout" Target="../slideLayouts/slideLayout144.xml"/><Relationship Id="rId6" Type="http://schemas.openxmlformats.org/officeDocument/2006/relationships/slideLayout" Target="../slideLayouts/slideLayout149.xml"/><Relationship Id="rId11" Type="http://schemas.openxmlformats.org/officeDocument/2006/relationships/theme" Target="../theme/theme18.xml"/><Relationship Id="rId5" Type="http://schemas.openxmlformats.org/officeDocument/2006/relationships/slideLayout" Target="../slideLayouts/slideLayout148.xml"/><Relationship Id="rId15" Type="http://schemas.openxmlformats.org/officeDocument/2006/relationships/tags" Target="../tags/tag438.xml"/><Relationship Id="rId10" Type="http://schemas.openxmlformats.org/officeDocument/2006/relationships/slideLayout" Target="../slideLayouts/slideLayout153.xml"/><Relationship Id="rId19" Type="http://schemas.openxmlformats.org/officeDocument/2006/relationships/tags" Target="../tags/tag442.xml"/><Relationship Id="rId4" Type="http://schemas.openxmlformats.org/officeDocument/2006/relationships/slideLayout" Target="../slideLayouts/slideLayout147.xml"/><Relationship Id="rId9" Type="http://schemas.openxmlformats.org/officeDocument/2006/relationships/slideLayout" Target="../slideLayouts/slideLayout152.xml"/><Relationship Id="rId14" Type="http://schemas.openxmlformats.org/officeDocument/2006/relationships/tags" Target="../tags/tag437.xml"/><Relationship Id="rId22" Type="http://schemas.openxmlformats.org/officeDocument/2006/relationships/image" Target="../media/image2.png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1.xml"/><Relationship Id="rId13" Type="http://schemas.openxmlformats.org/officeDocument/2006/relationships/tags" Target="../tags/tag471.xml"/><Relationship Id="rId18" Type="http://schemas.openxmlformats.org/officeDocument/2006/relationships/tags" Target="../tags/tag476.xml"/><Relationship Id="rId3" Type="http://schemas.openxmlformats.org/officeDocument/2006/relationships/slideLayout" Target="../slideLayouts/slideLayout156.xml"/><Relationship Id="rId21" Type="http://schemas.openxmlformats.org/officeDocument/2006/relationships/oleObject" Target="../embeddings/oleObject127.bin"/><Relationship Id="rId7" Type="http://schemas.openxmlformats.org/officeDocument/2006/relationships/slideLayout" Target="../slideLayouts/slideLayout160.xml"/><Relationship Id="rId12" Type="http://schemas.openxmlformats.org/officeDocument/2006/relationships/vmlDrawing" Target="../drawings/vmlDrawing117.vml"/><Relationship Id="rId17" Type="http://schemas.openxmlformats.org/officeDocument/2006/relationships/tags" Target="../tags/tag475.xml"/><Relationship Id="rId2" Type="http://schemas.openxmlformats.org/officeDocument/2006/relationships/slideLayout" Target="../slideLayouts/slideLayout155.xml"/><Relationship Id="rId16" Type="http://schemas.openxmlformats.org/officeDocument/2006/relationships/tags" Target="../tags/tag474.xml"/><Relationship Id="rId20" Type="http://schemas.openxmlformats.org/officeDocument/2006/relationships/tags" Target="../tags/tag478.xml"/><Relationship Id="rId1" Type="http://schemas.openxmlformats.org/officeDocument/2006/relationships/slideLayout" Target="../slideLayouts/slideLayout154.xml"/><Relationship Id="rId6" Type="http://schemas.openxmlformats.org/officeDocument/2006/relationships/slideLayout" Target="../slideLayouts/slideLayout159.xml"/><Relationship Id="rId11" Type="http://schemas.openxmlformats.org/officeDocument/2006/relationships/theme" Target="../theme/theme19.xml"/><Relationship Id="rId5" Type="http://schemas.openxmlformats.org/officeDocument/2006/relationships/slideLayout" Target="../slideLayouts/slideLayout158.xml"/><Relationship Id="rId15" Type="http://schemas.openxmlformats.org/officeDocument/2006/relationships/tags" Target="../tags/tag473.xml"/><Relationship Id="rId10" Type="http://schemas.openxmlformats.org/officeDocument/2006/relationships/slideLayout" Target="../slideLayouts/slideLayout163.xml"/><Relationship Id="rId19" Type="http://schemas.openxmlformats.org/officeDocument/2006/relationships/tags" Target="../tags/tag477.xml"/><Relationship Id="rId4" Type="http://schemas.openxmlformats.org/officeDocument/2006/relationships/slideLayout" Target="../slideLayouts/slideLayout157.xml"/><Relationship Id="rId9" Type="http://schemas.openxmlformats.org/officeDocument/2006/relationships/slideLayout" Target="../slideLayouts/slideLayout162.xml"/><Relationship Id="rId14" Type="http://schemas.openxmlformats.org/officeDocument/2006/relationships/tags" Target="../tags/tag472.xml"/><Relationship Id="rId22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tags" Target="../tags/tag44.xml"/><Relationship Id="rId18" Type="http://schemas.openxmlformats.org/officeDocument/2006/relationships/image" Target="../media/image4.emf"/><Relationship Id="rId26" Type="http://schemas.openxmlformats.org/officeDocument/2006/relationships/image" Target="../media/image12.png"/><Relationship Id="rId3" Type="http://schemas.openxmlformats.org/officeDocument/2006/relationships/slideLayout" Target="../slideLayouts/slideLayout12.xml"/><Relationship Id="rId21" Type="http://schemas.openxmlformats.org/officeDocument/2006/relationships/hyperlink" Target="http://www.linkedin.com/company/capgemini" TargetMode="External"/><Relationship Id="rId7" Type="http://schemas.openxmlformats.org/officeDocument/2006/relationships/tags" Target="../tags/tag38.xml"/><Relationship Id="rId12" Type="http://schemas.openxmlformats.org/officeDocument/2006/relationships/tags" Target="../tags/tag43.xml"/><Relationship Id="rId17" Type="http://schemas.openxmlformats.org/officeDocument/2006/relationships/image" Target="../media/image8.tiff"/><Relationship Id="rId25" Type="http://schemas.openxmlformats.org/officeDocument/2006/relationships/hyperlink" Target="http://www.youtube.com/capgemini" TargetMode="External"/><Relationship Id="rId2" Type="http://schemas.openxmlformats.org/officeDocument/2006/relationships/slideLayout" Target="../slideLayouts/slideLayout11.xml"/><Relationship Id="rId16" Type="http://schemas.openxmlformats.org/officeDocument/2006/relationships/oleObject" Target="../embeddings/oleObject10.bin"/><Relationship Id="rId20" Type="http://schemas.openxmlformats.org/officeDocument/2006/relationships/image" Target="../media/image9.png"/><Relationship Id="rId1" Type="http://schemas.openxmlformats.org/officeDocument/2006/relationships/slideLayout" Target="../slideLayouts/slideLayout10.x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24" Type="http://schemas.openxmlformats.org/officeDocument/2006/relationships/image" Target="../media/image11.png"/><Relationship Id="rId5" Type="http://schemas.openxmlformats.org/officeDocument/2006/relationships/vmlDrawing" Target="../drawings/vmlDrawing10.vml"/><Relationship Id="rId15" Type="http://schemas.openxmlformats.org/officeDocument/2006/relationships/tags" Target="../tags/tag46.xml"/><Relationship Id="rId23" Type="http://schemas.openxmlformats.org/officeDocument/2006/relationships/hyperlink" Target="http://www.twitter.com/capgemini" TargetMode="External"/><Relationship Id="rId28" Type="http://schemas.openxmlformats.org/officeDocument/2006/relationships/image" Target="../media/image13.gif"/><Relationship Id="rId10" Type="http://schemas.openxmlformats.org/officeDocument/2006/relationships/tags" Target="../tags/tag41.xml"/><Relationship Id="rId19" Type="http://schemas.openxmlformats.org/officeDocument/2006/relationships/hyperlink" Target="http://www.facebook.com/Capgemini" TargetMode="External"/><Relationship Id="rId4" Type="http://schemas.openxmlformats.org/officeDocument/2006/relationships/theme" Target="../theme/theme2.xml"/><Relationship Id="rId9" Type="http://schemas.openxmlformats.org/officeDocument/2006/relationships/tags" Target="../tags/tag40.xml"/><Relationship Id="rId14" Type="http://schemas.openxmlformats.org/officeDocument/2006/relationships/tags" Target="../tags/tag45.xml"/><Relationship Id="rId22" Type="http://schemas.openxmlformats.org/officeDocument/2006/relationships/image" Target="../media/image10.png"/><Relationship Id="rId27" Type="http://schemas.openxmlformats.org/officeDocument/2006/relationships/hyperlink" Target="http://www.slideshare.net/capgemini" TargetMode="Externa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26.vml"/><Relationship Id="rId13" Type="http://schemas.openxmlformats.org/officeDocument/2006/relationships/tags" Target="../tags/tag510.xml"/><Relationship Id="rId3" Type="http://schemas.openxmlformats.org/officeDocument/2006/relationships/slideLayout" Target="../slideLayouts/slideLayout166.xml"/><Relationship Id="rId7" Type="http://schemas.openxmlformats.org/officeDocument/2006/relationships/theme" Target="../theme/theme20.xml"/><Relationship Id="rId12" Type="http://schemas.openxmlformats.org/officeDocument/2006/relationships/tags" Target="../tags/tag509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165.xml"/><Relationship Id="rId16" Type="http://schemas.openxmlformats.org/officeDocument/2006/relationships/oleObject" Target="../embeddings/oleObject136.bin"/><Relationship Id="rId1" Type="http://schemas.openxmlformats.org/officeDocument/2006/relationships/slideLayout" Target="../slideLayouts/slideLayout164.xml"/><Relationship Id="rId6" Type="http://schemas.openxmlformats.org/officeDocument/2006/relationships/slideLayout" Target="../slideLayouts/slideLayout169.xml"/><Relationship Id="rId11" Type="http://schemas.openxmlformats.org/officeDocument/2006/relationships/tags" Target="../tags/tag508.xml"/><Relationship Id="rId5" Type="http://schemas.openxmlformats.org/officeDocument/2006/relationships/slideLayout" Target="../slideLayouts/slideLayout168.xml"/><Relationship Id="rId15" Type="http://schemas.openxmlformats.org/officeDocument/2006/relationships/tags" Target="../tags/tag512.xml"/><Relationship Id="rId10" Type="http://schemas.openxmlformats.org/officeDocument/2006/relationships/tags" Target="../tags/tag507.xml"/><Relationship Id="rId4" Type="http://schemas.openxmlformats.org/officeDocument/2006/relationships/slideLayout" Target="../slideLayouts/slideLayout167.xml"/><Relationship Id="rId9" Type="http://schemas.openxmlformats.org/officeDocument/2006/relationships/tags" Target="../tags/tag506.xml"/><Relationship Id="rId14" Type="http://schemas.openxmlformats.org/officeDocument/2006/relationships/tags" Target="../tags/tag511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7.xml"/><Relationship Id="rId13" Type="http://schemas.openxmlformats.org/officeDocument/2006/relationships/tags" Target="../tags/tag518.xml"/><Relationship Id="rId18" Type="http://schemas.openxmlformats.org/officeDocument/2006/relationships/tags" Target="../tags/tag523.xml"/><Relationship Id="rId3" Type="http://schemas.openxmlformats.org/officeDocument/2006/relationships/slideLayout" Target="../slideLayouts/slideLayout172.xml"/><Relationship Id="rId21" Type="http://schemas.openxmlformats.org/officeDocument/2006/relationships/oleObject" Target="../embeddings/oleObject143.bin"/><Relationship Id="rId7" Type="http://schemas.openxmlformats.org/officeDocument/2006/relationships/slideLayout" Target="../slideLayouts/slideLayout176.xml"/><Relationship Id="rId12" Type="http://schemas.openxmlformats.org/officeDocument/2006/relationships/vmlDrawing" Target="../drawings/vmlDrawing130.vml"/><Relationship Id="rId17" Type="http://schemas.openxmlformats.org/officeDocument/2006/relationships/tags" Target="../tags/tag522.xml"/><Relationship Id="rId2" Type="http://schemas.openxmlformats.org/officeDocument/2006/relationships/slideLayout" Target="../slideLayouts/slideLayout171.xml"/><Relationship Id="rId16" Type="http://schemas.openxmlformats.org/officeDocument/2006/relationships/tags" Target="../tags/tag521.xml"/><Relationship Id="rId20" Type="http://schemas.openxmlformats.org/officeDocument/2006/relationships/tags" Target="../tags/tag525.xml"/><Relationship Id="rId1" Type="http://schemas.openxmlformats.org/officeDocument/2006/relationships/slideLayout" Target="../slideLayouts/slideLayout170.xml"/><Relationship Id="rId6" Type="http://schemas.openxmlformats.org/officeDocument/2006/relationships/slideLayout" Target="../slideLayouts/slideLayout175.xml"/><Relationship Id="rId11" Type="http://schemas.openxmlformats.org/officeDocument/2006/relationships/theme" Target="../theme/theme21.xml"/><Relationship Id="rId5" Type="http://schemas.openxmlformats.org/officeDocument/2006/relationships/slideLayout" Target="../slideLayouts/slideLayout174.xml"/><Relationship Id="rId15" Type="http://schemas.openxmlformats.org/officeDocument/2006/relationships/tags" Target="../tags/tag520.xml"/><Relationship Id="rId10" Type="http://schemas.openxmlformats.org/officeDocument/2006/relationships/slideLayout" Target="../slideLayouts/slideLayout179.xml"/><Relationship Id="rId19" Type="http://schemas.openxmlformats.org/officeDocument/2006/relationships/tags" Target="../tags/tag524.xml"/><Relationship Id="rId4" Type="http://schemas.openxmlformats.org/officeDocument/2006/relationships/slideLayout" Target="../slideLayouts/slideLayout173.xml"/><Relationship Id="rId9" Type="http://schemas.openxmlformats.org/officeDocument/2006/relationships/slideLayout" Target="../slideLayouts/slideLayout178.xml"/><Relationship Id="rId14" Type="http://schemas.openxmlformats.org/officeDocument/2006/relationships/tags" Target="../tags/tag519.xml"/><Relationship Id="rId22" Type="http://schemas.openxmlformats.org/officeDocument/2006/relationships/image" Target="../media/image2.png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7.xml"/><Relationship Id="rId13" Type="http://schemas.openxmlformats.org/officeDocument/2006/relationships/vmlDrawing" Target="../drawings/vmlDrawing139.vml"/><Relationship Id="rId18" Type="http://schemas.openxmlformats.org/officeDocument/2006/relationships/tags" Target="../tags/tag557.xml"/><Relationship Id="rId3" Type="http://schemas.openxmlformats.org/officeDocument/2006/relationships/slideLayout" Target="../slideLayouts/slideLayout182.xml"/><Relationship Id="rId21" Type="http://schemas.openxmlformats.org/officeDocument/2006/relationships/tags" Target="../tags/tag560.xml"/><Relationship Id="rId7" Type="http://schemas.openxmlformats.org/officeDocument/2006/relationships/slideLayout" Target="../slideLayouts/slideLayout186.xml"/><Relationship Id="rId12" Type="http://schemas.openxmlformats.org/officeDocument/2006/relationships/theme" Target="../theme/theme22.xml"/><Relationship Id="rId17" Type="http://schemas.openxmlformats.org/officeDocument/2006/relationships/tags" Target="../tags/tag556.xml"/><Relationship Id="rId2" Type="http://schemas.openxmlformats.org/officeDocument/2006/relationships/slideLayout" Target="../slideLayouts/slideLayout181.xml"/><Relationship Id="rId16" Type="http://schemas.openxmlformats.org/officeDocument/2006/relationships/tags" Target="../tags/tag555.xml"/><Relationship Id="rId20" Type="http://schemas.openxmlformats.org/officeDocument/2006/relationships/tags" Target="../tags/tag559.xml"/><Relationship Id="rId1" Type="http://schemas.openxmlformats.org/officeDocument/2006/relationships/slideLayout" Target="../slideLayouts/slideLayout180.xml"/><Relationship Id="rId6" Type="http://schemas.openxmlformats.org/officeDocument/2006/relationships/slideLayout" Target="../slideLayouts/slideLayout185.xml"/><Relationship Id="rId11" Type="http://schemas.openxmlformats.org/officeDocument/2006/relationships/slideLayout" Target="../slideLayouts/slideLayout190.xml"/><Relationship Id="rId5" Type="http://schemas.openxmlformats.org/officeDocument/2006/relationships/slideLayout" Target="../slideLayouts/slideLayout184.xml"/><Relationship Id="rId15" Type="http://schemas.openxmlformats.org/officeDocument/2006/relationships/tags" Target="../tags/tag554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89.xml"/><Relationship Id="rId19" Type="http://schemas.openxmlformats.org/officeDocument/2006/relationships/tags" Target="../tags/tag558.xml"/><Relationship Id="rId4" Type="http://schemas.openxmlformats.org/officeDocument/2006/relationships/slideLayout" Target="../slideLayouts/slideLayout183.xml"/><Relationship Id="rId9" Type="http://schemas.openxmlformats.org/officeDocument/2006/relationships/slideLayout" Target="../slideLayouts/slideLayout188.xml"/><Relationship Id="rId14" Type="http://schemas.openxmlformats.org/officeDocument/2006/relationships/tags" Target="../tags/tag553.xml"/><Relationship Id="rId22" Type="http://schemas.openxmlformats.org/officeDocument/2006/relationships/oleObject" Target="../embeddings/oleObject152.bin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8.xml"/><Relationship Id="rId13" Type="http://schemas.openxmlformats.org/officeDocument/2006/relationships/tags" Target="../tags/tag589.xml"/><Relationship Id="rId18" Type="http://schemas.openxmlformats.org/officeDocument/2006/relationships/tags" Target="../tags/tag594.xml"/><Relationship Id="rId3" Type="http://schemas.openxmlformats.org/officeDocument/2006/relationships/slideLayout" Target="../slideLayouts/slideLayout193.xml"/><Relationship Id="rId21" Type="http://schemas.openxmlformats.org/officeDocument/2006/relationships/oleObject" Target="../embeddings/oleObject163.bin"/><Relationship Id="rId7" Type="http://schemas.openxmlformats.org/officeDocument/2006/relationships/slideLayout" Target="../slideLayouts/slideLayout197.xml"/><Relationship Id="rId12" Type="http://schemas.openxmlformats.org/officeDocument/2006/relationships/vmlDrawing" Target="../drawings/vmlDrawing149.vml"/><Relationship Id="rId17" Type="http://schemas.openxmlformats.org/officeDocument/2006/relationships/tags" Target="../tags/tag593.xml"/><Relationship Id="rId2" Type="http://schemas.openxmlformats.org/officeDocument/2006/relationships/slideLayout" Target="../slideLayouts/slideLayout192.xml"/><Relationship Id="rId16" Type="http://schemas.openxmlformats.org/officeDocument/2006/relationships/tags" Target="../tags/tag592.xml"/><Relationship Id="rId20" Type="http://schemas.openxmlformats.org/officeDocument/2006/relationships/tags" Target="../tags/tag596.xml"/><Relationship Id="rId1" Type="http://schemas.openxmlformats.org/officeDocument/2006/relationships/slideLayout" Target="../slideLayouts/slideLayout191.xml"/><Relationship Id="rId6" Type="http://schemas.openxmlformats.org/officeDocument/2006/relationships/slideLayout" Target="../slideLayouts/slideLayout196.xml"/><Relationship Id="rId11" Type="http://schemas.openxmlformats.org/officeDocument/2006/relationships/theme" Target="../theme/theme23.xml"/><Relationship Id="rId5" Type="http://schemas.openxmlformats.org/officeDocument/2006/relationships/slideLayout" Target="../slideLayouts/slideLayout195.xml"/><Relationship Id="rId15" Type="http://schemas.openxmlformats.org/officeDocument/2006/relationships/tags" Target="../tags/tag591.xml"/><Relationship Id="rId10" Type="http://schemas.openxmlformats.org/officeDocument/2006/relationships/slideLayout" Target="../slideLayouts/slideLayout200.xml"/><Relationship Id="rId19" Type="http://schemas.openxmlformats.org/officeDocument/2006/relationships/tags" Target="../tags/tag595.xml"/><Relationship Id="rId4" Type="http://schemas.openxmlformats.org/officeDocument/2006/relationships/slideLayout" Target="../slideLayouts/slideLayout194.xml"/><Relationship Id="rId9" Type="http://schemas.openxmlformats.org/officeDocument/2006/relationships/slideLayout" Target="../slideLayouts/slideLayout199.xml"/><Relationship Id="rId14" Type="http://schemas.openxmlformats.org/officeDocument/2006/relationships/tags" Target="../tags/tag590.xml"/><Relationship Id="rId22" Type="http://schemas.openxmlformats.org/officeDocument/2006/relationships/image" Target="../media/image2.png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8.xml"/><Relationship Id="rId13" Type="http://schemas.openxmlformats.org/officeDocument/2006/relationships/tags" Target="../tags/tag624.xml"/><Relationship Id="rId18" Type="http://schemas.openxmlformats.org/officeDocument/2006/relationships/tags" Target="../tags/tag629.xml"/><Relationship Id="rId3" Type="http://schemas.openxmlformats.org/officeDocument/2006/relationships/slideLayout" Target="../slideLayouts/slideLayout203.xml"/><Relationship Id="rId21" Type="http://schemas.openxmlformats.org/officeDocument/2006/relationships/oleObject" Target="../embeddings/oleObject172.bin"/><Relationship Id="rId7" Type="http://schemas.openxmlformats.org/officeDocument/2006/relationships/slideLayout" Target="../slideLayouts/slideLayout207.xml"/><Relationship Id="rId12" Type="http://schemas.openxmlformats.org/officeDocument/2006/relationships/vmlDrawing" Target="../drawings/vmlDrawing158.vml"/><Relationship Id="rId17" Type="http://schemas.openxmlformats.org/officeDocument/2006/relationships/tags" Target="../tags/tag628.xml"/><Relationship Id="rId2" Type="http://schemas.openxmlformats.org/officeDocument/2006/relationships/slideLayout" Target="../slideLayouts/slideLayout202.xml"/><Relationship Id="rId16" Type="http://schemas.openxmlformats.org/officeDocument/2006/relationships/tags" Target="../tags/tag627.xml"/><Relationship Id="rId20" Type="http://schemas.openxmlformats.org/officeDocument/2006/relationships/tags" Target="../tags/tag631.xml"/><Relationship Id="rId1" Type="http://schemas.openxmlformats.org/officeDocument/2006/relationships/slideLayout" Target="../slideLayouts/slideLayout201.xml"/><Relationship Id="rId6" Type="http://schemas.openxmlformats.org/officeDocument/2006/relationships/slideLayout" Target="../slideLayouts/slideLayout206.xml"/><Relationship Id="rId11" Type="http://schemas.openxmlformats.org/officeDocument/2006/relationships/theme" Target="../theme/theme24.xml"/><Relationship Id="rId5" Type="http://schemas.openxmlformats.org/officeDocument/2006/relationships/slideLayout" Target="../slideLayouts/slideLayout205.xml"/><Relationship Id="rId15" Type="http://schemas.openxmlformats.org/officeDocument/2006/relationships/tags" Target="../tags/tag626.xml"/><Relationship Id="rId10" Type="http://schemas.openxmlformats.org/officeDocument/2006/relationships/slideLayout" Target="../slideLayouts/slideLayout210.xml"/><Relationship Id="rId19" Type="http://schemas.openxmlformats.org/officeDocument/2006/relationships/tags" Target="../tags/tag630.xml"/><Relationship Id="rId4" Type="http://schemas.openxmlformats.org/officeDocument/2006/relationships/slideLayout" Target="../slideLayouts/slideLayout204.xml"/><Relationship Id="rId9" Type="http://schemas.openxmlformats.org/officeDocument/2006/relationships/slideLayout" Target="../slideLayouts/slideLayout209.xml"/><Relationship Id="rId14" Type="http://schemas.openxmlformats.org/officeDocument/2006/relationships/tags" Target="../tags/tag625.xml"/><Relationship Id="rId22" Type="http://schemas.openxmlformats.org/officeDocument/2006/relationships/image" Target="../media/image2.png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8.xml"/><Relationship Id="rId13" Type="http://schemas.openxmlformats.org/officeDocument/2006/relationships/tags" Target="../tags/tag659.xml"/><Relationship Id="rId18" Type="http://schemas.openxmlformats.org/officeDocument/2006/relationships/tags" Target="../tags/tag664.xml"/><Relationship Id="rId3" Type="http://schemas.openxmlformats.org/officeDocument/2006/relationships/slideLayout" Target="../slideLayouts/slideLayout213.xml"/><Relationship Id="rId21" Type="http://schemas.openxmlformats.org/officeDocument/2006/relationships/oleObject" Target="../embeddings/oleObject181.bin"/><Relationship Id="rId7" Type="http://schemas.openxmlformats.org/officeDocument/2006/relationships/slideLayout" Target="../slideLayouts/slideLayout217.xml"/><Relationship Id="rId12" Type="http://schemas.openxmlformats.org/officeDocument/2006/relationships/vmlDrawing" Target="../drawings/vmlDrawing167.vml"/><Relationship Id="rId17" Type="http://schemas.openxmlformats.org/officeDocument/2006/relationships/tags" Target="../tags/tag663.xml"/><Relationship Id="rId2" Type="http://schemas.openxmlformats.org/officeDocument/2006/relationships/slideLayout" Target="../slideLayouts/slideLayout212.xml"/><Relationship Id="rId16" Type="http://schemas.openxmlformats.org/officeDocument/2006/relationships/tags" Target="../tags/tag662.xml"/><Relationship Id="rId20" Type="http://schemas.openxmlformats.org/officeDocument/2006/relationships/tags" Target="../tags/tag666.xml"/><Relationship Id="rId1" Type="http://schemas.openxmlformats.org/officeDocument/2006/relationships/slideLayout" Target="../slideLayouts/slideLayout211.xml"/><Relationship Id="rId6" Type="http://schemas.openxmlformats.org/officeDocument/2006/relationships/slideLayout" Target="../slideLayouts/slideLayout216.xml"/><Relationship Id="rId11" Type="http://schemas.openxmlformats.org/officeDocument/2006/relationships/theme" Target="../theme/theme25.xml"/><Relationship Id="rId5" Type="http://schemas.openxmlformats.org/officeDocument/2006/relationships/slideLayout" Target="../slideLayouts/slideLayout215.xml"/><Relationship Id="rId15" Type="http://schemas.openxmlformats.org/officeDocument/2006/relationships/tags" Target="../tags/tag661.xml"/><Relationship Id="rId10" Type="http://schemas.openxmlformats.org/officeDocument/2006/relationships/slideLayout" Target="../slideLayouts/slideLayout220.xml"/><Relationship Id="rId19" Type="http://schemas.openxmlformats.org/officeDocument/2006/relationships/tags" Target="../tags/tag665.xml"/><Relationship Id="rId4" Type="http://schemas.openxmlformats.org/officeDocument/2006/relationships/slideLayout" Target="../slideLayouts/slideLayout214.xml"/><Relationship Id="rId9" Type="http://schemas.openxmlformats.org/officeDocument/2006/relationships/slideLayout" Target="../slideLayouts/slideLayout219.xml"/><Relationship Id="rId14" Type="http://schemas.openxmlformats.org/officeDocument/2006/relationships/tags" Target="../tags/tag660.xml"/><Relationship Id="rId22" Type="http://schemas.openxmlformats.org/officeDocument/2006/relationships/image" Target="../media/image2.png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8.xml"/><Relationship Id="rId13" Type="http://schemas.openxmlformats.org/officeDocument/2006/relationships/tags" Target="../tags/tag694.xml"/><Relationship Id="rId18" Type="http://schemas.openxmlformats.org/officeDocument/2006/relationships/tags" Target="../tags/tag699.xml"/><Relationship Id="rId3" Type="http://schemas.openxmlformats.org/officeDocument/2006/relationships/slideLayout" Target="../slideLayouts/slideLayout223.xml"/><Relationship Id="rId21" Type="http://schemas.openxmlformats.org/officeDocument/2006/relationships/oleObject" Target="../embeddings/oleObject190.bin"/><Relationship Id="rId7" Type="http://schemas.openxmlformats.org/officeDocument/2006/relationships/slideLayout" Target="../slideLayouts/slideLayout227.xml"/><Relationship Id="rId12" Type="http://schemas.openxmlformats.org/officeDocument/2006/relationships/vmlDrawing" Target="../drawings/vmlDrawing176.vml"/><Relationship Id="rId17" Type="http://schemas.openxmlformats.org/officeDocument/2006/relationships/tags" Target="../tags/tag698.xml"/><Relationship Id="rId2" Type="http://schemas.openxmlformats.org/officeDocument/2006/relationships/slideLayout" Target="../slideLayouts/slideLayout222.xml"/><Relationship Id="rId16" Type="http://schemas.openxmlformats.org/officeDocument/2006/relationships/tags" Target="../tags/tag697.xml"/><Relationship Id="rId20" Type="http://schemas.openxmlformats.org/officeDocument/2006/relationships/tags" Target="../tags/tag701.xml"/><Relationship Id="rId1" Type="http://schemas.openxmlformats.org/officeDocument/2006/relationships/slideLayout" Target="../slideLayouts/slideLayout221.xml"/><Relationship Id="rId6" Type="http://schemas.openxmlformats.org/officeDocument/2006/relationships/slideLayout" Target="../slideLayouts/slideLayout226.xml"/><Relationship Id="rId11" Type="http://schemas.openxmlformats.org/officeDocument/2006/relationships/theme" Target="../theme/theme26.xml"/><Relationship Id="rId5" Type="http://schemas.openxmlformats.org/officeDocument/2006/relationships/slideLayout" Target="../slideLayouts/slideLayout225.xml"/><Relationship Id="rId15" Type="http://schemas.openxmlformats.org/officeDocument/2006/relationships/tags" Target="../tags/tag696.xml"/><Relationship Id="rId10" Type="http://schemas.openxmlformats.org/officeDocument/2006/relationships/slideLayout" Target="../slideLayouts/slideLayout230.xml"/><Relationship Id="rId19" Type="http://schemas.openxmlformats.org/officeDocument/2006/relationships/tags" Target="../tags/tag700.xml"/><Relationship Id="rId4" Type="http://schemas.openxmlformats.org/officeDocument/2006/relationships/slideLayout" Target="../slideLayouts/slideLayout224.xml"/><Relationship Id="rId9" Type="http://schemas.openxmlformats.org/officeDocument/2006/relationships/slideLayout" Target="../slideLayouts/slideLayout229.xml"/><Relationship Id="rId14" Type="http://schemas.openxmlformats.org/officeDocument/2006/relationships/tags" Target="../tags/tag695.xml"/><Relationship Id="rId22" Type="http://schemas.openxmlformats.org/officeDocument/2006/relationships/image" Target="../media/image2.png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8.xml"/><Relationship Id="rId13" Type="http://schemas.openxmlformats.org/officeDocument/2006/relationships/tags" Target="../tags/tag729.xml"/><Relationship Id="rId18" Type="http://schemas.openxmlformats.org/officeDocument/2006/relationships/tags" Target="../tags/tag734.xml"/><Relationship Id="rId3" Type="http://schemas.openxmlformats.org/officeDocument/2006/relationships/slideLayout" Target="../slideLayouts/slideLayout233.xml"/><Relationship Id="rId21" Type="http://schemas.openxmlformats.org/officeDocument/2006/relationships/oleObject" Target="../embeddings/oleObject199.bin"/><Relationship Id="rId7" Type="http://schemas.openxmlformats.org/officeDocument/2006/relationships/slideLayout" Target="../slideLayouts/slideLayout237.xml"/><Relationship Id="rId12" Type="http://schemas.openxmlformats.org/officeDocument/2006/relationships/vmlDrawing" Target="../drawings/vmlDrawing185.vml"/><Relationship Id="rId17" Type="http://schemas.openxmlformats.org/officeDocument/2006/relationships/tags" Target="../tags/tag733.xml"/><Relationship Id="rId2" Type="http://schemas.openxmlformats.org/officeDocument/2006/relationships/slideLayout" Target="../slideLayouts/slideLayout232.xml"/><Relationship Id="rId16" Type="http://schemas.openxmlformats.org/officeDocument/2006/relationships/tags" Target="../tags/tag732.xml"/><Relationship Id="rId20" Type="http://schemas.openxmlformats.org/officeDocument/2006/relationships/tags" Target="../tags/tag736.xml"/><Relationship Id="rId1" Type="http://schemas.openxmlformats.org/officeDocument/2006/relationships/slideLayout" Target="../slideLayouts/slideLayout231.xml"/><Relationship Id="rId6" Type="http://schemas.openxmlformats.org/officeDocument/2006/relationships/slideLayout" Target="../slideLayouts/slideLayout236.xml"/><Relationship Id="rId11" Type="http://schemas.openxmlformats.org/officeDocument/2006/relationships/theme" Target="../theme/theme27.xml"/><Relationship Id="rId5" Type="http://schemas.openxmlformats.org/officeDocument/2006/relationships/slideLayout" Target="../slideLayouts/slideLayout235.xml"/><Relationship Id="rId15" Type="http://schemas.openxmlformats.org/officeDocument/2006/relationships/tags" Target="../tags/tag731.xml"/><Relationship Id="rId10" Type="http://schemas.openxmlformats.org/officeDocument/2006/relationships/slideLayout" Target="../slideLayouts/slideLayout240.xml"/><Relationship Id="rId19" Type="http://schemas.openxmlformats.org/officeDocument/2006/relationships/tags" Target="../tags/tag735.xml"/><Relationship Id="rId4" Type="http://schemas.openxmlformats.org/officeDocument/2006/relationships/slideLayout" Target="../slideLayouts/slideLayout234.xml"/><Relationship Id="rId9" Type="http://schemas.openxmlformats.org/officeDocument/2006/relationships/slideLayout" Target="../slideLayouts/slideLayout239.xml"/><Relationship Id="rId14" Type="http://schemas.openxmlformats.org/officeDocument/2006/relationships/tags" Target="../tags/tag730.xml"/><Relationship Id="rId22" Type="http://schemas.openxmlformats.org/officeDocument/2006/relationships/image" Target="../media/image2.png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94.vml"/><Relationship Id="rId13" Type="http://schemas.openxmlformats.org/officeDocument/2006/relationships/tags" Target="../tags/tag768.xml"/><Relationship Id="rId3" Type="http://schemas.openxmlformats.org/officeDocument/2006/relationships/slideLayout" Target="../slideLayouts/slideLayout243.xml"/><Relationship Id="rId7" Type="http://schemas.openxmlformats.org/officeDocument/2006/relationships/theme" Target="../theme/theme28.xml"/><Relationship Id="rId12" Type="http://schemas.openxmlformats.org/officeDocument/2006/relationships/tags" Target="../tags/tag767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42.xml"/><Relationship Id="rId16" Type="http://schemas.openxmlformats.org/officeDocument/2006/relationships/oleObject" Target="../embeddings/oleObject208.bin"/><Relationship Id="rId1" Type="http://schemas.openxmlformats.org/officeDocument/2006/relationships/slideLayout" Target="../slideLayouts/slideLayout241.xml"/><Relationship Id="rId6" Type="http://schemas.openxmlformats.org/officeDocument/2006/relationships/slideLayout" Target="../slideLayouts/slideLayout246.xml"/><Relationship Id="rId11" Type="http://schemas.openxmlformats.org/officeDocument/2006/relationships/tags" Target="../tags/tag766.xml"/><Relationship Id="rId5" Type="http://schemas.openxmlformats.org/officeDocument/2006/relationships/slideLayout" Target="../slideLayouts/slideLayout245.xml"/><Relationship Id="rId15" Type="http://schemas.openxmlformats.org/officeDocument/2006/relationships/tags" Target="../tags/tag770.xml"/><Relationship Id="rId10" Type="http://schemas.openxmlformats.org/officeDocument/2006/relationships/tags" Target="../tags/tag765.xml"/><Relationship Id="rId4" Type="http://schemas.openxmlformats.org/officeDocument/2006/relationships/slideLayout" Target="../slideLayouts/slideLayout244.xml"/><Relationship Id="rId9" Type="http://schemas.openxmlformats.org/officeDocument/2006/relationships/tags" Target="../tags/tag764.xml"/><Relationship Id="rId14" Type="http://schemas.openxmlformats.org/officeDocument/2006/relationships/tags" Target="../tags/tag769.xml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4.xml"/><Relationship Id="rId13" Type="http://schemas.openxmlformats.org/officeDocument/2006/relationships/tags" Target="../tags/tag776.xml"/><Relationship Id="rId18" Type="http://schemas.openxmlformats.org/officeDocument/2006/relationships/tags" Target="../tags/tag781.xml"/><Relationship Id="rId3" Type="http://schemas.openxmlformats.org/officeDocument/2006/relationships/slideLayout" Target="../slideLayouts/slideLayout249.xml"/><Relationship Id="rId21" Type="http://schemas.openxmlformats.org/officeDocument/2006/relationships/oleObject" Target="../embeddings/oleObject215.bin"/><Relationship Id="rId7" Type="http://schemas.openxmlformats.org/officeDocument/2006/relationships/slideLayout" Target="../slideLayouts/slideLayout253.xml"/><Relationship Id="rId12" Type="http://schemas.openxmlformats.org/officeDocument/2006/relationships/vmlDrawing" Target="../drawings/vmlDrawing198.vml"/><Relationship Id="rId17" Type="http://schemas.openxmlformats.org/officeDocument/2006/relationships/tags" Target="../tags/tag780.xml"/><Relationship Id="rId2" Type="http://schemas.openxmlformats.org/officeDocument/2006/relationships/slideLayout" Target="../slideLayouts/slideLayout248.xml"/><Relationship Id="rId16" Type="http://schemas.openxmlformats.org/officeDocument/2006/relationships/tags" Target="../tags/tag779.xml"/><Relationship Id="rId20" Type="http://schemas.openxmlformats.org/officeDocument/2006/relationships/tags" Target="../tags/tag783.xml"/><Relationship Id="rId1" Type="http://schemas.openxmlformats.org/officeDocument/2006/relationships/slideLayout" Target="../slideLayouts/slideLayout247.xml"/><Relationship Id="rId6" Type="http://schemas.openxmlformats.org/officeDocument/2006/relationships/slideLayout" Target="../slideLayouts/slideLayout252.xml"/><Relationship Id="rId11" Type="http://schemas.openxmlformats.org/officeDocument/2006/relationships/theme" Target="../theme/theme29.xml"/><Relationship Id="rId5" Type="http://schemas.openxmlformats.org/officeDocument/2006/relationships/slideLayout" Target="../slideLayouts/slideLayout251.xml"/><Relationship Id="rId15" Type="http://schemas.openxmlformats.org/officeDocument/2006/relationships/tags" Target="../tags/tag778.xml"/><Relationship Id="rId10" Type="http://schemas.openxmlformats.org/officeDocument/2006/relationships/slideLayout" Target="../slideLayouts/slideLayout256.xml"/><Relationship Id="rId19" Type="http://schemas.openxmlformats.org/officeDocument/2006/relationships/tags" Target="../tags/tag782.xml"/><Relationship Id="rId4" Type="http://schemas.openxmlformats.org/officeDocument/2006/relationships/slideLayout" Target="../slideLayouts/slideLayout250.xml"/><Relationship Id="rId9" Type="http://schemas.openxmlformats.org/officeDocument/2006/relationships/slideLayout" Target="../slideLayouts/slideLayout255.xml"/><Relationship Id="rId14" Type="http://schemas.openxmlformats.org/officeDocument/2006/relationships/tags" Target="../tags/tag777.xml"/><Relationship Id="rId22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5" Type="http://schemas.openxmlformats.org/officeDocument/2006/relationships/oleObject" Target="../embeddings/oleObject14.bin"/><Relationship Id="rId4" Type="http://schemas.openxmlformats.org/officeDocument/2006/relationships/vmlDrawing" Target="../drawings/vmlDrawing14.vml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4.xml"/><Relationship Id="rId13" Type="http://schemas.openxmlformats.org/officeDocument/2006/relationships/tags" Target="../tags/tag811.xml"/><Relationship Id="rId18" Type="http://schemas.openxmlformats.org/officeDocument/2006/relationships/tags" Target="../tags/tag816.xml"/><Relationship Id="rId3" Type="http://schemas.openxmlformats.org/officeDocument/2006/relationships/slideLayout" Target="../slideLayouts/slideLayout259.xml"/><Relationship Id="rId21" Type="http://schemas.openxmlformats.org/officeDocument/2006/relationships/oleObject" Target="../embeddings/oleObject224.bin"/><Relationship Id="rId7" Type="http://schemas.openxmlformats.org/officeDocument/2006/relationships/slideLayout" Target="../slideLayouts/slideLayout263.xml"/><Relationship Id="rId12" Type="http://schemas.openxmlformats.org/officeDocument/2006/relationships/vmlDrawing" Target="../drawings/vmlDrawing207.vml"/><Relationship Id="rId17" Type="http://schemas.openxmlformats.org/officeDocument/2006/relationships/tags" Target="../tags/tag815.xml"/><Relationship Id="rId2" Type="http://schemas.openxmlformats.org/officeDocument/2006/relationships/slideLayout" Target="../slideLayouts/slideLayout258.xml"/><Relationship Id="rId16" Type="http://schemas.openxmlformats.org/officeDocument/2006/relationships/tags" Target="../tags/tag814.xml"/><Relationship Id="rId20" Type="http://schemas.openxmlformats.org/officeDocument/2006/relationships/tags" Target="../tags/tag818.xml"/><Relationship Id="rId1" Type="http://schemas.openxmlformats.org/officeDocument/2006/relationships/slideLayout" Target="../slideLayouts/slideLayout257.xml"/><Relationship Id="rId6" Type="http://schemas.openxmlformats.org/officeDocument/2006/relationships/slideLayout" Target="../slideLayouts/slideLayout262.xml"/><Relationship Id="rId11" Type="http://schemas.openxmlformats.org/officeDocument/2006/relationships/theme" Target="../theme/theme30.xml"/><Relationship Id="rId5" Type="http://schemas.openxmlformats.org/officeDocument/2006/relationships/slideLayout" Target="../slideLayouts/slideLayout261.xml"/><Relationship Id="rId15" Type="http://schemas.openxmlformats.org/officeDocument/2006/relationships/tags" Target="../tags/tag813.xml"/><Relationship Id="rId10" Type="http://schemas.openxmlformats.org/officeDocument/2006/relationships/slideLayout" Target="../slideLayouts/slideLayout266.xml"/><Relationship Id="rId19" Type="http://schemas.openxmlformats.org/officeDocument/2006/relationships/tags" Target="../tags/tag817.xml"/><Relationship Id="rId4" Type="http://schemas.openxmlformats.org/officeDocument/2006/relationships/slideLayout" Target="../slideLayouts/slideLayout260.xml"/><Relationship Id="rId9" Type="http://schemas.openxmlformats.org/officeDocument/2006/relationships/slideLayout" Target="../slideLayouts/slideLayout265.xml"/><Relationship Id="rId14" Type="http://schemas.openxmlformats.org/officeDocument/2006/relationships/tags" Target="../tags/tag812.xml"/><Relationship Id="rId22" Type="http://schemas.openxmlformats.org/officeDocument/2006/relationships/image" Target="../media/image2.png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4.xml"/><Relationship Id="rId13" Type="http://schemas.openxmlformats.org/officeDocument/2006/relationships/tags" Target="../tags/tag846.xml"/><Relationship Id="rId18" Type="http://schemas.openxmlformats.org/officeDocument/2006/relationships/tags" Target="../tags/tag851.xml"/><Relationship Id="rId3" Type="http://schemas.openxmlformats.org/officeDocument/2006/relationships/slideLayout" Target="../slideLayouts/slideLayout269.xml"/><Relationship Id="rId21" Type="http://schemas.openxmlformats.org/officeDocument/2006/relationships/oleObject" Target="../embeddings/oleObject233.bin"/><Relationship Id="rId7" Type="http://schemas.openxmlformats.org/officeDocument/2006/relationships/slideLayout" Target="../slideLayouts/slideLayout273.xml"/><Relationship Id="rId12" Type="http://schemas.openxmlformats.org/officeDocument/2006/relationships/vmlDrawing" Target="../drawings/vmlDrawing216.vml"/><Relationship Id="rId17" Type="http://schemas.openxmlformats.org/officeDocument/2006/relationships/tags" Target="../tags/tag850.xml"/><Relationship Id="rId2" Type="http://schemas.openxmlformats.org/officeDocument/2006/relationships/slideLayout" Target="../slideLayouts/slideLayout268.xml"/><Relationship Id="rId16" Type="http://schemas.openxmlformats.org/officeDocument/2006/relationships/tags" Target="../tags/tag849.xml"/><Relationship Id="rId20" Type="http://schemas.openxmlformats.org/officeDocument/2006/relationships/tags" Target="../tags/tag853.xml"/><Relationship Id="rId1" Type="http://schemas.openxmlformats.org/officeDocument/2006/relationships/slideLayout" Target="../slideLayouts/slideLayout267.xml"/><Relationship Id="rId6" Type="http://schemas.openxmlformats.org/officeDocument/2006/relationships/slideLayout" Target="../slideLayouts/slideLayout272.xml"/><Relationship Id="rId11" Type="http://schemas.openxmlformats.org/officeDocument/2006/relationships/theme" Target="../theme/theme31.xml"/><Relationship Id="rId5" Type="http://schemas.openxmlformats.org/officeDocument/2006/relationships/slideLayout" Target="../slideLayouts/slideLayout271.xml"/><Relationship Id="rId15" Type="http://schemas.openxmlformats.org/officeDocument/2006/relationships/tags" Target="../tags/tag848.xml"/><Relationship Id="rId10" Type="http://schemas.openxmlformats.org/officeDocument/2006/relationships/slideLayout" Target="../slideLayouts/slideLayout276.xml"/><Relationship Id="rId19" Type="http://schemas.openxmlformats.org/officeDocument/2006/relationships/tags" Target="../tags/tag852.xml"/><Relationship Id="rId4" Type="http://schemas.openxmlformats.org/officeDocument/2006/relationships/slideLayout" Target="../slideLayouts/slideLayout270.xml"/><Relationship Id="rId9" Type="http://schemas.openxmlformats.org/officeDocument/2006/relationships/slideLayout" Target="../slideLayouts/slideLayout275.xml"/><Relationship Id="rId14" Type="http://schemas.openxmlformats.org/officeDocument/2006/relationships/tags" Target="../tags/tag847.xml"/><Relationship Id="rId22" Type="http://schemas.openxmlformats.org/officeDocument/2006/relationships/image" Target="../media/image2.png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4.xml"/><Relationship Id="rId13" Type="http://schemas.openxmlformats.org/officeDocument/2006/relationships/tags" Target="../tags/tag881.xml"/><Relationship Id="rId18" Type="http://schemas.openxmlformats.org/officeDocument/2006/relationships/tags" Target="../tags/tag886.xml"/><Relationship Id="rId3" Type="http://schemas.openxmlformats.org/officeDocument/2006/relationships/slideLayout" Target="../slideLayouts/slideLayout279.xml"/><Relationship Id="rId21" Type="http://schemas.openxmlformats.org/officeDocument/2006/relationships/oleObject" Target="../embeddings/oleObject242.bin"/><Relationship Id="rId7" Type="http://schemas.openxmlformats.org/officeDocument/2006/relationships/slideLayout" Target="../slideLayouts/slideLayout283.xml"/><Relationship Id="rId12" Type="http://schemas.openxmlformats.org/officeDocument/2006/relationships/vmlDrawing" Target="../drawings/vmlDrawing225.vml"/><Relationship Id="rId17" Type="http://schemas.openxmlformats.org/officeDocument/2006/relationships/tags" Target="../tags/tag885.xml"/><Relationship Id="rId2" Type="http://schemas.openxmlformats.org/officeDocument/2006/relationships/slideLayout" Target="../slideLayouts/slideLayout278.xml"/><Relationship Id="rId16" Type="http://schemas.openxmlformats.org/officeDocument/2006/relationships/tags" Target="../tags/tag884.xml"/><Relationship Id="rId20" Type="http://schemas.openxmlformats.org/officeDocument/2006/relationships/tags" Target="../tags/tag888.xml"/><Relationship Id="rId1" Type="http://schemas.openxmlformats.org/officeDocument/2006/relationships/slideLayout" Target="../slideLayouts/slideLayout277.xml"/><Relationship Id="rId6" Type="http://schemas.openxmlformats.org/officeDocument/2006/relationships/slideLayout" Target="../slideLayouts/slideLayout282.xml"/><Relationship Id="rId11" Type="http://schemas.openxmlformats.org/officeDocument/2006/relationships/theme" Target="../theme/theme32.xml"/><Relationship Id="rId5" Type="http://schemas.openxmlformats.org/officeDocument/2006/relationships/slideLayout" Target="../slideLayouts/slideLayout281.xml"/><Relationship Id="rId15" Type="http://schemas.openxmlformats.org/officeDocument/2006/relationships/tags" Target="../tags/tag883.xml"/><Relationship Id="rId10" Type="http://schemas.openxmlformats.org/officeDocument/2006/relationships/slideLayout" Target="../slideLayouts/slideLayout286.xml"/><Relationship Id="rId19" Type="http://schemas.openxmlformats.org/officeDocument/2006/relationships/tags" Target="../tags/tag887.xml"/><Relationship Id="rId4" Type="http://schemas.openxmlformats.org/officeDocument/2006/relationships/slideLayout" Target="../slideLayouts/slideLayout280.xml"/><Relationship Id="rId9" Type="http://schemas.openxmlformats.org/officeDocument/2006/relationships/slideLayout" Target="../slideLayouts/slideLayout285.xml"/><Relationship Id="rId14" Type="http://schemas.openxmlformats.org/officeDocument/2006/relationships/tags" Target="../tags/tag882.xml"/><Relationship Id="rId22" Type="http://schemas.openxmlformats.org/officeDocument/2006/relationships/image" Target="../media/image2.png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4.xml"/><Relationship Id="rId13" Type="http://schemas.openxmlformats.org/officeDocument/2006/relationships/tags" Target="../tags/tag916.xml"/><Relationship Id="rId18" Type="http://schemas.openxmlformats.org/officeDocument/2006/relationships/tags" Target="../tags/tag921.xml"/><Relationship Id="rId3" Type="http://schemas.openxmlformats.org/officeDocument/2006/relationships/slideLayout" Target="../slideLayouts/slideLayout289.xml"/><Relationship Id="rId21" Type="http://schemas.openxmlformats.org/officeDocument/2006/relationships/oleObject" Target="../embeddings/oleObject251.bin"/><Relationship Id="rId7" Type="http://schemas.openxmlformats.org/officeDocument/2006/relationships/slideLayout" Target="../slideLayouts/slideLayout293.xml"/><Relationship Id="rId12" Type="http://schemas.openxmlformats.org/officeDocument/2006/relationships/vmlDrawing" Target="../drawings/vmlDrawing234.vml"/><Relationship Id="rId17" Type="http://schemas.openxmlformats.org/officeDocument/2006/relationships/tags" Target="../tags/tag920.xml"/><Relationship Id="rId2" Type="http://schemas.openxmlformats.org/officeDocument/2006/relationships/slideLayout" Target="../slideLayouts/slideLayout288.xml"/><Relationship Id="rId16" Type="http://schemas.openxmlformats.org/officeDocument/2006/relationships/tags" Target="../tags/tag919.xml"/><Relationship Id="rId20" Type="http://schemas.openxmlformats.org/officeDocument/2006/relationships/tags" Target="../tags/tag923.xml"/><Relationship Id="rId1" Type="http://schemas.openxmlformats.org/officeDocument/2006/relationships/slideLayout" Target="../slideLayouts/slideLayout287.xml"/><Relationship Id="rId6" Type="http://schemas.openxmlformats.org/officeDocument/2006/relationships/slideLayout" Target="../slideLayouts/slideLayout292.xml"/><Relationship Id="rId11" Type="http://schemas.openxmlformats.org/officeDocument/2006/relationships/theme" Target="../theme/theme33.xml"/><Relationship Id="rId5" Type="http://schemas.openxmlformats.org/officeDocument/2006/relationships/slideLayout" Target="../slideLayouts/slideLayout291.xml"/><Relationship Id="rId15" Type="http://schemas.openxmlformats.org/officeDocument/2006/relationships/tags" Target="../tags/tag918.xml"/><Relationship Id="rId10" Type="http://schemas.openxmlformats.org/officeDocument/2006/relationships/slideLayout" Target="../slideLayouts/slideLayout296.xml"/><Relationship Id="rId19" Type="http://schemas.openxmlformats.org/officeDocument/2006/relationships/tags" Target="../tags/tag922.xml"/><Relationship Id="rId4" Type="http://schemas.openxmlformats.org/officeDocument/2006/relationships/slideLayout" Target="../slideLayouts/slideLayout290.xml"/><Relationship Id="rId9" Type="http://schemas.openxmlformats.org/officeDocument/2006/relationships/slideLayout" Target="../slideLayouts/slideLayout295.xml"/><Relationship Id="rId14" Type="http://schemas.openxmlformats.org/officeDocument/2006/relationships/tags" Target="../tags/tag917.xml"/><Relationship Id="rId22" Type="http://schemas.openxmlformats.org/officeDocument/2006/relationships/image" Target="../media/image2.png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4.xml"/><Relationship Id="rId13" Type="http://schemas.openxmlformats.org/officeDocument/2006/relationships/tags" Target="../tags/tag951.xml"/><Relationship Id="rId18" Type="http://schemas.openxmlformats.org/officeDocument/2006/relationships/tags" Target="../tags/tag956.xml"/><Relationship Id="rId3" Type="http://schemas.openxmlformats.org/officeDocument/2006/relationships/slideLayout" Target="../slideLayouts/slideLayout299.xml"/><Relationship Id="rId21" Type="http://schemas.openxmlformats.org/officeDocument/2006/relationships/oleObject" Target="../embeddings/oleObject260.bin"/><Relationship Id="rId7" Type="http://schemas.openxmlformats.org/officeDocument/2006/relationships/slideLayout" Target="../slideLayouts/slideLayout303.xml"/><Relationship Id="rId12" Type="http://schemas.openxmlformats.org/officeDocument/2006/relationships/vmlDrawing" Target="../drawings/vmlDrawing243.vml"/><Relationship Id="rId17" Type="http://schemas.openxmlformats.org/officeDocument/2006/relationships/tags" Target="../tags/tag955.xml"/><Relationship Id="rId2" Type="http://schemas.openxmlformats.org/officeDocument/2006/relationships/slideLayout" Target="../slideLayouts/slideLayout298.xml"/><Relationship Id="rId16" Type="http://schemas.openxmlformats.org/officeDocument/2006/relationships/tags" Target="../tags/tag954.xml"/><Relationship Id="rId20" Type="http://schemas.openxmlformats.org/officeDocument/2006/relationships/tags" Target="../tags/tag958.xml"/><Relationship Id="rId1" Type="http://schemas.openxmlformats.org/officeDocument/2006/relationships/slideLayout" Target="../slideLayouts/slideLayout297.xml"/><Relationship Id="rId6" Type="http://schemas.openxmlformats.org/officeDocument/2006/relationships/slideLayout" Target="../slideLayouts/slideLayout302.xml"/><Relationship Id="rId11" Type="http://schemas.openxmlformats.org/officeDocument/2006/relationships/theme" Target="../theme/theme34.xml"/><Relationship Id="rId5" Type="http://schemas.openxmlformats.org/officeDocument/2006/relationships/slideLayout" Target="../slideLayouts/slideLayout301.xml"/><Relationship Id="rId15" Type="http://schemas.openxmlformats.org/officeDocument/2006/relationships/tags" Target="../tags/tag953.xml"/><Relationship Id="rId10" Type="http://schemas.openxmlformats.org/officeDocument/2006/relationships/slideLayout" Target="../slideLayouts/slideLayout306.xml"/><Relationship Id="rId19" Type="http://schemas.openxmlformats.org/officeDocument/2006/relationships/tags" Target="../tags/tag957.xml"/><Relationship Id="rId4" Type="http://schemas.openxmlformats.org/officeDocument/2006/relationships/slideLayout" Target="../slideLayouts/slideLayout300.xml"/><Relationship Id="rId9" Type="http://schemas.openxmlformats.org/officeDocument/2006/relationships/slideLayout" Target="../slideLayouts/slideLayout305.xml"/><Relationship Id="rId14" Type="http://schemas.openxmlformats.org/officeDocument/2006/relationships/tags" Target="../tags/tag952.xml"/><Relationship Id="rId22" Type="http://schemas.openxmlformats.org/officeDocument/2006/relationships/image" Target="../media/image2.png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4.xml"/><Relationship Id="rId13" Type="http://schemas.openxmlformats.org/officeDocument/2006/relationships/tags" Target="../tags/tag986.xml"/><Relationship Id="rId18" Type="http://schemas.openxmlformats.org/officeDocument/2006/relationships/tags" Target="../tags/tag991.xml"/><Relationship Id="rId3" Type="http://schemas.openxmlformats.org/officeDocument/2006/relationships/slideLayout" Target="../slideLayouts/slideLayout309.xml"/><Relationship Id="rId21" Type="http://schemas.openxmlformats.org/officeDocument/2006/relationships/oleObject" Target="../embeddings/oleObject269.bin"/><Relationship Id="rId7" Type="http://schemas.openxmlformats.org/officeDocument/2006/relationships/slideLayout" Target="../slideLayouts/slideLayout313.xml"/><Relationship Id="rId12" Type="http://schemas.openxmlformats.org/officeDocument/2006/relationships/vmlDrawing" Target="../drawings/vmlDrawing252.vml"/><Relationship Id="rId17" Type="http://schemas.openxmlformats.org/officeDocument/2006/relationships/tags" Target="../tags/tag990.xml"/><Relationship Id="rId2" Type="http://schemas.openxmlformats.org/officeDocument/2006/relationships/slideLayout" Target="../slideLayouts/slideLayout308.xml"/><Relationship Id="rId16" Type="http://schemas.openxmlformats.org/officeDocument/2006/relationships/tags" Target="../tags/tag989.xml"/><Relationship Id="rId20" Type="http://schemas.openxmlformats.org/officeDocument/2006/relationships/tags" Target="../tags/tag993.xml"/><Relationship Id="rId1" Type="http://schemas.openxmlformats.org/officeDocument/2006/relationships/slideLayout" Target="../slideLayouts/slideLayout307.xml"/><Relationship Id="rId6" Type="http://schemas.openxmlformats.org/officeDocument/2006/relationships/slideLayout" Target="../slideLayouts/slideLayout312.xml"/><Relationship Id="rId11" Type="http://schemas.openxmlformats.org/officeDocument/2006/relationships/theme" Target="../theme/theme35.xml"/><Relationship Id="rId5" Type="http://schemas.openxmlformats.org/officeDocument/2006/relationships/slideLayout" Target="../slideLayouts/slideLayout311.xml"/><Relationship Id="rId15" Type="http://schemas.openxmlformats.org/officeDocument/2006/relationships/tags" Target="../tags/tag988.xml"/><Relationship Id="rId10" Type="http://schemas.openxmlformats.org/officeDocument/2006/relationships/slideLayout" Target="../slideLayouts/slideLayout316.xml"/><Relationship Id="rId19" Type="http://schemas.openxmlformats.org/officeDocument/2006/relationships/tags" Target="../tags/tag992.xml"/><Relationship Id="rId4" Type="http://schemas.openxmlformats.org/officeDocument/2006/relationships/slideLayout" Target="../slideLayouts/slideLayout310.xml"/><Relationship Id="rId9" Type="http://schemas.openxmlformats.org/officeDocument/2006/relationships/slideLayout" Target="../slideLayouts/slideLayout315.xml"/><Relationship Id="rId14" Type="http://schemas.openxmlformats.org/officeDocument/2006/relationships/tags" Target="../tags/tag987.xml"/><Relationship Id="rId22" Type="http://schemas.openxmlformats.org/officeDocument/2006/relationships/image" Target="../media/image2.png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61.vml"/><Relationship Id="rId13" Type="http://schemas.openxmlformats.org/officeDocument/2006/relationships/tags" Target="../tags/tag1025.xml"/><Relationship Id="rId3" Type="http://schemas.openxmlformats.org/officeDocument/2006/relationships/slideLayout" Target="../slideLayouts/slideLayout319.xml"/><Relationship Id="rId7" Type="http://schemas.openxmlformats.org/officeDocument/2006/relationships/theme" Target="../theme/theme36.xml"/><Relationship Id="rId12" Type="http://schemas.openxmlformats.org/officeDocument/2006/relationships/tags" Target="../tags/tag1024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318.xml"/><Relationship Id="rId16" Type="http://schemas.openxmlformats.org/officeDocument/2006/relationships/oleObject" Target="../embeddings/oleObject278.bin"/><Relationship Id="rId1" Type="http://schemas.openxmlformats.org/officeDocument/2006/relationships/slideLayout" Target="../slideLayouts/slideLayout317.xml"/><Relationship Id="rId6" Type="http://schemas.openxmlformats.org/officeDocument/2006/relationships/slideLayout" Target="../slideLayouts/slideLayout322.xml"/><Relationship Id="rId11" Type="http://schemas.openxmlformats.org/officeDocument/2006/relationships/tags" Target="../tags/tag1023.xml"/><Relationship Id="rId5" Type="http://schemas.openxmlformats.org/officeDocument/2006/relationships/slideLayout" Target="../slideLayouts/slideLayout321.xml"/><Relationship Id="rId15" Type="http://schemas.openxmlformats.org/officeDocument/2006/relationships/tags" Target="../tags/tag1027.xml"/><Relationship Id="rId10" Type="http://schemas.openxmlformats.org/officeDocument/2006/relationships/tags" Target="../tags/tag1022.xml"/><Relationship Id="rId4" Type="http://schemas.openxmlformats.org/officeDocument/2006/relationships/slideLayout" Target="../slideLayouts/slideLayout320.xml"/><Relationship Id="rId9" Type="http://schemas.openxmlformats.org/officeDocument/2006/relationships/tags" Target="../tags/tag1021.xml"/><Relationship Id="rId14" Type="http://schemas.openxmlformats.org/officeDocument/2006/relationships/tags" Target="../tags/tag1026.xml"/></Relationships>
</file>

<file path=ppt/slideMasters/_rels/slideMaster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0.xml"/><Relationship Id="rId13" Type="http://schemas.openxmlformats.org/officeDocument/2006/relationships/tags" Target="../tags/tag1033.xml"/><Relationship Id="rId18" Type="http://schemas.openxmlformats.org/officeDocument/2006/relationships/tags" Target="../tags/tag1038.xml"/><Relationship Id="rId3" Type="http://schemas.openxmlformats.org/officeDocument/2006/relationships/slideLayout" Target="../slideLayouts/slideLayout325.xml"/><Relationship Id="rId21" Type="http://schemas.openxmlformats.org/officeDocument/2006/relationships/oleObject" Target="../embeddings/oleObject285.bin"/><Relationship Id="rId7" Type="http://schemas.openxmlformats.org/officeDocument/2006/relationships/slideLayout" Target="../slideLayouts/slideLayout329.xml"/><Relationship Id="rId12" Type="http://schemas.openxmlformats.org/officeDocument/2006/relationships/vmlDrawing" Target="../drawings/vmlDrawing265.vml"/><Relationship Id="rId17" Type="http://schemas.openxmlformats.org/officeDocument/2006/relationships/tags" Target="../tags/tag1037.xml"/><Relationship Id="rId2" Type="http://schemas.openxmlformats.org/officeDocument/2006/relationships/slideLayout" Target="../slideLayouts/slideLayout324.xml"/><Relationship Id="rId16" Type="http://schemas.openxmlformats.org/officeDocument/2006/relationships/tags" Target="../tags/tag1036.xml"/><Relationship Id="rId20" Type="http://schemas.openxmlformats.org/officeDocument/2006/relationships/tags" Target="../tags/tag1040.xml"/><Relationship Id="rId1" Type="http://schemas.openxmlformats.org/officeDocument/2006/relationships/slideLayout" Target="../slideLayouts/slideLayout323.xml"/><Relationship Id="rId6" Type="http://schemas.openxmlformats.org/officeDocument/2006/relationships/slideLayout" Target="../slideLayouts/slideLayout328.xml"/><Relationship Id="rId11" Type="http://schemas.openxmlformats.org/officeDocument/2006/relationships/theme" Target="../theme/theme37.xml"/><Relationship Id="rId5" Type="http://schemas.openxmlformats.org/officeDocument/2006/relationships/slideLayout" Target="../slideLayouts/slideLayout327.xml"/><Relationship Id="rId15" Type="http://schemas.openxmlformats.org/officeDocument/2006/relationships/tags" Target="../tags/tag1035.xml"/><Relationship Id="rId10" Type="http://schemas.openxmlformats.org/officeDocument/2006/relationships/slideLayout" Target="../slideLayouts/slideLayout332.xml"/><Relationship Id="rId19" Type="http://schemas.openxmlformats.org/officeDocument/2006/relationships/tags" Target="../tags/tag1039.xml"/><Relationship Id="rId4" Type="http://schemas.openxmlformats.org/officeDocument/2006/relationships/slideLayout" Target="../slideLayouts/slideLayout326.xml"/><Relationship Id="rId9" Type="http://schemas.openxmlformats.org/officeDocument/2006/relationships/slideLayout" Target="../slideLayouts/slideLayout331.xml"/><Relationship Id="rId14" Type="http://schemas.openxmlformats.org/officeDocument/2006/relationships/tags" Target="../tags/tag1034.xml"/><Relationship Id="rId22" Type="http://schemas.openxmlformats.org/officeDocument/2006/relationships/image" Target="../media/image2.png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0.xml"/><Relationship Id="rId13" Type="http://schemas.openxmlformats.org/officeDocument/2006/relationships/tags" Target="../tags/tag1068.xml"/><Relationship Id="rId18" Type="http://schemas.openxmlformats.org/officeDocument/2006/relationships/tags" Target="../tags/tag1073.xml"/><Relationship Id="rId3" Type="http://schemas.openxmlformats.org/officeDocument/2006/relationships/slideLayout" Target="../slideLayouts/slideLayout335.xml"/><Relationship Id="rId21" Type="http://schemas.openxmlformats.org/officeDocument/2006/relationships/oleObject" Target="../embeddings/oleObject294.bin"/><Relationship Id="rId7" Type="http://schemas.openxmlformats.org/officeDocument/2006/relationships/slideLayout" Target="../slideLayouts/slideLayout339.xml"/><Relationship Id="rId12" Type="http://schemas.openxmlformats.org/officeDocument/2006/relationships/vmlDrawing" Target="../drawings/vmlDrawing274.vml"/><Relationship Id="rId17" Type="http://schemas.openxmlformats.org/officeDocument/2006/relationships/tags" Target="../tags/tag1072.xml"/><Relationship Id="rId2" Type="http://schemas.openxmlformats.org/officeDocument/2006/relationships/slideLayout" Target="../slideLayouts/slideLayout334.xml"/><Relationship Id="rId16" Type="http://schemas.openxmlformats.org/officeDocument/2006/relationships/tags" Target="../tags/tag1071.xml"/><Relationship Id="rId20" Type="http://schemas.openxmlformats.org/officeDocument/2006/relationships/tags" Target="../tags/tag1075.xml"/><Relationship Id="rId1" Type="http://schemas.openxmlformats.org/officeDocument/2006/relationships/slideLayout" Target="../slideLayouts/slideLayout333.xml"/><Relationship Id="rId6" Type="http://schemas.openxmlformats.org/officeDocument/2006/relationships/slideLayout" Target="../slideLayouts/slideLayout338.xml"/><Relationship Id="rId11" Type="http://schemas.openxmlformats.org/officeDocument/2006/relationships/theme" Target="../theme/theme38.xml"/><Relationship Id="rId5" Type="http://schemas.openxmlformats.org/officeDocument/2006/relationships/slideLayout" Target="../slideLayouts/slideLayout337.xml"/><Relationship Id="rId15" Type="http://schemas.openxmlformats.org/officeDocument/2006/relationships/tags" Target="../tags/tag1070.xml"/><Relationship Id="rId10" Type="http://schemas.openxmlformats.org/officeDocument/2006/relationships/slideLayout" Target="../slideLayouts/slideLayout342.xml"/><Relationship Id="rId19" Type="http://schemas.openxmlformats.org/officeDocument/2006/relationships/tags" Target="../tags/tag1074.xml"/><Relationship Id="rId4" Type="http://schemas.openxmlformats.org/officeDocument/2006/relationships/slideLayout" Target="../slideLayouts/slideLayout336.xml"/><Relationship Id="rId9" Type="http://schemas.openxmlformats.org/officeDocument/2006/relationships/slideLayout" Target="../slideLayouts/slideLayout341.xml"/><Relationship Id="rId14" Type="http://schemas.openxmlformats.org/officeDocument/2006/relationships/tags" Target="../tags/tag1069.xml"/><Relationship Id="rId22" Type="http://schemas.openxmlformats.org/officeDocument/2006/relationships/image" Target="../media/image2.png"/></Relationships>
</file>

<file path=ppt/slideMasters/_rels/slideMaster3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0.xml"/><Relationship Id="rId13" Type="http://schemas.openxmlformats.org/officeDocument/2006/relationships/tags" Target="../tags/tag1103.xml"/><Relationship Id="rId18" Type="http://schemas.openxmlformats.org/officeDocument/2006/relationships/tags" Target="../tags/tag1108.xml"/><Relationship Id="rId3" Type="http://schemas.openxmlformats.org/officeDocument/2006/relationships/slideLayout" Target="../slideLayouts/slideLayout345.xml"/><Relationship Id="rId21" Type="http://schemas.openxmlformats.org/officeDocument/2006/relationships/oleObject" Target="../embeddings/oleObject303.bin"/><Relationship Id="rId7" Type="http://schemas.openxmlformats.org/officeDocument/2006/relationships/slideLayout" Target="../slideLayouts/slideLayout349.xml"/><Relationship Id="rId12" Type="http://schemas.openxmlformats.org/officeDocument/2006/relationships/vmlDrawing" Target="../drawings/vmlDrawing283.vml"/><Relationship Id="rId17" Type="http://schemas.openxmlformats.org/officeDocument/2006/relationships/tags" Target="../tags/tag1107.xml"/><Relationship Id="rId2" Type="http://schemas.openxmlformats.org/officeDocument/2006/relationships/slideLayout" Target="../slideLayouts/slideLayout344.xml"/><Relationship Id="rId16" Type="http://schemas.openxmlformats.org/officeDocument/2006/relationships/tags" Target="../tags/tag1106.xml"/><Relationship Id="rId20" Type="http://schemas.openxmlformats.org/officeDocument/2006/relationships/tags" Target="../tags/tag1110.xml"/><Relationship Id="rId1" Type="http://schemas.openxmlformats.org/officeDocument/2006/relationships/slideLayout" Target="../slideLayouts/slideLayout343.xml"/><Relationship Id="rId6" Type="http://schemas.openxmlformats.org/officeDocument/2006/relationships/slideLayout" Target="../slideLayouts/slideLayout348.xml"/><Relationship Id="rId11" Type="http://schemas.openxmlformats.org/officeDocument/2006/relationships/theme" Target="../theme/theme39.xml"/><Relationship Id="rId5" Type="http://schemas.openxmlformats.org/officeDocument/2006/relationships/slideLayout" Target="../slideLayouts/slideLayout347.xml"/><Relationship Id="rId15" Type="http://schemas.openxmlformats.org/officeDocument/2006/relationships/tags" Target="../tags/tag1105.xml"/><Relationship Id="rId10" Type="http://schemas.openxmlformats.org/officeDocument/2006/relationships/slideLayout" Target="../slideLayouts/slideLayout352.xml"/><Relationship Id="rId19" Type="http://schemas.openxmlformats.org/officeDocument/2006/relationships/tags" Target="../tags/tag1109.xml"/><Relationship Id="rId4" Type="http://schemas.openxmlformats.org/officeDocument/2006/relationships/slideLayout" Target="../slideLayouts/slideLayout346.xml"/><Relationship Id="rId9" Type="http://schemas.openxmlformats.org/officeDocument/2006/relationships/slideLayout" Target="../slideLayouts/slideLayout351.xml"/><Relationship Id="rId14" Type="http://schemas.openxmlformats.org/officeDocument/2006/relationships/tags" Target="../tags/tag1104.xml"/><Relationship Id="rId22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theme" Target="../theme/theme4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_rels/slideMaster4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0.xml"/><Relationship Id="rId13" Type="http://schemas.openxmlformats.org/officeDocument/2006/relationships/tags" Target="../tags/tag1138.xml"/><Relationship Id="rId18" Type="http://schemas.openxmlformats.org/officeDocument/2006/relationships/tags" Target="../tags/tag1143.xml"/><Relationship Id="rId3" Type="http://schemas.openxmlformats.org/officeDocument/2006/relationships/slideLayout" Target="../slideLayouts/slideLayout355.xml"/><Relationship Id="rId21" Type="http://schemas.openxmlformats.org/officeDocument/2006/relationships/oleObject" Target="../embeddings/oleObject312.bin"/><Relationship Id="rId7" Type="http://schemas.openxmlformats.org/officeDocument/2006/relationships/slideLayout" Target="../slideLayouts/slideLayout359.xml"/><Relationship Id="rId12" Type="http://schemas.openxmlformats.org/officeDocument/2006/relationships/vmlDrawing" Target="../drawings/vmlDrawing292.vml"/><Relationship Id="rId17" Type="http://schemas.openxmlformats.org/officeDocument/2006/relationships/tags" Target="../tags/tag1142.xml"/><Relationship Id="rId2" Type="http://schemas.openxmlformats.org/officeDocument/2006/relationships/slideLayout" Target="../slideLayouts/slideLayout354.xml"/><Relationship Id="rId16" Type="http://schemas.openxmlformats.org/officeDocument/2006/relationships/tags" Target="../tags/tag1141.xml"/><Relationship Id="rId20" Type="http://schemas.openxmlformats.org/officeDocument/2006/relationships/tags" Target="../tags/tag1145.xml"/><Relationship Id="rId1" Type="http://schemas.openxmlformats.org/officeDocument/2006/relationships/slideLayout" Target="../slideLayouts/slideLayout353.xml"/><Relationship Id="rId6" Type="http://schemas.openxmlformats.org/officeDocument/2006/relationships/slideLayout" Target="../slideLayouts/slideLayout358.xml"/><Relationship Id="rId11" Type="http://schemas.openxmlformats.org/officeDocument/2006/relationships/theme" Target="../theme/theme40.xml"/><Relationship Id="rId5" Type="http://schemas.openxmlformats.org/officeDocument/2006/relationships/slideLayout" Target="../slideLayouts/slideLayout357.xml"/><Relationship Id="rId15" Type="http://schemas.openxmlformats.org/officeDocument/2006/relationships/tags" Target="../tags/tag1140.xml"/><Relationship Id="rId10" Type="http://schemas.openxmlformats.org/officeDocument/2006/relationships/slideLayout" Target="../slideLayouts/slideLayout362.xml"/><Relationship Id="rId19" Type="http://schemas.openxmlformats.org/officeDocument/2006/relationships/tags" Target="../tags/tag1144.xml"/><Relationship Id="rId4" Type="http://schemas.openxmlformats.org/officeDocument/2006/relationships/slideLayout" Target="../slideLayouts/slideLayout356.xml"/><Relationship Id="rId9" Type="http://schemas.openxmlformats.org/officeDocument/2006/relationships/slideLayout" Target="../slideLayouts/slideLayout361.xml"/><Relationship Id="rId14" Type="http://schemas.openxmlformats.org/officeDocument/2006/relationships/tags" Target="../tags/tag1139.xml"/><Relationship Id="rId22" Type="http://schemas.openxmlformats.org/officeDocument/2006/relationships/image" Target="../media/image2.png"/></Relationships>
</file>

<file path=ppt/slideMasters/_rels/slideMaster4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0.xml"/><Relationship Id="rId13" Type="http://schemas.openxmlformats.org/officeDocument/2006/relationships/tags" Target="../tags/tag1173.xml"/><Relationship Id="rId18" Type="http://schemas.openxmlformats.org/officeDocument/2006/relationships/tags" Target="../tags/tag1178.xml"/><Relationship Id="rId3" Type="http://schemas.openxmlformats.org/officeDocument/2006/relationships/slideLayout" Target="../slideLayouts/slideLayout365.xml"/><Relationship Id="rId21" Type="http://schemas.openxmlformats.org/officeDocument/2006/relationships/oleObject" Target="../embeddings/oleObject321.bin"/><Relationship Id="rId7" Type="http://schemas.openxmlformats.org/officeDocument/2006/relationships/slideLayout" Target="../slideLayouts/slideLayout369.xml"/><Relationship Id="rId12" Type="http://schemas.openxmlformats.org/officeDocument/2006/relationships/vmlDrawing" Target="../drawings/vmlDrawing301.vml"/><Relationship Id="rId17" Type="http://schemas.openxmlformats.org/officeDocument/2006/relationships/tags" Target="../tags/tag1177.xml"/><Relationship Id="rId2" Type="http://schemas.openxmlformats.org/officeDocument/2006/relationships/slideLayout" Target="../slideLayouts/slideLayout364.xml"/><Relationship Id="rId16" Type="http://schemas.openxmlformats.org/officeDocument/2006/relationships/tags" Target="../tags/tag1176.xml"/><Relationship Id="rId20" Type="http://schemas.openxmlformats.org/officeDocument/2006/relationships/tags" Target="../tags/tag1180.xml"/><Relationship Id="rId1" Type="http://schemas.openxmlformats.org/officeDocument/2006/relationships/slideLayout" Target="../slideLayouts/slideLayout363.xml"/><Relationship Id="rId6" Type="http://schemas.openxmlformats.org/officeDocument/2006/relationships/slideLayout" Target="../slideLayouts/slideLayout368.xml"/><Relationship Id="rId11" Type="http://schemas.openxmlformats.org/officeDocument/2006/relationships/theme" Target="../theme/theme41.xml"/><Relationship Id="rId5" Type="http://schemas.openxmlformats.org/officeDocument/2006/relationships/slideLayout" Target="../slideLayouts/slideLayout367.xml"/><Relationship Id="rId15" Type="http://schemas.openxmlformats.org/officeDocument/2006/relationships/tags" Target="../tags/tag1175.xml"/><Relationship Id="rId10" Type="http://schemas.openxmlformats.org/officeDocument/2006/relationships/slideLayout" Target="../slideLayouts/slideLayout372.xml"/><Relationship Id="rId19" Type="http://schemas.openxmlformats.org/officeDocument/2006/relationships/tags" Target="../tags/tag1179.xml"/><Relationship Id="rId4" Type="http://schemas.openxmlformats.org/officeDocument/2006/relationships/slideLayout" Target="../slideLayouts/slideLayout366.xml"/><Relationship Id="rId9" Type="http://schemas.openxmlformats.org/officeDocument/2006/relationships/slideLayout" Target="../slideLayouts/slideLayout371.xml"/><Relationship Id="rId14" Type="http://schemas.openxmlformats.org/officeDocument/2006/relationships/tags" Target="../tags/tag1174.xml"/><Relationship Id="rId22" Type="http://schemas.openxmlformats.org/officeDocument/2006/relationships/image" Target="../media/image2.png"/></Relationships>
</file>

<file path=ppt/slideMasters/_rels/slideMaster4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0.xml"/><Relationship Id="rId13" Type="http://schemas.openxmlformats.org/officeDocument/2006/relationships/tags" Target="../tags/tag1208.xml"/><Relationship Id="rId18" Type="http://schemas.openxmlformats.org/officeDocument/2006/relationships/tags" Target="../tags/tag1213.xml"/><Relationship Id="rId3" Type="http://schemas.openxmlformats.org/officeDocument/2006/relationships/slideLayout" Target="../slideLayouts/slideLayout375.xml"/><Relationship Id="rId21" Type="http://schemas.openxmlformats.org/officeDocument/2006/relationships/oleObject" Target="../embeddings/oleObject330.bin"/><Relationship Id="rId7" Type="http://schemas.openxmlformats.org/officeDocument/2006/relationships/slideLayout" Target="../slideLayouts/slideLayout379.xml"/><Relationship Id="rId12" Type="http://schemas.openxmlformats.org/officeDocument/2006/relationships/vmlDrawing" Target="../drawings/vmlDrawing310.vml"/><Relationship Id="rId17" Type="http://schemas.openxmlformats.org/officeDocument/2006/relationships/tags" Target="../tags/tag1212.xml"/><Relationship Id="rId2" Type="http://schemas.openxmlformats.org/officeDocument/2006/relationships/slideLayout" Target="../slideLayouts/slideLayout374.xml"/><Relationship Id="rId16" Type="http://schemas.openxmlformats.org/officeDocument/2006/relationships/tags" Target="../tags/tag1211.xml"/><Relationship Id="rId20" Type="http://schemas.openxmlformats.org/officeDocument/2006/relationships/tags" Target="../tags/tag1215.xml"/><Relationship Id="rId1" Type="http://schemas.openxmlformats.org/officeDocument/2006/relationships/slideLayout" Target="../slideLayouts/slideLayout373.xml"/><Relationship Id="rId6" Type="http://schemas.openxmlformats.org/officeDocument/2006/relationships/slideLayout" Target="../slideLayouts/slideLayout378.xml"/><Relationship Id="rId11" Type="http://schemas.openxmlformats.org/officeDocument/2006/relationships/theme" Target="../theme/theme42.xml"/><Relationship Id="rId5" Type="http://schemas.openxmlformats.org/officeDocument/2006/relationships/slideLayout" Target="../slideLayouts/slideLayout377.xml"/><Relationship Id="rId15" Type="http://schemas.openxmlformats.org/officeDocument/2006/relationships/tags" Target="../tags/tag1210.xml"/><Relationship Id="rId10" Type="http://schemas.openxmlformats.org/officeDocument/2006/relationships/slideLayout" Target="../slideLayouts/slideLayout382.xml"/><Relationship Id="rId19" Type="http://schemas.openxmlformats.org/officeDocument/2006/relationships/tags" Target="../tags/tag1214.xml"/><Relationship Id="rId4" Type="http://schemas.openxmlformats.org/officeDocument/2006/relationships/slideLayout" Target="../slideLayouts/slideLayout376.xml"/><Relationship Id="rId9" Type="http://schemas.openxmlformats.org/officeDocument/2006/relationships/slideLayout" Target="../slideLayouts/slideLayout381.xml"/><Relationship Id="rId14" Type="http://schemas.openxmlformats.org/officeDocument/2006/relationships/tags" Target="../tags/tag1209.xml"/><Relationship Id="rId22" Type="http://schemas.openxmlformats.org/officeDocument/2006/relationships/image" Target="../media/image2.png"/></Relationships>
</file>

<file path=ppt/slideMasters/_rels/slideMaster4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0.xml"/><Relationship Id="rId13" Type="http://schemas.openxmlformats.org/officeDocument/2006/relationships/tags" Target="../tags/tag1243.xml"/><Relationship Id="rId18" Type="http://schemas.openxmlformats.org/officeDocument/2006/relationships/tags" Target="../tags/tag1248.xml"/><Relationship Id="rId3" Type="http://schemas.openxmlformats.org/officeDocument/2006/relationships/slideLayout" Target="../slideLayouts/slideLayout385.xml"/><Relationship Id="rId21" Type="http://schemas.openxmlformats.org/officeDocument/2006/relationships/oleObject" Target="../embeddings/oleObject339.bin"/><Relationship Id="rId7" Type="http://schemas.openxmlformats.org/officeDocument/2006/relationships/slideLayout" Target="../slideLayouts/slideLayout389.xml"/><Relationship Id="rId12" Type="http://schemas.openxmlformats.org/officeDocument/2006/relationships/vmlDrawing" Target="../drawings/vmlDrawing319.vml"/><Relationship Id="rId17" Type="http://schemas.openxmlformats.org/officeDocument/2006/relationships/tags" Target="../tags/tag1247.xml"/><Relationship Id="rId2" Type="http://schemas.openxmlformats.org/officeDocument/2006/relationships/slideLayout" Target="../slideLayouts/slideLayout384.xml"/><Relationship Id="rId16" Type="http://schemas.openxmlformats.org/officeDocument/2006/relationships/tags" Target="../tags/tag1246.xml"/><Relationship Id="rId20" Type="http://schemas.openxmlformats.org/officeDocument/2006/relationships/tags" Target="../tags/tag1250.xml"/><Relationship Id="rId1" Type="http://schemas.openxmlformats.org/officeDocument/2006/relationships/slideLayout" Target="../slideLayouts/slideLayout383.xml"/><Relationship Id="rId6" Type="http://schemas.openxmlformats.org/officeDocument/2006/relationships/slideLayout" Target="../slideLayouts/slideLayout388.xml"/><Relationship Id="rId11" Type="http://schemas.openxmlformats.org/officeDocument/2006/relationships/theme" Target="../theme/theme43.xml"/><Relationship Id="rId5" Type="http://schemas.openxmlformats.org/officeDocument/2006/relationships/slideLayout" Target="../slideLayouts/slideLayout387.xml"/><Relationship Id="rId15" Type="http://schemas.openxmlformats.org/officeDocument/2006/relationships/tags" Target="../tags/tag1245.xml"/><Relationship Id="rId10" Type="http://schemas.openxmlformats.org/officeDocument/2006/relationships/slideLayout" Target="../slideLayouts/slideLayout392.xml"/><Relationship Id="rId19" Type="http://schemas.openxmlformats.org/officeDocument/2006/relationships/tags" Target="../tags/tag1249.xml"/><Relationship Id="rId4" Type="http://schemas.openxmlformats.org/officeDocument/2006/relationships/slideLayout" Target="../slideLayouts/slideLayout386.xml"/><Relationship Id="rId9" Type="http://schemas.openxmlformats.org/officeDocument/2006/relationships/slideLayout" Target="../slideLayouts/slideLayout391.xml"/><Relationship Id="rId14" Type="http://schemas.openxmlformats.org/officeDocument/2006/relationships/tags" Target="../tags/tag1244.xml"/><Relationship Id="rId22" Type="http://schemas.openxmlformats.org/officeDocument/2006/relationships/image" Target="../media/image2.png"/></Relationships>
</file>

<file path=ppt/slideMasters/_rels/slideMaster4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0.xml"/><Relationship Id="rId13" Type="http://schemas.openxmlformats.org/officeDocument/2006/relationships/tags" Target="../tags/tag1278.xml"/><Relationship Id="rId18" Type="http://schemas.openxmlformats.org/officeDocument/2006/relationships/tags" Target="../tags/tag1283.xml"/><Relationship Id="rId3" Type="http://schemas.openxmlformats.org/officeDocument/2006/relationships/slideLayout" Target="../slideLayouts/slideLayout395.xml"/><Relationship Id="rId21" Type="http://schemas.openxmlformats.org/officeDocument/2006/relationships/oleObject" Target="../embeddings/oleObject348.bin"/><Relationship Id="rId7" Type="http://schemas.openxmlformats.org/officeDocument/2006/relationships/slideLayout" Target="../slideLayouts/slideLayout399.xml"/><Relationship Id="rId12" Type="http://schemas.openxmlformats.org/officeDocument/2006/relationships/vmlDrawing" Target="../drawings/vmlDrawing328.vml"/><Relationship Id="rId17" Type="http://schemas.openxmlformats.org/officeDocument/2006/relationships/tags" Target="../tags/tag1282.xml"/><Relationship Id="rId2" Type="http://schemas.openxmlformats.org/officeDocument/2006/relationships/slideLayout" Target="../slideLayouts/slideLayout394.xml"/><Relationship Id="rId16" Type="http://schemas.openxmlformats.org/officeDocument/2006/relationships/tags" Target="../tags/tag1281.xml"/><Relationship Id="rId20" Type="http://schemas.openxmlformats.org/officeDocument/2006/relationships/tags" Target="../tags/tag1285.xml"/><Relationship Id="rId1" Type="http://schemas.openxmlformats.org/officeDocument/2006/relationships/slideLayout" Target="../slideLayouts/slideLayout393.xml"/><Relationship Id="rId6" Type="http://schemas.openxmlformats.org/officeDocument/2006/relationships/slideLayout" Target="../slideLayouts/slideLayout398.xml"/><Relationship Id="rId11" Type="http://schemas.openxmlformats.org/officeDocument/2006/relationships/theme" Target="../theme/theme44.xml"/><Relationship Id="rId5" Type="http://schemas.openxmlformats.org/officeDocument/2006/relationships/slideLayout" Target="../slideLayouts/slideLayout397.xml"/><Relationship Id="rId15" Type="http://schemas.openxmlformats.org/officeDocument/2006/relationships/tags" Target="../tags/tag1280.xml"/><Relationship Id="rId10" Type="http://schemas.openxmlformats.org/officeDocument/2006/relationships/slideLayout" Target="../slideLayouts/slideLayout402.xml"/><Relationship Id="rId19" Type="http://schemas.openxmlformats.org/officeDocument/2006/relationships/tags" Target="../tags/tag1284.xml"/><Relationship Id="rId4" Type="http://schemas.openxmlformats.org/officeDocument/2006/relationships/slideLayout" Target="../slideLayouts/slideLayout396.xml"/><Relationship Id="rId9" Type="http://schemas.openxmlformats.org/officeDocument/2006/relationships/slideLayout" Target="../slideLayouts/slideLayout401.xml"/><Relationship Id="rId14" Type="http://schemas.openxmlformats.org/officeDocument/2006/relationships/tags" Target="../tags/tag1279.xml"/><Relationship Id="rId22" Type="http://schemas.openxmlformats.org/officeDocument/2006/relationships/image" Target="../media/image2.png"/></Relationships>
</file>

<file path=ppt/slideMasters/_rels/slideMaster4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0.xml"/><Relationship Id="rId13" Type="http://schemas.openxmlformats.org/officeDocument/2006/relationships/tags" Target="../tags/tag1313.xml"/><Relationship Id="rId18" Type="http://schemas.openxmlformats.org/officeDocument/2006/relationships/tags" Target="../tags/tag1318.xml"/><Relationship Id="rId3" Type="http://schemas.openxmlformats.org/officeDocument/2006/relationships/slideLayout" Target="../slideLayouts/slideLayout405.xml"/><Relationship Id="rId21" Type="http://schemas.openxmlformats.org/officeDocument/2006/relationships/oleObject" Target="../embeddings/oleObject357.bin"/><Relationship Id="rId7" Type="http://schemas.openxmlformats.org/officeDocument/2006/relationships/slideLayout" Target="../slideLayouts/slideLayout409.xml"/><Relationship Id="rId12" Type="http://schemas.openxmlformats.org/officeDocument/2006/relationships/vmlDrawing" Target="../drawings/vmlDrawing337.vml"/><Relationship Id="rId17" Type="http://schemas.openxmlformats.org/officeDocument/2006/relationships/tags" Target="../tags/tag1317.xml"/><Relationship Id="rId2" Type="http://schemas.openxmlformats.org/officeDocument/2006/relationships/slideLayout" Target="../slideLayouts/slideLayout404.xml"/><Relationship Id="rId16" Type="http://schemas.openxmlformats.org/officeDocument/2006/relationships/tags" Target="../tags/tag1316.xml"/><Relationship Id="rId20" Type="http://schemas.openxmlformats.org/officeDocument/2006/relationships/tags" Target="../tags/tag1320.xml"/><Relationship Id="rId1" Type="http://schemas.openxmlformats.org/officeDocument/2006/relationships/slideLayout" Target="../slideLayouts/slideLayout403.xml"/><Relationship Id="rId6" Type="http://schemas.openxmlformats.org/officeDocument/2006/relationships/slideLayout" Target="../slideLayouts/slideLayout408.xml"/><Relationship Id="rId11" Type="http://schemas.openxmlformats.org/officeDocument/2006/relationships/theme" Target="../theme/theme45.xml"/><Relationship Id="rId5" Type="http://schemas.openxmlformats.org/officeDocument/2006/relationships/slideLayout" Target="../slideLayouts/slideLayout407.xml"/><Relationship Id="rId15" Type="http://schemas.openxmlformats.org/officeDocument/2006/relationships/tags" Target="../tags/tag1315.xml"/><Relationship Id="rId10" Type="http://schemas.openxmlformats.org/officeDocument/2006/relationships/slideLayout" Target="../slideLayouts/slideLayout412.xml"/><Relationship Id="rId19" Type="http://schemas.openxmlformats.org/officeDocument/2006/relationships/tags" Target="../tags/tag1319.xml"/><Relationship Id="rId4" Type="http://schemas.openxmlformats.org/officeDocument/2006/relationships/slideLayout" Target="../slideLayouts/slideLayout406.xml"/><Relationship Id="rId9" Type="http://schemas.openxmlformats.org/officeDocument/2006/relationships/slideLayout" Target="../slideLayouts/slideLayout411.xml"/><Relationship Id="rId14" Type="http://schemas.openxmlformats.org/officeDocument/2006/relationships/tags" Target="../tags/tag1314.xml"/><Relationship Id="rId22" Type="http://schemas.openxmlformats.org/officeDocument/2006/relationships/image" Target="../media/image2.png"/></Relationships>
</file>

<file path=ppt/slideMasters/_rels/slideMaster4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0.xml"/><Relationship Id="rId13" Type="http://schemas.openxmlformats.org/officeDocument/2006/relationships/tags" Target="../tags/tag1348.xml"/><Relationship Id="rId18" Type="http://schemas.openxmlformats.org/officeDocument/2006/relationships/tags" Target="../tags/tag1353.xml"/><Relationship Id="rId3" Type="http://schemas.openxmlformats.org/officeDocument/2006/relationships/slideLayout" Target="../slideLayouts/slideLayout415.xml"/><Relationship Id="rId21" Type="http://schemas.openxmlformats.org/officeDocument/2006/relationships/oleObject" Target="../embeddings/oleObject366.bin"/><Relationship Id="rId7" Type="http://schemas.openxmlformats.org/officeDocument/2006/relationships/slideLayout" Target="../slideLayouts/slideLayout419.xml"/><Relationship Id="rId12" Type="http://schemas.openxmlformats.org/officeDocument/2006/relationships/vmlDrawing" Target="../drawings/vmlDrawing346.vml"/><Relationship Id="rId17" Type="http://schemas.openxmlformats.org/officeDocument/2006/relationships/tags" Target="../tags/tag1352.xml"/><Relationship Id="rId2" Type="http://schemas.openxmlformats.org/officeDocument/2006/relationships/slideLayout" Target="../slideLayouts/slideLayout414.xml"/><Relationship Id="rId16" Type="http://schemas.openxmlformats.org/officeDocument/2006/relationships/tags" Target="../tags/tag1351.xml"/><Relationship Id="rId20" Type="http://schemas.openxmlformats.org/officeDocument/2006/relationships/tags" Target="../tags/tag1355.xml"/><Relationship Id="rId1" Type="http://schemas.openxmlformats.org/officeDocument/2006/relationships/slideLayout" Target="../slideLayouts/slideLayout413.xml"/><Relationship Id="rId6" Type="http://schemas.openxmlformats.org/officeDocument/2006/relationships/slideLayout" Target="../slideLayouts/slideLayout418.xml"/><Relationship Id="rId11" Type="http://schemas.openxmlformats.org/officeDocument/2006/relationships/theme" Target="../theme/theme46.xml"/><Relationship Id="rId5" Type="http://schemas.openxmlformats.org/officeDocument/2006/relationships/slideLayout" Target="../slideLayouts/slideLayout417.xml"/><Relationship Id="rId15" Type="http://schemas.openxmlformats.org/officeDocument/2006/relationships/tags" Target="../tags/tag1350.xml"/><Relationship Id="rId10" Type="http://schemas.openxmlformats.org/officeDocument/2006/relationships/slideLayout" Target="../slideLayouts/slideLayout422.xml"/><Relationship Id="rId19" Type="http://schemas.openxmlformats.org/officeDocument/2006/relationships/tags" Target="../tags/tag1354.xml"/><Relationship Id="rId4" Type="http://schemas.openxmlformats.org/officeDocument/2006/relationships/slideLayout" Target="../slideLayouts/slideLayout416.xml"/><Relationship Id="rId9" Type="http://schemas.openxmlformats.org/officeDocument/2006/relationships/slideLayout" Target="../slideLayouts/slideLayout421.xml"/><Relationship Id="rId14" Type="http://schemas.openxmlformats.org/officeDocument/2006/relationships/tags" Target="../tags/tag1349.xml"/><Relationship Id="rId22" Type="http://schemas.openxmlformats.org/officeDocument/2006/relationships/image" Target="../media/image2.png"/></Relationships>
</file>

<file path=ppt/slideMasters/_rels/slideMaster4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0.xml"/><Relationship Id="rId13" Type="http://schemas.openxmlformats.org/officeDocument/2006/relationships/tags" Target="../tags/tag1383.xml"/><Relationship Id="rId18" Type="http://schemas.openxmlformats.org/officeDocument/2006/relationships/tags" Target="../tags/tag1388.xml"/><Relationship Id="rId3" Type="http://schemas.openxmlformats.org/officeDocument/2006/relationships/slideLayout" Target="../slideLayouts/slideLayout425.xml"/><Relationship Id="rId21" Type="http://schemas.openxmlformats.org/officeDocument/2006/relationships/oleObject" Target="../embeddings/oleObject375.bin"/><Relationship Id="rId7" Type="http://schemas.openxmlformats.org/officeDocument/2006/relationships/slideLayout" Target="../slideLayouts/slideLayout429.xml"/><Relationship Id="rId12" Type="http://schemas.openxmlformats.org/officeDocument/2006/relationships/vmlDrawing" Target="../drawings/vmlDrawing355.vml"/><Relationship Id="rId17" Type="http://schemas.openxmlformats.org/officeDocument/2006/relationships/tags" Target="../tags/tag1387.xml"/><Relationship Id="rId2" Type="http://schemas.openxmlformats.org/officeDocument/2006/relationships/slideLayout" Target="../slideLayouts/slideLayout424.xml"/><Relationship Id="rId16" Type="http://schemas.openxmlformats.org/officeDocument/2006/relationships/tags" Target="../tags/tag1386.xml"/><Relationship Id="rId20" Type="http://schemas.openxmlformats.org/officeDocument/2006/relationships/tags" Target="../tags/tag1390.xml"/><Relationship Id="rId1" Type="http://schemas.openxmlformats.org/officeDocument/2006/relationships/slideLayout" Target="../slideLayouts/slideLayout423.xml"/><Relationship Id="rId6" Type="http://schemas.openxmlformats.org/officeDocument/2006/relationships/slideLayout" Target="../slideLayouts/slideLayout428.xml"/><Relationship Id="rId11" Type="http://schemas.openxmlformats.org/officeDocument/2006/relationships/theme" Target="../theme/theme47.xml"/><Relationship Id="rId5" Type="http://schemas.openxmlformats.org/officeDocument/2006/relationships/slideLayout" Target="../slideLayouts/slideLayout427.xml"/><Relationship Id="rId15" Type="http://schemas.openxmlformats.org/officeDocument/2006/relationships/tags" Target="../tags/tag1385.xml"/><Relationship Id="rId10" Type="http://schemas.openxmlformats.org/officeDocument/2006/relationships/slideLayout" Target="../slideLayouts/slideLayout432.xml"/><Relationship Id="rId19" Type="http://schemas.openxmlformats.org/officeDocument/2006/relationships/tags" Target="../tags/tag1389.xml"/><Relationship Id="rId4" Type="http://schemas.openxmlformats.org/officeDocument/2006/relationships/slideLayout" Target="../slideLayouts/slideLayout426.xml"/><Relationship Id="rId9" Type="http://schemas.openxmlformats.org/officeDocument/2006/relationships/slideLayout" Target="../slideLayouts/slideLayout431.xml"/><Relationship Id="rId14" Type="http://schemas.openxmlformats.org/officeDocument/2006/relationships/tags" Target="../tags/tag1384.xml"/><Relationship Id="rId22" Type="http://schemas.openxmlformats.org/officeDocument/2006/relationships/image" Target="../media/image2.png"/></Relationships>
</file>

<file path=ppt/slideMasters/_rels/slideMaster4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0.xml"/><Relationship Id="rId13" Type="http://schemas.openxmlformats.org/officeDocument/2006/relationships/tags" Target="../tags/tag1418.xml"/><Relationship Id="rId18" Type="http://schemas.openxmlformats.org/officeDocument/2006/relationships/tags" Target="../tags/tag1423.xml"/><Relationship Id="rId3" Type="http://schemas.openxmlformats.org/officeDocument/2006/relationships/slideLayout" Target="../slideLayouts/slideLayout435.xml"/><Relationship Id="rId21" Type="http://schemas.openxmlformats.org/officeDocument/2006/relationships/oleObject" Target="../embeddings/oleObject384.bin"/><Relationship Id="rId7" Type="http://schemas.openxmlformats.org/officeDocument/2006/relationships/slideLayout" Target="../slideLayouts/slideLayout439.xml"/><Relationship Id="rId12" Type="http://schemas.openxmlformats.org/officeDocument/2006/relationships/vmlDrawing" Target="../drawings/vmlDrawing364.vml"/><Relationship Id="rId17" Type="http://schemas.openxmlformats.org/officeDocument/2006/relationships/tags" Target="../tags/tag1422.xml"/><Relationship Id="rId2" Type="http://schemas.openxmlformats.org/officeDocument/2006/relationships/slideLayout" Target="../slideLayouts/slideLayout434.xml"/><Relationship Id="rId16" Type="http://schemas.openxmlformats.org/officeDocument/2006/relationships/tags" Target="../tags/tag1421.xml"/><Relationship Id="rId20" Type="http://schemas.openxmlformats.org/officeDocument/2006/relationships/tags" Target="../tags/tag1425.xml"/><Relationship Id="rId1" Type="http://schemas.openxmlformats.org/officeDocument/2006/relationships/slideLayout" Target="../slideLayouts/slideLayout433.xml"/><Relationship Id="rId6" Type="http://schemas.openxmlformats.org/officeDocument/2006/relationships/slideLayout" Target="../slideLayouts/slideLayout438.xml"/><Relationship Id="rId11" Type="http://schemas.openxmlformats.org/officeDocument/2006/relationships/theme" Target="../theme/theme48.xml"/><Relationship Id="rId5" Type="http://schemas.openxmlformats.org/officeDocument/2006/relationships/slideLayout" Target="../slideLayouts/slideLayout437.xml"/><Relationship Id="rId15" Type="http://schemas.openxmlformats.org/officeDocument/2006/relationships/tags" Target="../tags/tag1420.xml"/><Relationship Id="rId10" Type="http://schemas.openxmlformats.org/officeDocument/2006/relationships/slideLayout" Target="../slideLayouts/slideLayout442.xml"/><Relationship Id="rId19" Type="http://schemas.openxmlformats.org/officeDocument/2006/relationships/tags" Target="../tags/tag1424.xml"/><Relationship Id="rId4" Type="http://schemas.openxmlformats.org/officeDocument/2006/relationships/slideLayout" Target="../slideLayouts/slideLayout436.xml"/><Relationship Id="rId9" Type="http://schemas.openxmlformats.org/officeDocument/2006/relationships/slideLayout" Target="../slideLayouts/slideLayout441.xml"/><Relationship Id="rId14" Type="http://schemas.openxmlformats.org/officeDocument/2006/relationships/tags" Target="../tags/tag1419.xml"/><Relationship Id="rId22" Type="http://schemas.openxmlformats.org/officeDocument/2006/relationships/image" Target="../media/image2.png"/></Relationships>
</file>

<file path=ppt/slideMasters/_rels/slideMaster4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0.xml"/><Relationship Id="rId13" Type="http://schemas.openxmlformats.org/officeDocument/2006/relationships/tags" Target="../tags/tag1453.xml"/><Relationship Id="rId18" Type="http://schemas.openxmlformats.org/officeDocument/2006/relationships/tags" Target="../tags/tag1458.xml"/><Relationship Id="rId3" Type="http://schemas.openxmlformats.org/officeDocument/2006/relationships/slideLayout" Target="../slideLayouts/slideLayout445.xml"/><Relationship Id="rId21" Type="http://schemas.openxmlformats.org/officeDocument/2006/relationships/oleObject" Target="../embeddings/oleObject393.bin"/><Relationship Id="rId7" Type="http://schemas.openxmlformats.org/officeDocument/2006/relationships/slideLayout" Target="../slideLayouts/slideLayout449.xml"/><Relationship Id="rId12" Type="http://schemas.openxmlformats.org/officeDocument/2006/relationships/vmlDrawing" Target="../drawings/vmlDrawing373.vml"/><Relationship Id="rId17" Type="http://schemas.openxmlformats.org/officeDocument/2006/relationships/tags" Target="../tags/tag1457.xml"/><Relationship Id="rId2" Type="http://schemas.openxmlformats.org/officeDocument/2006/relationships/slideLayout" Target="../slideLayouts/slideLayout444.xml"/><Relationship Id="rId16" Type="http://schemas.openxmlformats.org/officeDocument/2006/relationships/tags" Target="../tags/tag1456.xml"/><Relationship Id="rId20" Type="http://schemas.openxmlformats.org/officeDocument/2006/relationships/tags" Target="../tags/tag1460.xml"/><Relationship Id="rId1" Type="http://schemas.openxmlformats.org/officeDocument/2006/relationships/slideLayout" Target="../slideLayouts/slideLayout443.xml"/><Relationship Id="rId6" Type="http://schemas.openxmlformats.org/officeDocument/2006/relationships/slideLayout" Target="../slideLayouts/slideLayout448.xml"/><Relationship Id="rId11" Type="http://schemas.openxmlformats.org/officeDocument/2006/relationships/theme" Target="../theme/theme49.xml"/><Relationship Id="rId5" Type="http://schemas.openxmlformats.org/officeDocument/2006/relationships/slideLayout" Target="../slideLayouts/slideLayout447.xml"/><Relationship Id="rId15" Type="http://schemas.openxmlformats.org/officeDocument/2006/relationships/tags" Target="../tags/tag1455.xml"/><Relationship Id="rId10" Type="http://schemas.openxmlformats.org/officeDocument/2006/relationships/slideLayout" Target="../slideLayouts/slideLayout452.xml"/><Relationship Id="rId19" Type="http://schemas.openxmlformats.org/officeDocument/2006/relationships/tags" Target="../tags/tag1459.xml"/><Relationship Id="rId4" Type="http://schemas.openxmlformats.org/officeDocument/2006/relationships/slideLayout" Target="../slideLayouts/slideLayout446.xml"/><Relationship Id="rId9" Type="http://schemas.openxmlformats.org/officeDocument/2006/relationships/slideLayout" Target="../slideLayouts/slideLayout451.xml"/><Relationship Id="rId14" Type="http://schemas.openxmlformats.org/officeDocument/2006/relationships/tags" Target="../tags/tag1454.xml"/><Relationship Id="rId22" Type="http://schemas.openxmlformats.org/officeDocument/2006/relationships/image" Target="../media/image2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tags" Target="../tags/tag73.xml"/><Relationship Id="rId18" Type="http://schemas.openxmlformats.org/officeDocument/2006/relationships/tags" Target="../tags/tag78.xml"/><Relationship Id="rId3" Type="http://schemas.openxmlformats.org/officeDocument/2006/relationships/slideLayout" Target="../slideLayouts/slideLayout34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38.xml"/><Relationship Id="rId12" Type="http://schemas.openxmlformats.org/officeDocument/2006/relationships/tags" Target="../tags/tag72.xml"/><Relationship Id="rId17" Type="http://schemas.openxmlformats.org/officeDocument/2006/relationships/tags" Target="../tags/tag77.xml"/><Relationship Id="rId2" Type="http://schemas.openxmlformats.org/officeDocument/2006/relationships/slideLayout" Target="../slideLayouts/slideLayout33.xml"/><Relationship Id="rId16" Type="http://schemas.openxmlformats.org/officeDocument/2006/relationships/tags" Target="../tags/tag76.xml"/><Relationship Id="rId20" Type="http://schemas.openxmlformats.org/officeDocument/2006/relationships/oleObject" Target="../embeddings/oleObject18.bin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vmlDrawing" Target="../drawings/vmlDrawing18.vml"/><Relationship Id="rId5" Type="http://schemas.openxmlformats.org/officeDocument/2006/relationships/slideLayout" Target="../slideLayouts/slideLayout36.xml"/><Relationship Id="rId15" Type="http://schemas.openxmlformats.org/officeDocument/2006/relationships/tags" Target="../tags/tag75.xml"/><Relationship Id="rId10" Type="http://schemas.openxmlformats.org/officeDocument/2006/relationships/theme" Target="../theme/theme5.xml"/><Relationship Id="rId19" Type="http://schemas.openxmlformats.org/officeDocument/2006/relationships/tags" Target="../tags/tag79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tags" Target="../tags/tag74.xml"/></Relationships>
</file>

<file path=ppt/slideMasters/_rels/slideMaster5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0.xml"/><Relationship Id="rId13" Type="http://schemas.openxmlformats.org/officeDocument/2006/relationships/tags" Target="../tags/tag1488.xml"/><Relationship Id="rId18" Type="http://schemas.openxmlformats.org/officeDocument/2006/relationships/tags" Target="../tags/tag1493.xml"/><Relationship Id="rId3" Type="http://schemas.openxmlformats.org/officeDocument/2006/relationships/slideLayout" Target="../slideLayouts/slideLayout455.xml"/><Relationship Id="rId21" Type="http://schemas.openxmlformats.org/officeDocument/2006/relationships/oleObject" Target="../embeddings/oleObject402.bin"/><Relationship Id="rId7" Type="http://schemas.openxmlformats.org/officeDocument/2006/relationships/slideLayout" Target="../slideLayouts/slideLayout459.xml"/><Relationship Id="rId12" Type="http://schemas.openxmlformats.org/officeDocument/2006/relationships/vmlDrawing" Target="../drawings/vmlDrawing382.vml"/><Relationship Id="rId17" Type="http://schemas.openxmlformats.org/officeDocument/2006/relationships/tags" Target="../tags/tag1492.xml"/><Relationship Id="rId2" Type="http://schemas.openxmlformats.org/officeDocument/2006/relationships/slideLayout" Target="../slideLayouts/slideLayout454.xml"/><Relationship Id="rId16" Type="http://schemas.openxmlformats.org/officeDocument/2006/relationships/tags" Target="../tags/tag1491.xml"/><Relationship Id="rId20" Type="http://schemas.openxmlformats.org/officeDocument/2006/relationships/tags" Target="../tags/tag1495.xml"/><Relationship Id="rId1" Type="http://schemas.openxmlformats.org/officeDocument/2006/relationships/slideLayout" Target="../slideLayouts/slideLayout453.xml"/><Relationship Id="rId6" Type="http://schemas.openxmlformats.org/officeDocument/2006/relationships/slideLayout" Target="../slideLayouts/slideLayout458.xml"/><Relationship Id="rId11" Type="http://schemas.openxmlformats.org/officeDocument/2006/relationships/theme" Target="../theme/theme50.xml"/><Relationship Id="rId5" Type="http://schemas.openxmlformats.org/officeDocument/2006/relationships/slideLayout" Target="../slideLayouts/slideLayout457.xml"/><Relationship Id="rId15" Type="http://schemas.openxmlformats.org/officeDocument/2006/relationships/tags" Target="../tags/tag1490.xml"/><Relationship Id="rId10" Type="http://schemas.openxmlformats.org/officeDocument/2006/relationships/slideLayout" Target="../slideLayouts/slideLayout462.xml"/><Relationship Id="rId19" Type="http://schemas.openxmlformats.org/officeDocument/2006/relationships/tags" Target="../tags/tag1494.xml"/><Relationship Id="rId4" Type="http://schemas.openxmlformats.org/officeDocument/2006/relationships/slideLayout" Target="../slideLayouts/slideLayout456.xml"/><Relationship Id="rId9" Type="http://schemas.openxmlformats.org/officeDocument/2006/relationships/slideLayout" Target="../slideLayouts/slideLayout461.xml"/><Relationship Id="rId14" Type="http://schemas.openxmlformats.org/officeDocument/2006/relationships/tags" Target="../tags/tag1489.xml"/><Relationship Id="rId22" Type="http://schemas.openxmlformats.org/officeDocument/2006/relationships/image" Target="../media/image2.png"/></Relationships>
</file>

<file path=ppt/slideMasters/_rels/slideMaster5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0.xml"/><Relationship Id="rId13" Type="http://schemas.openxmlformats.org/officeDocument/2006/relationships/tags" Target="../tags/tag1523.xml"/><Relationship Id="rId18" Type="http://schemas.openxmlformats.org/officeDocument/2006/relationships/tags" Target="../tags/tag1528.xml"/><Relationship Id="rId3" Type="http://schemas.openxmlformats.org/officeDocument/2006/relationships/slideLayout" Target="../slideLayouts/slideLayout465.xml"/><Relationship Id="rId21" Type="http://schemas.openxmlformats.org/officeDocument/2006/relationships/oleObject" Target="../embeddings/oleObject411.bin"/><Relationship Id="rId7" Type="http://schemas.openxmlformats.org/officeDocument/2006/relationships/slideLayout" Target="../slideLayouts/slideLayout469.xml"/><Relationship Id="rId12" Type="http://schemas.openxmlformats.org/officeDocument/2006/relationships/vmlDrawing" Target="../drawings/vmlDrawing391.vml"/><Relationship Id="rId17" Type="http://schemas.openxmlformats.org/officeDocument/2006/relationships/tags" Target="../tags/tag1527.xml"/><Relationship Id="rId2" Type="http://schemas.openxmlformats.org/officeDocument/2006/relationships/slideLayout" Target="../slideLayouts/slideLayout464.xml"/><Relationship Id="rId16" Type="http://schemas.openxmlformats.org/officeDocument/2006/relationships/tags" Target="../tags/tag1526.xml"/><Relationship Id="rId20" Type="http://schemas.openxmlformats.org/officeDocument/2006/relationships/tags" Target="../tags/tag1530.xml"/><Relationship Id="rId1" Type="http://schemas.openxmlformats.org/officeDocument/2006/relationships/slideLayout" Target="../slideLayouts/slideLayout463.xml"/><Relationship Id="rId6" Type="http://schemas.openxmlformats.org/officeDocument/2006/relationships/slideLayout" Target="../slideLayouts/slideLayout468.xml"/><Relationship Id="rId11" Type="http://schemas.openxmlformats.org/officeDocument/2006/relationships/theme" Target="../theme/theme51.xml"/><Relationship Id="rId5" Type="http://schemas.openxmlformats.org/officeDocument/2006/relationships/slideLayout" Target="../slideLayouts/slideLayout467.xml"/><Relationship Id="rId15" Type="http://schemas.openxmlformats.org/officeDocument/2006/relationships/tags" Target="../tags/tag1525.xml"/><Relationship Id="rId10" Type="http://schemas.openxmlformats.org/officeDocument/2006/relationships/slideLayout" Target="../slideLayouts/slideLayout472.xml"/><Relationship Id="rId19" Type="http://schemas.openxmlformats.org/officeDocument/2006/relationships/tags" Target="../tags/tag1529.xml"/><Relationship Id="rId4" Type="http://schemas.openxmlformats.org/officeDocument/2006/relationships/slideLayout" Target="../slideLayouts/slideLayout466.xml"/><Relationship Id="rId9" Type="http://schemas.openxmlformats.org/officeDocument/2006/relationships/slideLayout" Target="../slideLayouts/slideLayout471.xml"/><Relationship Id="rId14" Type="http://schemas.openxmlformats.org/officeDocument/2006/relationships/tags" Target="../tags/tag1524.xml"/><Relationship Id="rId22" Type="http://schemas.openxmlformats.org/officeDocument/2006/relationships/image" Target="../media/image2.png"/></Relationships>
</file>

<file path=ppt/slideMasters/_rels/slideMaster52.xml.rels><?xml version="1.0" encoding="UTF-8" standalone="yes"?>
<Relationships xmlns="http://schemas.openxmlformats.org/package/2006/relationships"><Relationship Id="rId8" Type="http://schemas.openxmlformats.org/officeDocument/2006/relationships/theme" Target="../theme/theme52.xml"/><Relationship Id="rId13" Type="http://schemas.openxmlformats.org/officeDocument/2006/relationships/tags" Target="../tags/tag156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475.xml"/><Relationship Id="rId7" Type="http://schemas.openxmlformats.org/officeDocument/2006/relationships/slideLayout" Target="../slideLayouts/slideLayout479.xml"/><Relationship Id="rId12" Type="http://schemas.openxmlformats.org/officeDocument/2006/relationships/tags" Target="../tags/tag1560.xml"/><Relationship Id="rId17" Type="http://schemas.openxmlformats.org/officeDocument/2006/relationships/oleObject" Target="../embeddings/oleObject420.bin"/><Relationship Id="rId2" Type="http://schemas.openxmlformats.org/officeDocument/2006/relationships/slideLayout" Target="../slideLayouts/slideLayout474.xml"/><Relationship Id="rId16" Type="http://schemas.openxmlformats.org/officeDocument/2006/relationships/tags" Target="../tags/tag1564.xml"/><Relationship Id="rId1" Type="http://schemas.openxmlformats.org/officeDocument/2006/relationships/slideLayout" Target="../slideLayouts/slideLayout473.xml"/><Relationship Id="rId6" Type="http://schemas.openxmlformats.org/officeDocument/2006/relationships/slideLayout" Target="../slideLayouts/slideLayout478.xml"/><Relationship Id="rId11" Type="http://schemas.openxmlformats.org/officeDocument/2006/relationships/tags" Target="../tags/tag1559.xml"/><Relationship Id="rId5" Type="http://schemas.openxmlformats.org/officeDocument/2006/relationships/slideLayout" Target="../slideLayouts/slideLayout477.xml"/><Relationship Id="rId15" Type="http://schemas.openxmlformats.org/officeDocument/2006/relationships/tags" Target="../tags/tag1563.xml"/><Relationship Id="rId10" Type="http://schemas.openxmlformats.org/officeDocument/2006/relationships/tags" Target="../tags/tag1558.xml"/><Relationship Id="rId4" Type="http://schemas.openxmlformats.org/officeDocument/2006/relationships/slideLayout" Target="../slideLayouts/slideLayout476.xml"/><Relationship Id="rId9" Type="http://schemas.openxmlformats.org/officeDocument/2006/relationships/vmlDrawing" Target="../drawings/vmlDrawing400.vml"/><Relationship Id="rId14" Type="http://schemas.openxmlformats.org/officeDocument/2006/relationships/tags" Target="../tags/tag1562.xml"/></Relationships>
</file>

<file path=ppt/slideMasters/_rels/slideMaster5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7.xml"/><Relationship Id="rId13" Type="http://schemas.openxmlformats.org/officeDocument/2006/relationships/tags" Target="../tags/tag1571.xml"/><Relationship Id="rId18" Type="http://schemas.openxmlformats.org/officeDocument/2006/relationships/tags" Target="../tags/tag1576.xml"/><Relationship Id="rId3" Type="http://schemas.openxmlformats.org/officeDocument/2006/relationships/slideLayout" Target="../slideLayouts/slideLayout482.xml"/><Relationship Id="rId21" Type="http://schemas.openxmlformats.org/officeDocument/2006/relationships/oleObject" Target="../embeddings/oleObject429.bin"/><Relationship Id="rId7" Type="http://schemas.openxmlformats.org/officeDocument/2006/relationships/slideLayout" Target="../slideLayouts/slideLayout486.xml"/><Relationship Id="rId12" Type="http://schemas.openxmlformats.org/officeDocument/2006/relationships/vmlDrawing" Target="../drawings/vmlDrawing405.vml"/><Relationship Id="rId17" Type="http://schemas.openxmlformats.org/officeDocument/2006/relationships/tags" Target="../tags/tag1575.xml"/><Relationship Id="rId2" Type="http://schemas.openxmlformats.org/officeDocument/2006/relationships/slideLayout" Target="../slideLayouts/slideLayout481.xml"/><Relationship Id="rId16" Type="http://schemas.openxmlformats.org/officeDocument/2006/relationships/tags" Target="../tags/tag1574.xml"/><Relationship Id="rId20" Type="http://schemas.openxmlformats.org/officeDocument/2006/relationships/tags" Target="../tags/tag1578.xml"/><Relationship Id="rId1" Type="http://schemas.openxmlformats.org/officeDocument/2006/relationships/slideLayout" Target="../slideLayouts/slideLayout480.xml"/><Relationship Id="rId6" Type="http://schemas.openxmlformats.org/officeDocument/2006/relationships/slideLayout" Target="../slideLayouts/slideLayout485.xml"/><Relationship Id="rId11" Type="http://schemas.openxmlformats.org/officeDocument/2006/relationships/theme" Target="../theme/theme53.xml"/><Relationship Id="rId5" Type="http://schemas.openxmlformats.org/officeDocument/2006/relationships/slideLayout" Target="../slideLayouts/slideLayout484.xml"/><Relationship Id="rId15" Type="http://schemas.openxmlformats.org/officeDocument/2006/relationships/tags" Target="../tags/tag1573.xml"/><Relationship Id="rId10" Type="http://schemas.openxmlformats.org/officeDocument/2006/relationships/slideLayout" Target="../slideLayouts/slideLayout489.xml"/><Relationship Id="rId19" Type="http://schemas.openxmlformats.org/officeDocument/2006/relationships/tags" Target="../tags/tag1577.xml"/><Relationship Id="rId4" Type="http://schemas.openxmlformats.org/officeDocument/2006/relationships/slideLayout" Target="../slideLayouts/slideLayout483.xml"/><Relationship Id="rId9" Type="http://schemas.openxmlformats.org/officeDocument/2006/relationships/slideLayout" Target="../slideLayouts/slideLayout488.xml"/><Relationship Id="rId14" Type="http://schemas.openxmlformats.org/officeDocument/2006/relationships/tags" Target="../tags/tag1572.xml"/><Relationship Id="rId22" Type="http://schemas.openxmlformats.org/officeDocument/2006/relationships/image" Target="../media/image2.png"/></Relationships>
</file>

<file path=ppt/slideMasters/_rels/slideMaster5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7.xml"/><Relationship Id="rId13" Type="http://schemas.openxmlformats.org/officeDocument/2006/relationships/tags" Target="../tags/tag1606.xml"/><Relationship Id="rId18" Type="http://schemas.openxmlformats.org/officeDocument/2006/relationships/tags" Target="../tags/tag1611.xml"/><Relationship Id="rId3" Type="http://schemas.openxmlformats.org/officeDocument/2006/relationships/slideLayout" Target="../slideLayouts/slideLayout492.xml"/><Relationship Id="rId21" Type="http://schemas.openxmlformats.org/officeDocument/2006/relationships/oleObject" Target="../embeddings/oleObject438.bin"/><Relationship Id="rId7" Type="http://schemas.openxmlformats.org/officeDocument/2006/relationships/slideLayout" Target="../slideLayouts/slideLayout496.xml"/><Relationship Id="rId12" Type="http://schemas.openxmlformats.org/officeDocument/2006/relationships/vmlDrawing" Target="../drawings/vmlDrawing414.vml"/><Relationship Id="rId17" Type="http://schemas.openxmlformats.org/officeDocument/2006/relationships/tags" Target="../tags/tag1610.xml"/><Relationship Id="rId2" Type="http://schemas.openxmlformats.org/officeDocument/2006/relationships/slideLayout" Target="../slideLayouts/slideLayout491.xml"/><Relationship Id="rId16" Type="http://schemas.openxmlformats.org/officeDocument/2006/relationships/tags" Target="../tags/tag1609.xml"/><Relationship Id="rId20" Type="http://schemas.openxmlformats.org/officeDocument/2006/relationships/tags" Target="../tags/tag1613.xml"/><Relationship Id="rId1" Type="http://schemas.openxmlformats.org/officeDocument/2006/relationships/slideLayout" Target="../slideLayouts/slideLayout490.xml"/><Relationship Id="rId6" Type="http://schemas.openxmlformats.org/officeDocument/2006/relationships/slideLayout" Target="../slideLayouts/slideLayout495.xml"/><Relationship Id="rId11" Type="http://schemas.openxmlformats.org/officeDocument/2006/relationships/theme" Target="../theme/theme54.xml"/><Relationship Id="rId5" Type="http://schemas.openxmlformats.org/officeDocument/2006/relationships/slideLayout" Target="../slideLayouts/slideLayout494.xml"/><Relationship Id="rId15" Type="http://schemas.openxmlformats.org/officeDocument/2006/relationships/tags" Target="../tags/tag1608.xml"/><Relationship Id="rId10" Type="http://schemas.openxmlformats.org/officeDocument/2006/relationships/slideLayout" Target="../slideLayouts/slideLayout499.xml"/><Relationship Id="rId19" Type="http://schemas.openxmlformats.org/officeDocument/2006/relationships/tags" Target="../tags/tag1612.xml"/><Relationship Id="rId4" Type="http://schemas.openxmlformats.org/officeDocument/2006/relationships/slideLayout" Target="../slideLayouts/slideLayout493.xml"/><Relationship Id="rId9" Type="http://schemas.openxmlformats.org/officeDocument/2006/relationships/slideLayout" Target="../slideLayouts/slideLayout498.xml"/><Relationship Id="rId14" Type="http://schemas.openxmlformats.org/officeDocument/2006/relationships/tags" Target="../tags/tag1607.xml"/><Relationship Id="rId22" Type="http://schemas.openxmlformats.org/officeDocument/2006/relationships/image" Target="../media/image2.png"/></Relationships>
</file>

<file path=ppt/slideMasters/_rels/slideMaster5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7.xml"/><Relationship Id="rId13" Type="http://schemas.openxmlformats.org/officeDocument/2006/relationships/tags" Target="../tags/tag1641.xml"/><Relationship Id="rId18" Type="http://schemas.openxmlformats.org/officeDocument/2006/relationships/tags" Target="../tags/tag1646.xml"/><Relationship Id="rId3" Type="http://schemas.openxmlformats.org/officeDocument/2006/relationships/slideLayout" Target="../slideLayouts/slideLayout502.xml"/><Relationship Id="rId21" Type="http://schemas.openxmlformats.org/officeDocument/2006/relationships/oleObject" Target="../embeddings/oleObject447.bin"/><Relationship Id="rId7" Type="http://schemas.openxmlformats.org/officeDocument/2006/relationships/slideLayout" Target="../slideLayouts/slideLayout506.xml"/><Relationship Id="rId12" Type="http://schemas.openxmlformats.org/officeDocument/2006/relationships/vmlDrawing" Target="../drawings/vmlDrawing423.vml"/><Relationship Id="rId17" Type="http://schemas.openxmlformats.org/officeDocument/2006/relationships/tags" Target="../tags/tag1645.xml"/><Relationship Id="rId2" Type="http://schemas.openxmlformats.org/officeDocument/2006/relationships/slideLayout" Target="../slideLayouts/slideLayout501.xml"/><Relationship Id="rId16" Type="http://schemas.openxmlformats.org/officeDocument/2006/relationships/tags" Target="../tags/tag1644.xml"/><Relationship Id="rId20" Type="http://schemas.openxmlformats.org/officeDocument/2006/relationships/tags" Target="../tags/tag1648.xml"/><Relationship Id="rId1" Type="http://schemas.openxmlformats.org/officeDocument/2006/relationships/slideLayout" Target="../slideLayouts/slideLayout500.xml"/><Relationship Id="rId6" Type="http://schemas.openxmlformats.org/officeDocument/2006/relationships/slideLayout" Target="../slideLayouts/slideLayout505.xml"/><Relationship Id="rId11" Type="http://schemas.openxmlformats.org/officeDocument/2006/relationships/theme" Target="../theme/theme55.xml"/><Relationship Id="rId5" Type="http://schemas.openxmlformats.org/officeDocument/2006/relationships/slideLayout" Target="../slideLayouts/slideLayout504.xml"/><Relationship Id="rId15" Type="http://schemas.openxmlformats.org/officeDocument/2006/relationships/tags" Target="../tags/tag1643.xml"/><Relationship Id="rId10" Type="http://schemas.openxmlformats.org/officeDocument/2006/relationships/slideLayout" Target="../slideLayouts/slideLayout509.xml"/><Relationship Id="rId19" Type="http://schemas.openxmlformats.org/officeDocument/2006/relationships/tags" Target="../tags/tag1647.xml"/><Relationship Id="rId4" Type="http://schemas.openxmlformats.org/officeDocument/2006/relationships/slideLayout" Target="../slideLayouts/slideLayout503.xml"/><Relationship Id="rId9" Type="http://schemas.openxmlformats.org/officeDocument/2006/relationships/slideLayout" Target="../slideLayouts/slideLayout508.xml"/><Relationship Id="rId14" Type="http://schemas.openxmlformats.org/officeDocument/2006/relationships/tags" Target="../tags/tag1642.xml"/><Relationship Id="rId22" Type="http://schemas.openxmlformats.org/officeDocument/2006/relationships/image" Target="../media/image2.png"/></Relationships>
</file>

<file path=ppt/slideMasters/_rels/slideMaster5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7.xml"/><Relationship Id="rId13" Type="http://schemas.openxmlformats.org/officeDocument/2006/relationships/tags" Target="../tags/tag1676.xml"/><Relationship Id="rId18" Type="http://schemas.openxmlformats.org/officeDocument/2006/relationships/tags" Target="../tags/tag1681.xml"/><Relationship Id="rId3" Type="http://schemas.openxmlformats.org/officeDocument/2006/relationships/slideLayout" Target="../slideLayouts/slideLayout512.xml"/><Relationship Id="rId21" Type="http://schemas.openxmlformats.org/officeDocument/2006/relationships/oleObject" Target="../embeddings/oleObject456.bin"/><Relationship Id="rId7" Type="http://schemas.openxmlformats.org/officeDocument/2006/relationships/slideLayout" Target="../slideLayouts/slideLayout516.xml"/><Relationship Id="rId12" Type="http://schemas.openxmlformats.org/officeDocument/2006/relationships/vmlDrawing" Target="../drawings/vmlDrawing432.vml"/><Relationship Id="rId17" Type="http://schemas.openxmlformats.org/officeDocument/2006/relationships/tags" Target="../tags/tag1680.xml"/><Relationship Id="rId2" Type="http://schemas.openxmlformats.org/officeDocument/2006/relationships/slideLayout" Target="../slideLayouts/slideLayout511.xml"/><Relationship Id="rId16" Type="http://schemas.openxmlformats.org/officeDocument/2006/relationships/tags" Target="../tags/tag1679.xml"/><Relationship Id="rId20" Type="http://schemas.openxmlformats.org/officeDocument/2006/relationships/tags" Target="../tags/tag1683.xml"/><Relationship Id="rId1" Type="http://schemas.openxmlformats.org/officeDocument/2006/relationships/slideLayout" Target="../slideLayouts/slideLayout510.xml"/><Relationship Id="rId6" Type="http://schemas.openxmlformats.org/officeDocument/2006/relationships/slideLayout" Target="../slideLayouts/slideLayout515.xml"/><Relationship Id="rId11" Type="http://schemas.openxmlformats.org/officeDocument/2006/relationships/theme" Target="../theme/theme56.xml"/><Relationship Id="rId5" Type="http://schemas.openxmlformats.org/officeDocument/2006/relationships/slideLayout" Target="../slideLayouts/slideLayout514.xml"/><Relationship Id="rId15" Type="http://schemas.openxmlformats.org/officeDocument/2006/relationships/tags" Target="../tags/tag1678.xml"/><Relationship Id="rId10" Type="http://schemas.openxmlformats.org/officeDocument/2006/relationships/slideLayout" Target="../slideLayouts/slideLayout519.xml"/><Relationship Id="rId19" Type="http://schemas.openxmlformats.org/officeDocument/2006/relationships/tags" Target="../tags/tag1682.xml"/><Relationship Id="rId4" Type="http://schemas.openxmlformats.org/officeDocument/2006/relationships/slideLayout" Target="../slideLayouts/slideLayout513.xml"/><Relationship Id="rId9" Type="http://schemas.openxmlformats.org/officeDocument/2006/relationships/slideLayout" Target="../slideLayouts/slideLayout518.xml"/><Relationship Id="rId14" Type="http://schemas.openxmlformats.org/officeDocument/2006/relationships/tags" Target="../tags/tag1677.xml"/><Relationship Id="rId22" Type="http://schemas.openxmlformats.org/officeDocument/2006/relationships/image" Target="../media/image2.png"/></Relationships>
</file>

<file path=ppt/slideMasters/_rels/slideMaster5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7.xml"/><Relationship Id="rId13" Type="http://schemas.openxmlformats.org/officeDocument/2006/relationships/tags" Target="../tags/tag1711.xml"/><Relationship Id="rId18" Type="http://schemas.openxmlformats.org/officeDocument/2006/relationships/tags" Target="../tags/tag1716.xml"/><Relationship Id="rId3" Type="http://schemas.openxmlformats.org/officeDocument/2006/relationships/slideLayout" Target="../slideLayouts/slideLayout522.xml"/><Relationship Id="rId21" Type="http://schemas.openxmlformats.org/officeDocument/2006/relationships/oleObject" Target="../embeddings/oleObject465.bin"/><Relationship Id="rId7" Type="http://schemas.openxmlformats.org/officeDocument/2006/relationships/slideLayout" Target="../slideLayouts/slideLayout526.xml"/><Relationship Id="rId12" Type="http://schemas.openxmlformats.org/officeDocument/2006/relationships/vmlDrawing" Target="../drawings/vmlDrawing441.vml"/><Relationship Id="rId17" Type="http://schemas.openxmlformats.org/officeDocument/2006/relationships/tags" Target="../tags/tag1715.xml"/><Relationship Id="rId2" Type="http://schemas.openxmlformats.org/officeDocument/2006/relationships/slideLayout" Target="../slideLayouts/slideLayout521.xml"/><Relationship Id="rId16" Type="http://schemas.openxmlformats.org/officeDocument/2006/relationships/tags" Target="../tags/tag1714.xml"/><Relationship Id="rId20" Type="http://schemas.openxmlformats.org/officeDocument/2006/relationships/tags" Target="../tags/tag1718.xml"/><Relationship Id="rId1" Type="http://schemas.openxmlformats.org/officeDocument/2006/relationships/slideLayout" Target="../slideLayouts/slideLayout520.xml"/><Relationship Id="rId6" Type="http://schemas.openxmlformats.org/officeDocument/2006/relationships/slideLayout" Target="../slideLayouts/slideLayout525.xml"/><Relationship Id="rId11" Type="http://schemas.openxmlformats.org/officeDocument/2006/relationships/theme" Target="../theme/theme57.xml"/><Relationship Id="rId5" Type="http://schemas.openxmlformats.org/officeDocument/2006/relationships/slideLayout" Target="../slideLayouts/slideLayout524.xml"/><Relationship Id="rId15" Type="http://schemas.openxmlformats.org/officeDocument/2006/relationships/tags" Target="../tags/tag1713.xml"/><Relationship Id="rId10" Type="http://schemas.openxmlformats.org/officeDocument/2006/relationships/slideLayout" Target="../slideLayouts/slideLayout529.xml"/><Relationship Id="rId19" Type="http://schemas.openxmlformats.org/officeDocument/2006/relationships/tags" Target="../tags/tag1717.xml"/><Relationship Id="rId4" Type="http://schemas.openxmlformats.org/officeDocument/2006/relationships/slideLayout" Target="../slideLayouts/slideLayout523.xml"/><Relationship Id="rId9" Type="http://schemas.openxmlformats.org/officeDocument/2006/relationships/slideLayout" Target="../slideLayouts/slideLayout528.xml"/><Relationship Id="rId14" Type="http://schemas.openxmlformats.org/officeDocument/2006/relationships/tags" Target="../tags/tag1712.xml"/><Relationship Id="rId22" Type="http://schemas.openxmlformats.org/officeDocument/2006/relationships/image" Target="../media/image2.png"/></Relationships>
</file>

<file path=ppt/slideMasters/_rels/slideMaster5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7.xml"/><Relationship Id="rId13" Type="http://schemas.openxmlformats.org/officeDocument/2006/relationships/tags" Target="../tags/tag1746.xml"/><Relationship Id="rId18" Type="http://schemas.openxmlformats.org/officeDocument/2006/relationships/tags" Target="../tags/tag1751.xml"/><Relationship Id="rId3" Type="http://schemas.openxmlformats.org/officeDocument/2006/relationships/slideLayout" Target="../slideLayouts/slideLayout532.xml"/><Relationship Id="rId21" Type="http://schemas.openxmlformats.org/officeDocument/2006/relationships/oleObject" Target="../embeddings/oleObject474.bin"/><Relationship Id="rId7" Type="http://schemas.openxmlformats.org/officeDocument/2006/relationships/slideLayout" Target="../slideLayouts/slideLayout536.xml"/><Relationship Id="rId12" Type="http://schemas.openxmlformats.org/officeDocument/2006/relationships/vmlDrawing" Target="../drawings/vmlDrawing450.vml"/><Relationship Id="rId17" Type="http://schemas.openxmlformats.org/officeDocument/2006/relationships/tags" Target="../tags/tag1750.xml"/><Relationship Id="rId2" Type="http://schemas.openxmlformats.org/officeDocument/2006/relationships/slideLayout" Target="../slideLayouts/slideLayout531.xml"/><Relationship Id="rId16" Type="http://schemas.openxmlformats.org/officeDocument/2006/relationships/tags" Target="../tags/tag1749.xml"/><Relationship Id="rId20" Type="http://schemas.openxmlformats.org/officeDocument/2006/relationships/tags" Target="../tags/tag1753.xml"/><Relationship Id="rId1" Type="http://schemas.openxmlformats.org/officeDocument/2006/relationships/slideLayout" Target="../slideLayouts/slideLayout530.xml"/><Relationship Id="rId6" Type="http://schemas.openxmlformats.org/officeDocument/2006/relationships/slideLayout" Target="../slideLayouts/slideLayout535.xml"/><Relationship Id="rId11" Type="http://schemas.openxmlformats.org/officeDocument/2006/relationships/theme" Target="../theme/theme58.xml"/><Relationship Id="rId5" Type="http://schemas.openxmlformats.org/officeDocument/2006/relationships/slideLayout" Target="../slideLayouts/slideLayout534.xml"/><Relationship Id="rId15" Type="http://schemas.openxmlformats.org/officeDocument/2006/relationships/tags" Target="../tags/tag1748.xml"/><Relationship Id="rId10" Type="http://schemas.openxmlformats.org/officeDocument/2006/relationships/slideLayout" Target="../slideLayouts/slideLayout539.xml"/><Relationship Id="rId19" Type="http://schemas.openxmlformats.org/officeDocument/2006/relationships/tags" Target="../tags/tag1752.xml"/><Relationship Id="rId4" Type="http://schemas.openxmlformats.org/officeDocument/2006/relationships/slideLayout" Target="../slideLayouts/slideLayout533.xml"/><Relationship Id="rId9" Type="http://schemas.openxmlformats.org/officeDocument/2006/relationships/slideLayout" Target="../slideLayouts/slideLayout538.xml"/><Relationship Id="rId14" Type="http://schemas.openxmlformats.org/officeDocument/2006/relationships/tags" Target="../tags/tag1747.xml"/><Relationship Id="rId22" Type="http://schemas.openxmlformats.org/officeDocument/2006/relationships/image" Target="../media/image2.png"/></Relationships>
</file>

<file path=ppt/slideMasters/_rels/slideMaster5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7.xml"/><Relationship Id="rId13" Type="http://schemas.openxmlformats.org/officeDocument/2006/relationships/tags" Target="../tags/tag1781.xml"/><Relationship Id="rId18" Type="http://schemas.openxmlformats.org/officeDocument/2006/relationships/tags" Target="../tags/tag1786.xml"/><Relationship Id="rId3" Type="http://schemas.openxmlformats.org/officeDocument/2006/relationships/slideLayout" Target="../slideLayouts/slideLayout542.xml"/><Relationship Id="rId21" Type="http://schemas.openxmlformats.org/officeDocument/2006/relationships/oleObject" Target="../embeddings/oleObject483.bin"/><Relationship Id="rId7" Type="http://schemas.openxmlformats.org/officeDocument/2006/relationships/slideLayout" Target="../slideLayouts/slideLayout546.xml"/><Relationship Id="rId12" Type="http://schemas.openxmlformats.org/officeDocument/2006/relationships/vmlDrawing" Target="../drawings/vmlDrawing459.vml"/><Relationship Id="rId17" Type="http://schemas.openxmlformats.org/officeDocument/2006/relationships/tags" Target="../tags/tag1785.xml"/><Relationship Id="rId2" Type="http://schemas.openxmlformats.org/officeDocument/2006/relationships/slideLayout" Target="../slideLayouts/slideLayout541.xml"/><Relationship Id="rId16" Type="http://schemas.openxmlformats.org/officeDocument/2006/relationships/tags" Target="../tags/tag1784.xml"/><Relationship Id="rId20" Type="http://schemas.openxmlformats.org/officeDocument/2006/relationships/tags" Target="../tags/tag1788.xml"/><Relationship Id="rId1" Type="http://schemas.openxmlformats.org/officeDocument/2006/relationships/slideLayout" Target="../slideLayouts/slideLayout540.xml"/><Relationship Id="rId6" Type="http://schemas.openxmlformats.org/officeDocument/2006/relationships/slideLayout" Target="../slideLayouts/slideLayout545.xml"/><Relationship Id="rId11" Type="http://schemas.openxmlformats.org/officeDocument/2006/relationships/theme" Target="../theme/theme59.xml"/><Relationship Id="rId5" Type="http://schemas.openxmlformats.org/officeDocument/2006/relationships/slideLayout" Target="../slideLayouts/slideLayout544.xml"/><Relationship Id="rId15" Type="http://schemas.openxmlformats.org/officeDocument/2006/relationships/tags" Target="../tags/tag1783.xml"/><Relationship Id="rId10" Type="http://schemas.openxmlformats.org/officeDocument/2006/relationships/slideLayout" Target="../slideLayouts/slideLayout549.xml"/><Relationship Id="rId19" Type="http://schemas.openxmlformats.org/officeDocument/2006/relationships/tags" Target="../tags/tag1787.xml"/><Relationship Id="rId4" Type="http://schemas.openxmlformats.org/officeDocument/2006/relationships/slideLayout" Target="../slideLayouts/slideLayout543.xml"/><Relationship Id="rId9" Type="http://schemas.openxmlformats.org/officeDocument/2006/relationships/slideLayout" Target="../slideLayouts/slideLayout548.xml"/><Relationship Id="rId14" Type="http://schemas.openxmlformats.org/officeDocument/2006/relationships/tags" Target="../tags/tag1782.xml"/><Relationship Id="rId22" Type="http://schemas.openxmlformats.org/officeDocument/2006/relationships/image" Target="../media/image2.pn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3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4" Type="http://schemas.openxmlformats.org/officeDocument/2006/relationships/theme" Target="../theme/theme6.xml"/></Relationships>
</file>

<file path=ppt/slideMasters/_rels/slideMaster6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7.xml"/><Relationship Id="rId13" Type="http://schemas.openxmlformats.org/officeDocument/2006/relationships/tags" Target="../tags/tag1816.xml"/><Relationship Id="rId18" Type="http://schemas.openxmlformats.org/officeDocument/2006/relationships/tags" Target="../tags/tag1821.xml"/><Relationship Id="rId3" Type="http://schemas.openxmlformats.org/officeDocument/2006/relationships/slideLayout" Target="../slideLayouts/slideLayout552.xml"/><Relationship Id="rId21" Type="http://schemas.openxmlformats.org/officeDocument/2006/relationships/oleObject" Target="../embeddings/oleObject492.bin"/><Relationship Id="rId7" Type="http://schemas.openxmlformats.org/officeDocument/2006/relationships/slideLayout" Target="../slideLayouts/slideLayout556.xml"/><Relationship Id="rId12" Type="http://schemas.openxmlformats.org/officeDocument/2006/relationships/vmlDrawing" Target="../drawings/vmlDrawing468.vml"/><Relationship Id="rId17" Type="http://schemas.openxmlformats.org/officeDocument/2006/relationships/tags" Target="../tags/tag1820.xml"/><Relationship Id="rId2" Type="http://schemas.openxmlformats.org/officeDocument/2006/relationships/slideLayout" Target="../slideLayouts/slideLayout551.xml"/><Relationship Id="rId16" Type="http://schemas.openxmlformats.org/officeDocument/2006/relationships/tags" Target="../tags/tag1819.xml"/><Relationship Id="rId20" Type="http://schemas.openxmlformats.org/officeDocument/2006/relationships/tags" Target="../tags/tag1823.xml"/><Relationship Id="rId1" Type="http://schemas.openxmlformats.org/officeDocument/2006/relationships/slideLayout" Target="../slideLayouts/slideLayout550.xml"/><Relationship Id="rId6" Type="http://schemas.openxmlformats.org/officeDocument/2006/relationships/slideLayout" Target="../slideLayouts/slideLayout555.xml"/><Relationship Id="rId11" Type="http://schemas.openxmlformats.org/officeDocument/2006/relationships/theme" Target="../theme/theme60.xml"/><Relationship Id="rId5" Type="http://schemas.openxmlformats.org/officeDocument/2006/relationships/slideLayout" Target="../slideLayouts/slideLayout554.xml"/><Relationship Id="rId15" Type="http://schemas.openxmlformats.org/officeDocument/2006/relationships/tags" Target="../tags/tag1818.xml"/><Relationship Id="rId10" Type="http://schemas.openxmlformats.org/officeDocument/2006/relationships/slideLayout" Target="../slideLayouts/slideLayout559.xml"/><Relationship Id="rId19" Type="http://schemas.openxmlformats.org/officeDocument/2006/relationships/tags" Target="../tags/tag1822.xml"/><Relationship Id="rId4" Type="http://schemas.openxmlformats.org/officeDocument/2006/relationships/slideLayout" Target="../slideLayouts/slideLayout553.xml"/><Relationship Id="rId9" Type="http://schemas.openxmlformats.org/officeDocument/2006/relationships/slideLayout" Target="../slideLayouts/slideLayout558.xml"/><Relationship Id="rId14" Type="http://schemas.openxmlformats.org/officeDocument/2006/relationships/tags" Target="../tags/tag1817.xml"/><Relationship Id="rId22" Type="http://schemas.openxmlformats.org/officeDocument/2006/relationships/image" Target="../media/image2.png"/></Relationships>
</file>

<file path=ppt/slideMasters/_rels/slideMaster6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7.xml"/><Relationship Id="rId13" Type="http://schemas.openxmlformats.org/officeDocument/2006/relationships/tags" Target="../tags/tag1851.xml"/><Relationship Id="rId18" Type="http://schemas.openxmlformats.org/officeDocument/2006/relationships/tags" Target="../tags/tag1856.xml"/><Relationship Id="rId3" Type="http://schemas.openxmlformats.org/officeDocument/2006/relationships/slideLayout" Target="../slideLayouts/slideLayout562.xml"/><Relationship Id="rId21" Type="http://schemas.openxmlformats.org/officeDocument/2006/relationships/oleObject" Target="../embeddings/oleObject501.bin"/><Relationship Id="rId7" Type="http://schemas.openxmlformats.org/officeDocument/2006/relationships/slideLayout" Target="../slideLayouts/slideLayout566.xml"/><Relationship Id="rId12" Type="http://schemas.openxmlformats.org/officeDocument/2006/relationships/vmlDrawing" Target="../drawings/vmlDrawing477.vml"/><Relationship Id="rId17" Type="http://schemas.openxmlformats.org/officeDocument/2006/relationships/tags" Target="../tags/tag1855.xml"/><Relationship Id="rId2" Type="http://schemas.openxmlformats.org/officeDocument/2006/relationships/slideLayout" Target="../slideLayouts/slideLayout561.xml"/><Relationship Id="rId16" Type="http://schemas.openxmlformats.org/officeDocument/2006/relationships/tags" Target="../tags/tag1854.xml"/><Relationship Id="rId20" Type="http://schemas.openxmlformats.org/officeDocument/2006/relationships/tags" Target="../tags/tag1858.xml"/><Relationship Id="rId1" Type="http://schemas.openxmlformats.org/officeDocument/2006/relationships/slideLayout" Target="../slideLayouts/slideLayout560.xml"/><Relationship Id="rId6" Type="http://schemas.openxmlformats.org/officeDocument/2006/relationships/slideLayout" Target="../slideLayouts/slideLayout565.xml"/><Relationship Id="rId11" Type="http://schemas.openxmlformats.org/officeDocument/2006/relationships/theme" Target="../theme/theme61.xml"/><Relationship Id="rId5" Type="http://schemas.openxmlformats.org/officeDocument/2006/relationships/slideLayout" Target="../slideLayouts/slideLayout564.xml"/><Relationship Id="rId15" Type="http://schemas.openxmlformats.org/officeDocument/2006/relationships/tags" Target="../tags/tag1853.xml"/><Relationship Id="rId10" Type="http://schemas.openxmlformats.org/officeDocument/2006/relationships/slideLayout" Target="../slideLayouts/slideLayout569.xml"/><Relationship Id="rId19" Type="http://schemas.openxmlformats.org/officeDocument/2006/relationships/tags" Target="../tags/tag1857.xml"/><Relationship Id="rId4" Type="http://schemas.openxmlformats.org/officeDocument/2006/relationships/slideLayout" Target="../slideLayouts/slideLayout563.xml"/><Relationship Id="rId9" Type="http://schemas.openxmlformats.org/officeDocument/2006/relationships/slideLayout" Target="../slideLayouts/slideLayout568.xml"/><Relationship Id="rId14" Type="http://schemas.openxmlformats.org/officeDocument/2006/relationships/tags" Target="../tags/tag1852.xml"/><Relationship Id="rId22" Type="http://schemas.openxmlformats.org/officeDocument/2006/relationships/image" Target="../media/image2.png"/></Relationships>
</file>

<file path=ppt/slideMasters/_rels/slideMaster6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7.xml"/><Relationship Id="rId13" Type="http://schemas.openxmlformats.org/officeDocument/2006/relationships/tags" Target="../tags/tag1886.xml"/><Relationship Id="rId18" Type="http://schemas.openxmlformats.org/officeDocument/2006/relationships/tags" Target="../tags/tag1891.xml"/><Relationship Id="rId3" Type="http://schemas.openxmlformats.org/officeDocument/2006/relationships/slideLayout" Target="../slideLayouts/slideLayout572.xml"/><Relationship Id="rId21" Type="http://schemas.openxmlformats.org/officeDocument/2006/relationships/oleObject" Target="../embeddings/oleObject510.bin"/><Relationship Id="rId7" Type="http://schemas.openxmlformats.org/officeDocument/2006/relationships/slideLayout" Target="../slideLayouts/slideLayout576.xml"/><Relationship Id="rId12" Type="http://schemas.openxmlformats.org/officeDocument/2006/relationships/vmlDrawing" Target="../drawings/vmlDrawing486.vml"/><Relationship Id="rId17" Type="http://schemas.openxmlformats.org/officeDocument/2006/relationships/tags" Target="../tags/tag1890.xml"/><Relationship Id="rId2" Type="http://schemas.openxmlformats.org/officeDocument/2006/relationships/slideLayout" Target="../slideLayouts/slideLayout571.xml"/><Relationship Id="rId16" Type="http://schemas.openxmlformats.org/officeDocument/2006/relationships/tags" Target="../tags/tag1889.xml"/><Relationship Id="rId20" Type="http://schemas.openxmlformats.org/officeDocument/2006/relationships/tags" Target="../tags/tag1893.xml"/><Relationship Id="rId1" Type="http://schemas.openxmlformats.org/officeDocument/2006/relationships/slideLayout" Target="../slideLayouts/slideLayout570.xml"/><Relationship Id="rId6" Type="http://schemas.openxmlformats.org/officeDocument/2006/relationships/slideLayout" Target="../slideLayouts/slideLayout575.xml"/><Relationship Id="rId11" Type="http://schemas.openxmlformats.org/officeDocument/2006/relationships/theme" Target="../theme/theme62.xml"/><Relationship Id="rId5" Type="http://schemas.openxmlformats.org/officeDocument/2006/relationships/slideLayout" Target="../slideLayouts/slideLayout574.xml"/><Relationship Id="rId15" Type="http://schemas.openxmlformats.org/officeDocument/2006/relationships/tags" Target="../tags/tag1888.xml"/><Relationship Id="rId10" Type="http://schemas.openxmlformats.org/officeDocument/2006/relationships/slideLayout" Target="../slideLayouts/slideLayout579.xml"/><Relationship Id="rId19" Type="http://schemas.openxmlformats.org/officeDocument/2006/relationships/tags" Target="../tags/tag1892.xml"/><Relationship Id="rId4" Type="http://schemas.openxmlformats.org/officeDocument/2006/relationships/slideLayout" Target="../slideLayouts/slideLayout573.xml"/><Relationship Id="rId9" Type="http://schemas.openxmlformats.org/officeDocument/2006/relationships/slideLayout" Target="../slideLayouts/slideLayout578.xml"/><Relationship Id="rId14" Type="http://schemas.openxmlformats.org/officeDocument/2006/relationships/tags" Target="../tags/tag1887.xml"/><Relationship Id="rId22" Type="http://schemas.openxmlformats.org/officeDocument/2006/relationships/image" Target="../media/image2.png"/></Relationships>
</file>

<file path=ppt/slideMasters/_rels/slideMaster6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7.xml"/><Relationship Id="rId13" Type="http://schemas.openxmlformats.org/officeDocument/2006/relationships/tags" Target="../tags/tag1921.xml"/><Relationship Id="rId18" Type="http://schemas.openxmlformats.org/officeDocument/2006/relationships/tags" Target="../tags/tag1926.xml"/><Relationship Id="rId3" Type="http://schemas.openxmlformats.org/officeDocument/2006/relationships/slideLayout" Target="../slideLayouts/slideLayout582.xml"/><Relationship Id="rId21" Type="http://schemas.openxmlformats.org/officeDocument/2006/relationships/oleObject" Target="../embeddings/oleObject519.bin"/><Relationship Id="rId7" Type="http://schemas.openxmlformats.org/officeDocument/2006/relationships/slideLayout" Target="../slideLayouts/slideLayout586.xml"/><Relationship Id="rId12" Type="http://schemas.openxmlformats.org/officeDocument/2006/relationships/vmlDrawing" Target="../drawings/vmlDrawing495.vml"/><Relationship Id="rId17" Type="http://schemas.openxmlformats.org/officeDocument/2006/relationships/tags" Target="../tags/tag1925.xml"/><Relationship Id="rId2" Type="http://schemas.openxmlformats.org/officeDocument/2006/relationships/slideLayout" Target="../slideLayouts/slideLayout581.xml"/><Relationship Id="rId16" Type="http://schemas.openxmlformats.org/officeDocument/2006/relationships/tags" Target="../tags/tag1924.xml"/><Relationship Id="rId20" Type="http://schemas.openxmlformats.org/officeDocument/2006/relationships/tags" Target="../tags/tag1928.xml"/><Relationship Id="rId1" Type="http://schemas.openxmlformats.org/officeDocument/2006/relationships/slideLayout" Target="../slideLayouts/slideLayout580.xml"/><Relationship Id="rId6" Type="http://schemas.openxmlformats.org/officeDocument/2006/relationships/slideLayout" Target="../slideLayouts/slideLayout585.xml"/><Relationship Id="rId11" Type="http://schemas.openxmlformats.org/officeDocument/2006/relationships/theme" Target="../theme/theme63.xml"/><Relationship Id="rId5" Type="http://schemas.openxmlformats.org/officeDocument/2006/relationships/slideLayout" Target="../slideLayouts/slideLayout584.xml"/><Relationship Id="rId15" Type="http://schemas.openxmlformats.org/officeDocument/2006/relationships/tags" Target="../tags/tag1923.xml"/><Relationship Id="rId10" Type="http://schemas.openxmlformats.org/officeDocument/2006/relationships/slideLayout" Target="../slideLayouts/slideLayout589.xml"/><Relationship Id="rId19" Type="http://schemas.openxmlformats.org/officeDocument/2006/relationships/tags" Target="../tags/tag1927.xml"/><Relationship Id="rId4" Type="http://schemas.openxmlformats.org/officeDocument/2006/relationships/slideLayout" Target="../slideLayouts/slideLayout583.xml"/><Relationship Id="rId9" Type="http://schemas.openxmlformats.org/officeDocument/2006/relationships/slideLayout" Target="../slideLayouts/slideLayout588.xml"/><Relationship Id="rId14" Type="http://schemas.openxmlformats.org/officeDocument/2006/relationships/tags" Target="../tags/tag1922.xml"/><Relationship Id="rId22" Type="http://schemas.openxmlformats.org/officeDocument/2006/relationships/image" Target="../media/image2.png"/></Relationships>
</file>

<file path=ppt/slideMasters/_rels/slideMaster6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7.xml"/><Relationship Id="rId13" Type="http://schemas.openxmlformats.org/officeDocument/2006/relationships/tags" Target="../tags/tag1956.xml"/><Relationship Id="rId18" Type="http://schemas.openxmlformats.org/officeDocument/2006/relationships/tags" Target="../tags/tag1961.xml"/><Relationship Id="rId3" Type="http://schemas.openxmlformats.org/officeDocument/2006/relationships/slideLayout" Target="../slideLayouts/slideLayout592.xml"/><Relationship Id="rId21" Type="http://schemas.openxmlformats.org/officeDocument/2006/relationships/oleObject" Target="../embeddings/oleObject528.bin"/><Relationship Id="rId7" Type="http://schemas.openxmlformats.org/officeDocument/2006/relationships/slideLayout" Target="../slideLayouts/slideLayout596.xml"/><Relationship Id="rId12" Type="http://schemas.openxmlformats.org/officeDocument/2006/relationships/vmlDrawing" Target="../drawings/vmlDrawing504.vml"/><Relationship Id="rId17" Type="http://schemas.openxmlformats.org/officeDocument/2006/relationships/tags" Target="../tags/tag1960.xml"/><Relationship Id="rId2" Type="http://schemas.openxmlformats.org/officeDocument/2006/relationships/slideLayout" Target="../slideLayouts/slideLayout591.xml"/><Relationship Id="rId16" Type="http://schemas.openxmlformats.org/officeDocument/2006/relationships/tags" Target="../tags/tag1959.xml"/><Relationship Id="rId20" Type="http://schemas.openxmlformats.org/officeDocument/2006/relationships/tags" Target="../tags/tag1963.xml"/><Relationship Id="rId1" Type="http://schemas.openxmlformats.org/officeDocument/2006/relationships/slideLayout" Target="../slideLayouts/slideLayout590.xml"/><Relationship Id="rId6" Type="http://schemas.openxmlformats.org/officeDocument/2006/relationships/slideLayout" Target="../slideLayouts/slideLayout595.xml"/><Relationship Id="rId11" Type="http://schemas.openxmlformats.org/officeDocument/2006/relationships/theme" Target="../theme/theme64.xml"/><Relationship Id="rId5" Type="http://schemas.openxmlformats.org/officeDocument/2006/relationships/slideLayout" Target="../slideLayouts/slideLayout594.xml"/><Relationship Id="rId15" Type="http://schemas.openxmlformats.org/officeDocument/2006/relationships/tags" Target="../tags/tag1958.xml"/><Relationship Id="rId10" Type="http://schemas.openxmlformats.org/officeDocument/2006/relationships/slideLayout" Target="../slideLayouts/slideLayout599.xml"/><Relationship Id="rId19" Type="http://schemas.openxmlformats.org/officeDocument/2006/relationships/tags" Target="../tags/tag1962.xml"/><Relationship Id="rId4" Type="http://schemas.openxmlformats.org/officeDocument/2006/relationships/slideLayout" Target="../slideLayouts/slideLayout593.xml"/><Relationship Id="rId9" Type="http://schemas.openxmlformats.org/officeDocument/2006/relationships/slideLayout" Target="../slideLayouts/slideLayout598.xml"/><Relationship Id="rId14" Type="http://schemas.openxmlformats.org/officeDocument/2006/relationships/tags" Target="../tags/tag1957.xml"/><Relationship Id="rId22" Type="http://schemas.openxmlformats.org/officeDocument/2006/relationships/image" Target="../media/image2.png"/></Relationships>
</file>

<file path=ppt/slideMasters/_rels/slideMaster6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7.xml"/><Relationship Id="rId13" Type="http://schemas.openxmlformats.org/officeDocument/2006/relationships/tags" Target="../tags/tag1991.xml"/><Relationship Id="rId18" Type="http://schemas.openxmlformats.org/officeDocument/2006/relationships/tags" Target="../tags/tag1996.xml"/><Relationship Id="rId3" Type="http://schemas.openxmlformats.org/officeDocument/2006/relationships/slideLayout" Target="../slideLayouts/slideLayout602.xml"/><Relationship Id="rId21" Type="http://schemas.openxmlformats.org/officeDocument/2006/relationships/oleObject" Target="../embeddings/oleObject537.bin"/><Relationship Id="rId7" Type="http://schemas.openxmlformats.org/officeDocument/2006/relationships/slideLayout" Target="../slideLayouts/slideLayout606.xml"/><Relationship Id="rId12" Type="http://schemas.openxmlformats.org/officeDocument/2006/relationships/vmlDrawing" Target="../drawings/vmlDrawing513.vml"/><Relationship Id="rId17" Type="http://schemas.openxmlformats.org/officeDocument/2006/relationships/tags" Target="../tags/tag1995.xml"/><Relationship Id="rId2" Type="http://schemas.openxmlformats.org/officeDocument/2006/relationships/slideLayout" Target="../slideLayouts/slideLayout601.xml"/><Relationship Id="rId16" Type="http://schemas.openxmlformats.org/officeDocument/2006/relationships/tags" Target="../tags/tag1994.xml"/><Relationship Id="rId20" Type="http://schemas.openxmlformats.org/officeDocument/2006/relationships/tags" Target="../tags/tag1998.xml"/><Relationship Id="rId1" Type="http://schemas.openxmlformats.org/officeDocument/2006/relationships/slideLayout" Target="../slideLayouts/slideLayout600.xml"/><Relationship Id="rId6" Type="http://schemas.openxmlformats.org/officeDocument/2006/relationships/slideLayout" Target="../slideLayouts/slideLayout605.xml"/><Relationship Id="rId11" Type="http://schemas.openxmlformats.org/officeDocument/2006/relationships/theme" Target="../theme/theme65.xml"/><Relationship Id="rId5" Type="http://schemas.openxmlformats.org/officeDocument/2006/relationships/slideLayout" Target="../slideLayouts/slideLayout604.xml"/><Relationship Id="rId15" Type="http://schemas.openxmlformats.org/officeDocument/2006/relationships/tags" Target="../tags/tag1993.xml"/><Relationship Id="rId10" Type="http://schemas.openxmlformats.org/officeDocument/2006/relationships/slideLayout" Target="../slideLayouts/slideLayout609.xml"/><Relationship Id="rId19" Type="http://schemas.openxmlformats.org/officeDocument/2006/relationships/tags" Target="../tags/tag1997.xml"/><Relationship Id="rId4" Type="http://schemas.openxmlformats.org/officeDocument/2006/relationships/slideLayout" Target="../slideLayouts/slideLayout603.xml"/><Relationship Id="rId9" Type="http://schemas.openxmlformats.org/officeDocument/2006/relationships/slideLayout" Target="../slideLayouts/slideLayout608.xml"/><Relationship Id="rId14" Type="http://schemas.openxmlformats.org/officeDocument/2006/relationships/tags" Target="../tags/tag1992.xml"/><Relationship Id="rId22" Type="http://schemas.openxmlformats.org/officeDocument/2006/relationships/image" Target="../media/image2.png"/></Relationships>
</file>

<file path=ppt/slideMasters/_rels/slideMaster6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7.xml"/><Relationship Id="rId13" Type="http://schemas.openxmlformats.org/officeDocument/2006/relationships/tags" Target="../tags/tag2026.xml"/><Relationship Id="rId18" Type="http://schemas.openxmlformats.org/officeDocument/2006/relationships/tags" Target="../tags/tag2031.xml"/><Relationship Id="rId3" Type="http://schemas.openxmlformats.org/officeDocument/2006/relationships/slideLayout" Target="../slideLayouts/slideLayout612.xml"/><Relationship Id="rId21" Type="http://schemas.openxmlformats.org/officeDocument/2006/relationships/oleObject" Target="../embeddings/oleObject546.bin"/><Relationship Id="rId7" Type="http://schemas.openxmlformats.org/officeDocument/2006/relationships/slideLayout" Target="../slideLayouts/slideLayout616.xml"/><Relationship Id="rId12" Type="http://schemas.openxmlformats.org/officeDocument/2006/relationships/vmlDrawing" Target="../drawings/vmlDrawing522.vml"/><Relationship Id="rId17" Type="http://schemas.openxmlformats.org/officeDocument/2006/relationships/tags" Target="../tags/tag2030.xml"/><Relationship Id="rId2" Type="http://schemas.openxmlformats.org/officeDocument/2006/relationships/slideLayout" Target="../slideLayouts/slideLayout611.xml"/><Relationship Id="rId16" Type="http://schemas.openxmlformats.org/officeDocument/2006/relationships/tags" Target="../tags/tag2029.xml"/><Relationship Id="rId20" Type="http://schemas.openxmlformats.org/officeDocument/2006/relationships/tags" Target="../tags/tag2033.xml"/><Relationship Id="rId1" Type="http://schemas.openxmlformats.org/officeDocument/2006/relationships/slideLayout" Target="../slideLayouts/slideLayout610.xml"/><Relationship Id="rId6" Type="http://schemas.openxmlformats.org/officeDocument/2006/relationships/slideLayout" Target="../slideLayouts/slideLayout615.xml"/><Relationship Id="rId11" Type="http://schemas.openxmlformats.org/officeDocument/2006/relationships/theme" Target="../theme/theme66.xml"/><Relationship Id="rId5" Type="http://schemas.openxmlformats.org/officeDocument/2006/relationships/slideLayout" Target="../slideLayouts/slideLayout614.xml"/><Relationship Id="rId15" Type="http://schemas.openxmlformats.org/officeDocument/2006/relationships/tags" Target="../tags/tag2028.xml"/><Relationship Id="rId10" Type="http://schemas.openxmlformats.org/officeDocument/2006/relationships/slideLayout" Target="../slideLayouts/slideLayout619.xml"/><Relationship Id="rId19" Type="http://schemas.openxmlformats.org/officeDocument/2006/relationships/tags" Target="../tags/tag2032.xml"/><Relationship Id="rId4" Type="http://schemas.openxmlformats.org/officeDocument/2006/relationships/slideLayout" Target="../slideLayouts/slideLayout613.xml"/><Relationship Id="rId9" Type="http://schemas.openxmlformats.org/officeDocument/2006/relationships/slideLayout" Target="../slideLayouts/slideLayout618.xml"/><Relationship Id="rId14" Type="http://schemas.openxmlformats.org/officeDocument/2006/relationships/tags" Target="../tags/tag2027.xml"/><Relationship Id="rId22" Type="http://schemas.openxmlformats.org/officeDocument/2006/relationships/image" Target="../media/image2.png"/></Relationships>
</file>

<file path=ppt/slideMasters/_rels/slideMaster6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7.xml"/><Relationship Id="rId13" Type="http://schemas.openxmlformats.org/officeDocument/2006/relationships/tags" Target="../tags/tag2061.xml"/><Relationship Id="rId18" Type="http://schemas.openxmlformats.org/officeDocument/2006/relationships/tags" Target="../tags/tag2066.xml"/><Relationship Id="rId3" Type="http://schemas.openxmlformats.org/officeDocument/2006/relationships/slideLayout" Target="../slideLayouts/slideLayout622.xml"/><Relationship Id="rId21" Type="http://schemas.openxmlformats.org/officeDocument/2006/relationships/oleObject" Target="../embeddings/oleObject555.bin"/><Relationship Id="rId7" Type="http://schemas.openxmlformats.org/officeDocument/2006/relationships/slideLayout" Target="../slideLayouts/slideLayout626.xml"/><Relationship Id="rId12" Type="http://schemas.openxmlformats.org/officeDocument/2006/relationships/vmlDrawing" Target="../drawings/vmlDrawing531.vml"/><Relationship Id="rId17" Type="http://schemas.openxmlformats.org/officeDocument/2006/relationships/tags" Target="../tags/tag2065.xml"/><Relationship Id="rId2" Type="http://schemas.openxmlformats.org/officeDocument/2006/relationships/slideLayout" Target="../slideLayouts/slideLayout621.xml"/><Relationship Id="rId16" Type="http://schemas.openxmlformats.org/officeDocument/2006/relationships/tags" Target="../tags/tag2064.xml"/><Relationship Id="rId20" Type="http://schemas.openxmlformats.org/officeDocument/2006/relationships/tags" Target="../tags/tag2068.xml"/><Relationship Id="rId1" Type="http://schemas.openxmlformats.org/officeDocument/2006/relationships/slideLayout" Target="../slideLayouts/slideLayout620.xml"/><Relationship Id="rId6" Type="http://schemas.openxmlformats.org/officeDocument/2006/relationships/slideLayout" Target="../slideLayouts/slideLayout625.xml"/><Relationship Id="rId11" Type="http://schemas.openxmlformats.org/officeDocument/2006/relationships/theme" Target="../theme/theme67.xml"/><Relationship Id="rId5" Type="http://schemas.openxmlformats.org/officeDocument/2006/relationships/slideLayout" Target="../slideLayouts/slideLayout624.xml"/><Relationship Id="rId15" Type="http://schemas.openxmlformats.org/officeDocument/2006/relationships/tags" Target="../tags/tag2063.xml"/><Relationship Id="rId10" Type="http://schemas.openxmlformats.org/officeDocument/2006/relationships/slideLayout" Target="../slideLayouts/slideLayout629.xml"/><Relationship Id="rId19" Type="http://schemas.openxmlformats.org/officeDocument/2006/relationships/tags" Target="../tags/tag2067.xml"/><Relationship Id="rId4" Type="http://schemas.openxmlformats.org/officeDocument/2006/relationships/slideLayout" Target="../slideLayouts/slideLayout623.xml"/><Relationship Id="rId9" Type="http://schemas.openxmlformats.org/officeDocument/2006/relationships/slideLayout" Target="../slideLayouts/slideLayout628.xml"/><Relationship Id="rId14" Type="http://schemas.openxmlformats.org/officeDocument/2006/relationships/tags" Target="../tags/tag2062.xml"/><Relationship Id="rId22" Type="http://schemas.openxmlformats.org/officeDocument/2006/relationships/image" Target="../media/image2.png"/></Relationships>
</file>

<file path=ppt/slideMasters/_rels/slideMaster6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7.xml"/><Relationship Id="rId13" Type="http://schemas.openxmlformats.org/officeDocument/2006/relationships/tags" Target="../tags/tag2096.xml"/><Relationship Id="rId18" Type="http://schemas.openxmlformats.org/officeDocument/2006/relationships/tags" Target="../tags/tag2101.xml"/><Relationship Id="rId3" Type="http://schemas.openxmlformats.org/officeDocument/2006/relationships/slideLayout" Target="../slideLayouts/slideLayout632.xml"/><Relationship Id="rId21" Type="http://schemas.openxmlformats.org/officeDocument/2006/relationships/oleObject" Target="../embeddings/oleObject564.bin"/><Relationship Id="rId7" Type="http://schemas.openxmlformats.org/officeDocument/2006/relationships/slideLayout" Target="../slideLayouts/slideLayout636.xml"/><Relationship Id="rId12" Type="http://schemas.openxmlformats.org/officeDocument/2006/relationships/vmlDrawing" Target="../drawings/vmlDrawing540.vml"/><Relationship Id="rId17" Type="http://schemas.openxmlformats.org/officeDocument/2006/relationships/tags" Target="../tags/tag2100.xml"/><Relationship Id="rId2" Type="http://schemas.openxmlformats.org/officeDocument/2006/relationships/slideLayout" Target="../slideLayouts/slideLayout631.xml"/><Relationship Id="rId16" Type="http://schemas.openxmlformats.org/officeDocument/2006/relationships/tags" Target="../tags/tag2099.xml"/><Relationship Id="rId20" Type="http://schemas.openxmlformats.org/officeDocument/2006/relationships/tags" Target="../tags/tag2103.xml"/><Relationship Id="rId1" Type="http://schemas.openxmlformats.org/officeDocument/2006/relationships/slideLayout" Target="../slideLayouts/slideLayout630.xml"/><Relationship Id="rId6" Type="http://schemas.openxmlformats.org/officeDocument/2006/relationships/slideLayout" Target="../slideLayouts/slideLayout635.xml"/><Relationship Id="rId11" Type="http://schemas.openxmlformats.org/officeDocument/2006/relationships/theme" Target="../theme/theme68.xml"/><Relationship Id="rId5" Type="http://schemas.openxmlformats.org/officeDocument/2006/relationships/slideLayout" Target="../slideLayouts/slideLayout634.xml"/><Relationship Id="rId15" Type="http://schemas.openxmlformats.org/officeDocument/2006/relationships/tags" Target="../tags/tag2098.xml"/><Relationship Id="rId10" Type="http://schemas.openxmlformats.org/officeDocument/2006/relationships/slideLayout" Target="../slideLayouts/slideLayout639.xml"/><Relationship Id="rId19" Type="http://schemas.openxmlformats.org/officeDocument/2006/relationships/tags" Target="../tags/tag2102.xml"/><Relationship Id="rId4" Type="http://schemas.openxmlformats.org/officeDocument/2006/relationships/slideLayout" Target="../slideLayouts/slideLayout633.xml"/><Relationship Id="rId9" Type="http://schemas.openxmlformats.org/officeDocument/2006/relationships/slideLayout" Target="../slideLayouts/slideLayout638.xml"/><Relationship Id="rId14" Type="http://schemas.openxmlformats.org/officeDocument/2006/relationships/tags" Target="../tags/tag2097.xml"/><Relationship Id="rId22" Type="http://schemas.openxmlformats.org/officeDocument/2006/relationships/image" Target="../media/image2.png"/></Relationships>
</file>

<file path=ppt/slideMasters/_rels/slideMaster6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7.xml"/><Relationship Id="rId13" Type="http://schemas.openxmlformats.org/officeDocument/2006/relationships/tags" Target="../tags/tag2131.xml"/><Relationship Id="rId18" Type="http://schemas.openxmlformats.org/officeDocument/2006/relationships/tags" Target="../tags/tag2136.xml"/><Relationship Id="rId3" Type="http://schemas.openxmlformats.org/officeDocument/2006/relationships/slideLayout" Target="../slideLayouts/slideLayout642.xml"/><Relationship Id="rId21" Type="http://schemas.openxmlformats.org/officeDocument/2006/relationships/oleObject" Target="../embeddings/oleObject573.bin"/><Relationship Id="rId7" Type="http://schemas.openxmlformats.org/officeDocument/2006/relationships/slideLayout" Target="../slideLayouts/slideLayout646.xml"/><Relationship Id="rId12" Type="http://schemas.openxmlformats.org/officeDocument/2006/relationships/vmlDrawing" Target="../drawings/vmlDrawing549.vml"/><Relationship Id="rId17" Type="http://schemas.openxmlformats.org/officeDocument/2006/relationships/tags" Target="../tags/tag2135.xml"/><Relationship Id="rId2" Type="http://schemas.openxmlformats.org/officeDocument/2006/relationships/slideLayout" Target="../slideLayouts/slideLayout641.xml"/><Relationship Id="rId16" Type="http://schemas.openxmlformats.org/officeDocument/2006/relationships/tags" Target="../tags/tag2134.xml"/><Relationship Id="rId20" Type="http://schemas.openxmlformats.org/officeDocument/2006/relationships/tags" Target="../tags/tag2138.xml"/><Relationship Id="rId1" Type="http://schemas.openxmlformats.org/officeDocument/2006/relationships/slideLayout" Target="../slideLayouts/slideLayout640.xml"/><Relationship Id="rId6" Type="http://schemas.openxmlformats.org/officeDocument/2006/relationships/slideLayout" Target="../slideLayouts/slideLayout645.xml"/><Relationship Id="rId11" Type="http://schemas.openxmlformats.org/officeDocument/2006/relationships/theme" Target="../theme/theme69.xml"/><Relationship Id="rId5" Type="http://schemas.openxmlformats.org/officeDocument/2006/relationships/slideLayout" Target="../slideLayouts/slideLayout644.xml"/><Relationship Id="rId15" Type="http://schemas.openxmlformats.org/officeDocument/2006/relationships/tags" Target="../tags/tag2133.xml"/><Relationship Id="rId10" Type="http://schemas.openxmlformats.org/officeDocument/2006/relationships/slideLayout" Target="../slideLayouts/slideLayout649.xml"/><Relationship Id="rId19" Type="http://schemas.openxmlformats.org/officeDocument/2006/relationships/tags" Target="../tags/tag2137.xml"/><Relationship Id="rId4" Type="http://schemas.openxmlformats.org/officeDocument/2006/relationships/slideLayout" Target="../slideLayouts/slideLayout643.xml"/><Relationship Id="rId9" Type="http://schemas.openxmlformats.org/officeDocument/2006/relationships/slideLayout" Target="../slideLayouts/slideLayout648.xml"/><Relationship Id="rId14" Type="http://schemas.openxmlformats.org/officeDocument/2006/relationships/tags" Target="../tags/tag2132.xml"/><Relationship Id="rId22" Type="http://schemas.openxmlformats.org/officeDocument/2006/relationships/image" Target="../media/image2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vmlDrawing" Target="../drawings/vmlDrawing25.vml"/><Relationship Id="rId18" Type="http://schemas.openxmlformats.org/officeDocument/2006/relationships/tags" Target="../tags/tag120.xml"/><Relationship Id="rId3" Type="http://schemas.openxmlformats.org/officeDocument/2006/relationships/slideLayout" Target="../slideLayouts/slideLayout46.xml"/><Relationship Id="rId21" Type="http://schemas.openxmlformats.org/officeDocument/2006/relationships/tags" Target="../tags/tag123.xml"/><Relationship Id="rId7" Type="http://schemas.openxmlformats.org/officeDocument/2006/relationships/slideLayout" Target="../slideLayouts/slideLayout50.xml"/><Relationship Id="rId12" Type="http://schemas.openxmlformats.org/officeDocument/2006/relationships/theme" Target="../theme/theme7.xml"/><Relationship Id="rId17" Type="http://schemas.openxmlformats.org/officeDocument/2006/relationships/tags" Target="../tags/tag119.xml"/><Relationship Id="rId2" Type="http://schemas.openxmlformats.org/officeDocument/2006/relationships/slideLayout" Target="../slideLayouts/slideLayout45.xml"/><Relationship Id="rId16" Type="http://schemas.openxmlformats.org/officeDocument/2006/relationships/tags" Target="../tags/tag118.xml"/><Relationship Id="rId20" Type="http://schemas.openxmlformats.org/officeDocument/2006/relationships/tags" Target="../tags/tag122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5" Type="http://schemas.openxmlformats.org/officeDocument/2006/relationships/tags" Target="../tags/tag117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53.xml"/><Relationship Id="rId19" Type="http://schemas.openxmlformats.org/officeDocument/2006/relationships/tags" Target="../tags/tag121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tags" Target="../tags/tag116.xml"/><Relationship Id="rId22" Type="http://schemas.openxmlformats.org/officeDocument/2006/relationships/oleObject" Target="../embeddings/oleObject25.bin"/></Relationships>
</file>

<file path=ppt/slideMasters/_rels/slideMaster7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7.xml"/><Relationship Id="rId13" Type="http://schemas.openxmlformats.org/officeDocument/2006/relationships/tags" Target="../tags/tag2166.xml"/><Relationship Id="rId18" Type="http://schemas.openxmlformats.org/officeDocument/2006/relationships/tags" Target="../tags/tag2171.xml"/><Relationship Id="rId3" Type="http://schemas.openxmlformats.org/officeDocument/2006/relationships/slideLayout" Target="../slideLayouts/slideLayout652.xml"/><Relationship Id="rId21" Type="http://schemas.openxmlformats.org/officeDocument/2006/relationships/oleObject" Target="../embeddings/oleObject582.bin"/><Relationship Id="rId7" Type="http://schemas.openxmlformats.org/officeDocument/2006/relationships/slideLayout" Target="../slideLayouts/slideLayout656.xml"/><Relationship Id="rId12" Type="http://schemas.openxmlformats.org/officeDocument/2006/relationships/vmlDrawing" Target="../drawings/vmlDrawing558.vml"/><Relationship Id="rId17" Type="http://schemas.openxmlformats.org/officeDocument/2006/relationships/tags" Target="../tags/tag2170.xml"/><Relationship Id="rId2" Type="http://schemas.openxmlformats.org/officeDocument/2006/relationships/slideLayout" Target="../slideLayouts/slideLayout651.xml"/><Relationship Id="rId16" Type="http://schemas.openxmlformats.org/officeDocument/2006/relationships/tags" Target="../tags/tag2169.xml"/><Relationship Id="rId20" Type="http://schemas.openxmlformats.org/officeDocument/2006/relationships/tags" Target="../tags/tag2173.xml"/><Relationship Id="rId1" Type="http://schemas.openxmlformats.org/officeDocument/2006/relationships/slideLayout" Target="../slideLayouts/slideLayout650.xml"/><Relationship Id="rId6" Type="http://schemas.openxmlformats.org/officeDocument/2006/relationships/slideLayout" Target="../slideLayouts/slideLayout655.xml"/><Relationship Id="rId11" Type="http://schemas.openxmlformats.org/officeDocument/2006/relationships/theme" Target="../theme/theme70.xml"/><Relationship Id="rId5" Type="http://schemas.openxmlformats.org/officeDocument/2006/relationships/slideLayout" Target="../slideLayouts/slideLayout654.xml"/><Relationship Id="rId15" Type="http://schemas.openxmlformats.org/officeDocument/2006/relationships/tags" Target="../tags/tag2168.xml"/><Relationship Id="rId10" Type="http://schemas.openxmlformats.org/officeDocument/2006/relationships/slideLayout" Target="../slideLayouts/slideLayout659.xml"/><Relationship Id="rId19" Type="http://schemas.openxmlformats.org/officeDocument/2006/relationships/tags" Target="../tags/tag2172.xml"/><Relationship Id="rId4" Type="http://schemas.openxmlformats.org/officeDocument/2006/relationships/slideLayout" Target="../slideLayouts/slideLayout653.xml"/><Relationship Id="rId9" Type="http://schemas.openxmlformats.org/officeDocument/2006/relationships/slideLayout" Target="../slideLayouts/slideLayout658.xml"/><Relationship Id="rId14" Type="http://schemas.openxmlformats.org/officeDocument/2006/relationships/tags" Target="../tags/tag2167.xml"/><Relationship Id="rId22" Type="http://schemas.openxmlformats.org/officeDocument/2006/relationships/image" Target="../media/image2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2.vml"/><Relationship Id="rId13" Type="http://schemas.openxmlformats.org/officeDocument/2006/relationships/tags" Target="../tags/tag158.xml"/><Relationship Id="rId3" Type="http://schemas.openxmlformats.org/officeDocument/2006/relationships/slideLayout" Target="../slideLayouts/slideLayout57.xml"/><Relationship Id="rId7" Type="http://schemas.openxmlformats.org/officeDocument/2006/relationships/theme" Target="../theme/theme8.xml"/><Relationship Id="rId12" Type="http://schemas.openxmlformats.org/officeDocument/2006/relationships/tags" Target="../tags/tag157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56.xml"/><Relationship Id="rId16" Type="http://schemas.openxmlformats.org/officeDocument/2006/relationships/oleObject" Target="../embeddings/oleObject32.bin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tags" Target="../tags/tag156.xml"/><Relationship Id="rId5" Type="http://schemas.openxmlformats.org/officeDocument/2006/relationships/slideLayout" Target="../slideLayouts/slideLayout59.xml"/><Relationship Id="rId15" Type="http://schemas.openxmlformats.org/officeDocument/2006/relationships/tags" Target="../tags/tag160.xml"/><Relationship Id="rId10" Type="http://schemas.openxmlformats.org/officeDocument/2006/relationships/tags" Target="../tags/tag155.xml"/><Relationship Id="rId4" Type="http://schemas.openxmlformats.org/officeDocument/2006/relationships/slideLayout" Target="../slideLayouts/slideLayout58.xml"/><Relationship Id="rId9" Type="http://schemas.openxmlformats.org/officeDocument/2006/relationships/tags" Target="../tags/tag154.xml"/><Relationship Id="rId14" Type="http://schemas.openxmlformats.org/officeDocument/2006/relationships/tags" Target="../tags/tag15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tags" Target="../tags/tag166.xml"/><Relationship Id="rId18" Type="http://schemas.openxmlformats.org/officeDocument/2006/relationships/tags" Target="../tags/tag171.xml"/><Relationship Id="rId3" Type="http://schemas.openxmlformats.org/officeDocument/2006/relationships/slideLayout" Target="../slideLayouts/slideLayout63.xml"/><Relationship Id="rId21" Type="http://schemas.openxmlformats.org/officeDocument/2006/relationships/oleObject" Target="../embeddings/oleObject39.bin"/><Relationship Id="rId7" Type="http://schemas.openxmlformats.org/officeDocument/2006/relationships/slideLayout" Target="../slideLayouts/slideLayout67.xml"/><Relationship Id="rId12" Type="http://schemas.openxmlformats.org/officeDocument/2006/relationships/vmlDrawing" Target="../drawings/vmlDrawing36.vml"/><Relationship Id="rId17" Type="http://schemas.openxmlformats.org/officeDocument/2006/relationships/tags" Target="../tags/tag170.xml"/><Relationship Id="rId2" Type="http://schemas.openxmlformats.org/officeDocument/2006/relationships/slideLayout" Target="../slideLayouts/slideLayout62.xml"/><Relationship Id="rId16" Type="http://schemas.openxmlformats.org/officeDocument/2006/relationships/tags" Target="../tags/tag169.xml"/><Relationship Id="rId20" Type="http://schemas.openxmlformats.org/officeDocument/2006/relationships/tags" Target="../tags/tag173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theme" Target="../theme/theme9.xml"/><Relationship Id="rId5" Type="http://schemas.openxmlformats.org/officeDocument/2006/relationships/slideLayout" Target="../slideLayouts/slideLayout65.xml"/><Relationship Id="rId15" Type="http://schemas.openxmlformats.org/officeDocument/2006/relationships/tags" Target="../tags/tag168.xml"/><Relationship Id="rId10" Type="http://schemas.openxmlformats.org/officeDocument/2006/relationships/slideLayout" Target="../slideLayouts/slideLayout70.xml"/><Relationship Id="rId19" Type="http://schemas.openxmlformats.org/officeDocument/2006/relationships/tags" Target="../tags/tag172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tags" Target="../tags/tag167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202" name="think-cell Slide" r:id="rId20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4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  <a:latin typeface="+mn-lt"/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700" b="0" i="0" noProof="0" dirty="0" smtClean="0">
                <a:solidFill>
                  <a:schemeClr val="tx2"/>
                </a:solidFill>
                <a:latin typeface="+mn-lt"/>
                <a:cs typeface="Helvetica Light"/>
              </a:rPr>
              <a:t>Copyright © </a:t>
            </a:r>
            <a:r>
              <a:rPr lang="en-US" altLang="en-US" sz="700" b="0" i="0" noProof="0" dirty="0" err="1" smtClean="0">
                <a:solidFill>
                  <a:schemeClr val="tx2"/>
                </a:solidFill>
                <a:latin typeface="+mn-lt"/>
                <a:cs typeface="Helvetica Light"/>
              </a:rPr>
              <a:t>Capgemini</a:t>
            </a:r>
            <a:r>
              <a:rPr lang="en-US" altLang="en-US" sz="700" b="0" i="0" noProof="0" dirty="0" smtClean="0">
                <a:solidFill>
                  <a:schemeClr val="tx2"/>
                </a:solidFill>
                <a:latin typeface="+mn-lt"/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7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chemeClr val="tx2"/>
                </a:solidFill>
                <a:latin typeface="+mn-lt"/>
              </a:rPr>
              <a:t>Cloud Foundry</a:t>
            </a:r>
            <a:r>
              <a:rPr lang="en-US" sz="700" baseline="0" dirty="0" smtClean="0">
                <a:solidFill>
                  <a:schemeClr val="tx2"/>
                </a:solidFill>
                <a:latin typeface="+mn-lt"/>
              </a:rPr>
              <a:t> Training</a:t>
            </a:r>
            <a:r>
              <a:rPr lang="en-US" sz="700" dirty="0" smtClean="0">
                <a:solidFill>
                  <a:schemeClr val="tx2"/>
                </a:solidFill>
                <a:latin typeface="+mn-lt"/>
              </a:rPr>
              <a:t>| Oct</a:t>
            </a:r>
            <a:r>
              <a:rPr lang="en-US" sz="700" baseline="0" dirty="0" smtClean="0">
                <a:solidFill>
                  <a:schemeClr val="tx2"/>
                </a:solidFill>
                <a:latin typeface="+mn-lt"/>
              </a:rPr>
              <a:t> 2016</a:t>
            </a:r>
            <a:r>
              <a: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| </a:t>
            </a:r>
            <a:r>
              <a:rPr lang="en-US" sz="700" dirty="0" smtClean="0">
                <a:solidFill>
                  <a:schemeClr val="tx2"/>
                </a:solidFill>
                <a:latin typeface="+mn-lt"/>
              </a:rPr>
              <a:t>Financial Services</a:t>
            </a:r>
            <a:endParaRPr lang="en-US" sz="700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19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37" r:id="rId2"/>
    <p:sldLayoutId id="2147483958" r:id="rId3"/>
    <p:sldLayoutId id="2147483965" r:id="rId4"/>
    <p:sldLayoutId id="2147483966" r:id="rId5"/>
    <p:sldLayoutId id="2147483962" r:id="rId6"/>
    <p:sldLayoutId id="2147483963" r:id="rId7"/>
    <p:sldLayoutId id="2147483968" r:id="rId8"/>
    <p:sldLayoutId id="2147483934" r:id="rId9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2" y="0"/>
          <a:ext cx="158751" cy="158750"/>
        </p:xfrm>
        <a:graphic>
          <a:graphicData uri="http://schemas.openxmlformats.org/presentationml/2006/ole">
            <p:oleObj spid="_x0000_s397314" name="think-cell Slide" r:id="rId16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6" y="1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0"/>
            </p:custDataLst>
          </p:nvPr>
        </p:nvSpPr>
        <p:spPr>
          <a:xfrm>
            <a:off x="323397" y="1501978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6741834" y="6623412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/>
            </a:pP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Copyright © Capgemini 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2015. </a:t>
            </a: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All Rights Reserved</a:t>
            </a:r>
          </a:p>
        </p:txBody>
      </p:sp>
      <p:sp>
        <p:nvSpPr>
          <p:cNvPr id="13" name="Rectangle 12"/>
          <p:cNvSpPr/>
          <p:nvPr>
            <p:custDataLst>
              <p:tags r:id="rId12"/>
            </p:custDataLst>
          </p:nvPr>
        </p:nvSpPr>
        <p:spPr>
          <a:xfrm>
            <a:off x="7487925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998C85"/>
                </a:solidFill>
                <a:cs typeface="Arial" charset="0"/>
              </a:rPr>
              <a:t>On boarding Manual | PMBSA Managed Services | </a:t>
            </a:r>
            <a:r>
              <a:rPr lang="en-US" sz="700" dirty="0" smtClean="0">
                <a:solidFill>
                  <a:srgbClr val="998C85"/>
                </a:solidFill>
                <a:cs typeface="Arial" charset="0"/>
              </a:rPr>
              <a:t>| </a:t>
            </a:r>
            <a:r>
              <a:rPr lang="en-US" sz="700" dirty="0">
                <a:solidFill>
                  <a:srgbClr val="998C85"/>
                </a:solidFill>
                <a:cs typeface="Arial" charset="0"/>
              </a:rPr>
              <a:t>Financial Services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158972" y="6443187"/>
            <a:ext cx="1310616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14"/>
            </p:custDataLst>
          </p:nvPr>
        </p:nvCxnSpPr>
        <p:spPr>
          <a:xfrm flipH="1">
            <a:off x="6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Freeform 6"/>
          <p:cNvSpPr>
            <a:spLocks/>
          </p:cNvSpPr>
          <p:nvPr userDrawn="1">
            <p:custDataLst>
              <p:tags r:id="rId15"/>
            </p:custDataLst>
          </p:nvPr>
        </p:nvSpPr>
        <p:spPr bwMode="auto">
          <a:xfrm>
            <a:off x="0" y="0"/>
            <a:ext cx="9906000" cy="1672556"/>
          </a:xfrm>
          <a:custGeom>
            <a:avLst/>
            <a:gdLst/>
            <a:ahLst/>
            <a:cxnLst>
              <a:cxn ang="0">
                <a:pos x="24" y="452"/>
              </a:cxn>
              <a:cxn ang="0">
                <a:pos x="134" y="458"/>
              </a:cxn>
              <a:cxn ang="0">
                <a:pos x="300" y="496"/>
              </a:cxn>
              <a:cxn ang="0">
                <a:pos x="394" y="534"/>
              </a:cxn>
              <a:cxn ang="0">
                <a:pos x="490" y="586"/>
              </a:cxn>
              <a:cxn ang="0">
                <a:pos x="582" y="660"/>
              </a:cxn>
              <a:cxn ang="0">
                <a:pos x="666" y="754"/>
              </a:cxn>
              <a:cxn ang="0">
                <a:pos x="740" y="874"/>
              </a:cxn>
              <a:cxn ang="0">
                <a:pos x="768" y="900"/>
              </a:cxn>
              <a:cxn ang="0">
                <a:pos x="810" y="816"/>
              </a:cxn>
              <a:cxn ang="0">
                <a:pos x="902" y="694"/>
              </a:cxn>
              <a:cxn ang="0">
                <a:pos x="970" y="630"/>
              </a:cxn>
              <a:cxn ang="0">
                <a:pos x="1054" y="570"/>
              </a:cxn>
              <a:cxn ang="0">
                <a:pos x="1154" y="518"/>
              </a:cxn>
              <a:cxn ang="0">
                <a:pos x="1276" y="478"/>
              </a:cxn>
              <a:cxn ang="0">
                <a:pos x="1418" y="456"/>
              </a:cxn>
              <a:cxn ang="0">
                <a:pos x="6030" y="452"/>
              </a:cxn>
              <a:cxn ang="0">
                <a:pos x="6076" y="450"/>
              </a:cxn>
              <a:cxn ang="0">
                <a:pos x="6198" y="430"/>
              </a:cxn>
              <a:cxn ang="0">
                <a:pos x="6334" y="388"/>
              </a:cxn>
              <a:cxn ang="0">
                <a:pos x="6422" y="346"/>
              </a:cxn>
              <a:cxn ang="0">
                <a:pos x="6512" y="288"/>
              </a:cxn>
              <a:cxn ang="0">
                <a:pos x="6596" y="214"/>
              </a:cxn>
              <a:cxn ang="0">
                <a:pos x="6674" y="118"/>
              </a:cxn>
              <a:cxn ang="0">
                <a:pos x="6740" y="0"/>
              </a:cxn>
              <a:cxn ang="0">
                <a:pos x="6734" y="234"/>
              </a:cxn>
              <a:cxn ang="0">
                <a:pos x="6690" y="316"/>
              </a:cxn>
              <a:cxn ang="0">
                <a:pos x="6598" y="434"/>
              </a:cxn>
              <a:cxn ang="0">
                <a:pos x="6532" y="496"/>
              </a:cxn>
              <a:cxn ang="0">
                <a:pos x="6448" y="556"/>
              </a:cxn>
              <a:cxn ang="0">
                <a:pos x="6348" y="608"/>
              </a:cxn>
              <a:cxn ang="0">
                <a:pos x="6230" y="648"/>
              </a:cxn>
              <a:cxn ang="0">
                <a:pos x="6090" y="672"/>
              </a:cxn>
              <a:cxn ang="0">
                <a:pos x="1504" y="680"/>
              </a:cxn>
              <a:cxn ang="0">
                <a:pos x="1452" y="680"/>
              </a:cxn>
              <a:cxn ang="0">
                <a:pos x="1322" y="694"/>
              </a:cxn>
              <a:cxn ang="0">
                <a:pos x="1178" y="736"/>
              </a:cxn>
              <a:cxn ang="0">
                <a:pos x="1086" y="778"/>
              </a:cxn>
              <a:cxn ang="0">
                <a:pos x="992" y="836"/>
              </a:cxn>
              <a:cxn ang="0">
                <a:pos x="904" y="914"/>
              </a:cxn>
              <a:cxn ang="0">
                <a:pos x="826" y="1014"/>
              </a:cxn>
              <a:cxn ang="0">
                <a:pos x="760" y="1138"/>
              </a:cxn>
              <a:cxn ang="0">
                <a:pos x="740" y="1094"/>
              </a:cxn>
              <a:cxn ang="0">
                <a:pos x="672" y="990"/>
              </a:cxn>
              <a:cxn ang="0">
                <a:pos x="576" y="882"/>
              </a:cxn>
              <a:cxn ang="0">
                <a:pos x="496" y="818"/>
              </a:cxn>
              <a:cxn ang="0">
                <a:pos x="400" y="760"/>
              </a:cxn>
              <a:cxn ang="0">
                <a:pos x="286" y="716"/>
              </a:cxn>
              <a:cxn ang="0">
                <a:pos x="154" y="686"/>
              </a:cxn>
              <a:cxn ang="0">
                <a:pos x="0" y="676"/>
              </a:cxn>
            </a:cxnLst>
            <a:rect l="0" t="0" r="r" b="b"/>
            <a:pathLst>
              <a:path w="6740" h="1138">
                <a:moveTo>
                  <a:pt x="0" y="452"/>
                </a:moveTo>
                <a:lnTo>
                  <a:pt x="0" y="452"/>
                </a:lnTo>
                <a:lnTo>
                  <a:pt x="24" y="452"/>
                </a:lnTo>
                <a:lnTo>
                  <a:pt x="52" y="452"/>
                </a:lnTo>
                <a:lnTo>
                  <a:pt x="88" y="454"/>
                </a:lnTo>
                <a:lnTo>
                  <a:pt x="134" y="458"/>
                </a:lnTo>
                <a:lnTo>
                  <a:pt x="184" y="466"/>
                </a:lnTo>
                <a:lnTo>
                  <a:pt x="240" y="478"/>
                </a:lnTo>
                <a:lnTo>
                  <a:pt x="300" y="496"/>
                </a:lnTo>
                <a:lnTo>
                  <a:pt x="330" y="506"/>
                </a:lnTo>
                <a:lnTo>
                  <a:pt x="362" y="518"/>
                </a:lnTo>
                <a:lnTo>
                  <a:pt x="394" y="534"/>
                </a:lnTo>
                <a:lnTo>
                  <a:pt x="426" y="548"/>
                </a:lnTo>
                <a:lnTo>
                  <a:pt x="458" y="566"/>
                </a:lnTo>
                <a:lnTo>
                  <a:pt x="490" y="586"/>
                </a:lnTo>
                <a:lnTo>
                  <a:pt x="520" y="608"/>
                </a:lnTo>
                <a:lnTo>
                  <a:pt x="552" y="632"/>
                </a:lnTo>
                <a:lnTo>
                  <a:pt x="582" y="660"/>
                </a:lnTo>
                <a:lnTo>
                  <a:pt x="610" y="688"/>
                </a:lnTo>
                <a:lnTo>
                  <a:pt x="638" y="720"/>
                </a:lnTo>
                <a:lnTo>
                  <a:pt x="666" y="754"/>
                </a:lnTo>
                <a:lnTo>
                  <a:pt x="692" y="790"/>
                </a:lnTo>
                <a:lnTo>
                  <a:pt x="716" y="830"/>
                </a:lnTo>
                <a:lnTo>
                  <a:pt x="740" y="874"/>
                </a:lnTo>
                <a:lnTo>
                  <a:pt x="760" y="920"/>
                </a:lnTo>
                <a:lnTo>
                  <a:pt x="760" y="920"/>
                </a:lnTo>
                <a:lnTo>
                  <a:pt x="768" y="900"/>
                </a:lnTo>
                <a:lnTo>
                  <a:pt x="776" y="878"/>
                </a:lnTo>
                <a:lnTo>
                  <a:pt x="790" y="850"/>
                </a:lnTo>
                <a:lnTo>
                  <a:pt x="810" y="816"/>
                </a:lnTo>
                <a:lnTo>
                  <a:pt x="834" y="778"/>
                </a:lnTo>
                <a:lnTo>
                  <a:pt x="866" y="736"/>
                </a:lnTo>
                <a:lnTo>
                  <a:pt x="902" y="694"/>
                </a:lnTo>
                <a:lnTo>
                  <a:pt x="922" y="672"/>
                </a:lnTo>
                <a:lnTo>
                  <a:pt x="944" y="652"/>
                </a:lnTo>
                <a:lnTo>
                  <a:pt x="970" y="630"/>
                </a:lnTo>
                <a:lnTo>
                  <a:pt x="996" y="610"/>
                </a:lnTo>
                <a:lnTo>
                  <a:pt x="1024" y="590"/>
                </a:lnTo>
                <a:lnTo>
                  <a:pt x="1054" y="570"/>
                </a:lnTo>
                <a:lnTo>
                  <a:pt x="1084" y="552"/>
                </a:lnTo>
                <a:lnTo>
                  <a:pt x="1118" y="534"/>
                </a:lnTo>
                <a:lnTo>
                  <a:pt x="1154" y="518"/>
                </a:lnTo>
                <a:lnTo>
                  <a:pt x="1192" y="504"/>
                </a:lnTo>
                <a:lnTo>
                  <a:pt x="1234" y="490"/>
                </a:lnTo>
                <a:lnTo>
                  <a:pt x="1276" y="478"/>
                </a:lnTo>
                <a:lnTo>
                  <a:pt x="1320" y="468"/>
                </a:lnTo>
                <a:lnTo>
                  <a:pt x="1368" y="460"/>
                </a:lnTo>
                <a:lnTo>
                  <a:pt x="1418" y="456"/>
                </a:lnTo>
                <a:lnTo>
                  <a:pt x="1470" y="452"/>
                </a:lnTo>
                <a:lnTo>
                  <a:pt x="4218" y="452"/>
                </a:lnTo>
                <a:lnTo>
                  <a:pt x="6030" y="452"/>
                </a:lnTo>
                <a:lnTo>
                  <a:pt x="6030" y="452"/>
                </a:lnTo>
                <a:lnTo>
                  <a:pt x="6052" y="452"/>
                </a:lnTo>
                <a:lnTo>
                  <a:pt x="6076" y="450"/>
                </a:lnTo>
                <a:lnTo>
                  <a:pt x="6110" y="446"/>
                </a:lnTo>
                <a:lnTo>
                  <a:pt x="6152" y="440"/>
                </a:lnTo>
                <a:lnTo>
                  <a:pt x="6198" y="430"/>
                </a:lnTo>
                <a:lnTo>
                  <a:pt x="6250" y="418"/>
                </a:lnTo>
                <a:lnTo>
                  <a:pt x="6306" y="400"/>
                </a:lnTo>
                <a:lnTo>
                  <a:pt x="6334" y="388"/>
                </a:lnTo>
                <a:lnTo>
                  <a:pt x="6364" y="376"/>
                </a:lnTo>
                <a:lnTo>
                  <a:pt x="6392" y="362"/>
                </a:lnTo>
                <a:lnTo>
                  <a:pt x="6422" y="346"/>
                </a:lnTo>
                <a:lnTo>
                  <a:pt x="6452" y="328"/>
                </a:lnTo>
                <a:lnTo>
                  <a:pt x="6482" y="310"/>
                </a:lnTo>
                <a:lnTo>
                  <a:pt x="6512" y="288"/>
                </a:lnTo>
                <a:lnTo>
                  <a:pt x="6540" y="266"/>
                </a:lnTo>
                <a:lnTo>
                  <a:pt x="6568" y="240"/>
                </a:lnTo>
                <a:lnTo>
                  <a:pt x="6596" y="214"/>
                </a:lnTo>
                <a:lnTo>
                  <a:pt x="6624" y="184"/>
                </a:lnTo>
                <a:lnTo>
                  <a:pt x="6650" y="152"/>
                </a:lnTo>
                <a:lnTo>
                  <a:pt x="6674" y="118"/>
                </a:lnTo>
                <a:lnTo>
                  <a:pt x="6698" y="80"/>
                </a:lnTo>
                <a:lnTo>
                  <a:pt x="6720" y="42"/>
                </a:lnTo>
                <a:lnTo>
                  <a:pt x="6740" y="0"/>
                </a:lnTo>
                <a:lnTo>
                  <a:pt x="6740" y="216"/>
                </a:lnTo>
                <a:lnTo>
                  <a:pt x="6740" y="216"/>
                </a:lnTo>
                <a:lnTo>
                  <a:pt x="6734" y="234"/>
                </a:lnTo>
                <a:lnTo>
                  <a:pt x="6724" y="256"/>
                </a:lnTo>
                <a:lnTo>
                  <a:pt x="6708" y="282"/>
                </a:lnTo>
                <a:lnTo>
                  <a:pt x="6690" y="316"/>
                </a:lnTo>
                <a:lnTo>
                  <a:pt x="6666" y="352"/>
                </a:lnTo>
                <a:lnTo>
                  <a:pt x="6634" y="392"/>
                </a:lnTo>
                <a:lnTo>
                  <a:pt x="6598" y="434"/>
                </a:lnTo>
                <a:lnTo>
                  <a:pt x="6578" y="454"/>
                </a:lnTo>
                <a:lnTo>
                  <a:pt x="6556" y="476"/>
                </a:lnTo>
                <a:lnTo>
                  <a:pt x="6532" y="496"/>
                </a:lnTo>
                <a:lnTo>
                  <a:pt x="6506" y="516"/>
                </a:lnTo>
                <a:lnTo>
                  <a:pt x="6478" y="536"/>
                </a:lnTo>
                <a:lnTo>
                  <a:pt x="6448" y="556"/>
                </a:lnTo>
                <a:lnTo>
                  <a:pt x="6416" y="574"/>
                </a:lnTo>
                <a:lnTo>
                  <a:pt x="6384" y="590"/>
                </a:lnTo>
                <a:lnTo>
                  <a:pt x="6348" y="608"/>
                </a:lnTo>
                <a:lnTo>
                  <a:pt x="6310" y="622"/>
                </a:lnTo>
                <a:lnTo>
                  <a:pt x="6272" y="636"/>
                </a:lnTo>
                <a:lnTo>
                  <a:pt x="6230" y="648"/>
                </a:lnTo>
                <a:lnTo>
                  <a:pt x="6186" y="658"/>
                </a:lnTo>
                <a:lnTo>
                  <a:pt x="6140" y="666"/>
                </a:lnTo>
                <a:lnTo>
                  <a:pt x="6090" y="672"/>
                </a:lnTo>
                <a:lnTo>
                  <a:pt x="6040" y="676"/>
                </a:lnTo>
                <a:lnTo>
                  <a:pt x="3338" y="676"/>
                </a:lnTo>
                <a:lnTo>
                  <a:pt x="1504" y="680"/>
                </a:lnTo>
                <a:lnTo>
                  <a:pt x="1504" y="680"/>
                </a:lnTo>
                <a:lnTo>
                  <a:pt x="1480" y="678"/>
                </a:lnTo>
                <a:lnTo>
                  <a:pt x="1452" y="680"/>
                </a:lnTo>
                <a:lnTo>
                  <a:pt x="1416" y="682"/>
                </a:lnTo>
                <a:lnTo>
                  <a:pt x="1372" y="686"/>
                </a:lnTo>
                <a:lnTo>
                  <a:pt x="1322" y="694"/>
                </a:lnTo>
                <a:lnTo>
                  <a:pt x="1268" y="708"/>
                </a:lnTo>
                <a:lnTo>
                  <a:pt x="1208" y="724"/>
                </a:lnTo>
                <a:lnTo>
                  <a:pt x="1178" y="736"/>
                </a:lnTo>
                <a:lnTo>
                  <a:pt x="1148" y="748"/>
                </a:lnTo>
                <a:lnTo>
                  <a:pt x="1116" y="762"/>
                </a:lnTo>
                <a:lnTo>
                  <a:pt x="1086" y="778"/>
                </a:lnTo>
                <a:lnTo>
                  <a:pt x="1054" y="794"/>
                </a:lnTo>
                <a:lnTo>
                  <a:pt x="1024" y="814"/>
                </a:lnTo>
                <a:lnTo>
                  <a:pt x="992" y="836"/>
                </a:lnTo>
                <a:lnTo>
                  <a:pt x="962" y="860"/>
                </a:lnTo>
                <a:lnTo>
                  <a:pt x="934" y="886"/>
                </a:lnTo>
                <a:lnTo>
                  <a:pt x="904" y="914"/>
                </a:lnTo>
                <a:lnTo>
                  <a:pt x="878" y="944"/>
                </a:lnTo>
                <a:lnTo>
                  <a:pt x="850" y="978"/>
                </a:lnTo>
                <a:lnTo>
                  <a:pt x="826" y="1014"/>
                </a:lnTo>
                <a:lnTo>
                  <a:pt x="802" y="1052"/>
                </a:lnTo>
                <a:lnTo>
                  <a:pt x="780" y="1094"/>
                </a:lnTo>
                <a:lnTo>
                  <a:pt x="760" y="1138"/>
                </a:lnTo>
                <a:lnTo>
                  <a:pt x="760" y="1138"/>
                </a:lnTo>
                <a:lnTo>
                  <a:pt x="752" y="1118"/>
                </a:lnTo>
                <a:lnTo>
                  <a:pt x="740" y="1094"/>
                </a:lnTo>
                <a:lnTo>
                  <a:pt x="724" y="1064"/>
                </a:lnTo>
                <a:lnTo>
                  <a:pt x="700" y="1028"/>
                </a:lnTo>
                <a:lnTo>
                  <a:pt x="672" y="990"/>
                </a:lnTo>
                <a:lnTo>
                  <a:pt x="638" y="946"/>
                </a:lnTo>
                <a:lnTo>
                  <a:pt x="598" y="904"/>
                </a:lnTo>
                <a:lnTo>
                  <a:pt x="576" y="882"/>
                </a:lnTo>
                <a:lnTo>
                  <a:pt x="550" y="860"/>
                </a:lnTo>
                <a:lnTo>
                  <a:pt x="524" y="838"/>
                </a:lnTo>
                <a:lnTo>
                  <a:pt x="496" y="818"/>
                </a:lnTo>
                <a:lnTo>
                  <a:pt x="466" y="798"/>
                </a:lnTo>
                <a:lnTo>
                  <a:pt x="434" y="778"/>
                </a:lnTo>
                <a:lnTo>
                  <a:pt x="400" y="760"/>
                </a:lnTo>
                <a:lnTo>
                  <a:pt x="364" y="744"/>
                </a:lnTo>
                <a:lnTo>
                  <a:pt x="326" y="728"/>
                </a:lnTo>
                <a:lnTo>
                  <a:pt x="286" y="716"/>
                </a:lnTo>
                <a:lnTo>
                  <a:pt x="244" y="704"/>
                </a:lnTo>
                <a:lnTo>
                  <a:pt x="200" y="694"/>
                </a:lnTo>
                <a:lnTo>
                  <a:pt x="154" y="686"/>
                </a:lnTo>
                <a:lnTo>
                  <a:pt x="104" y="680"/>
                </a:lnTo>
                <a:lnTo>
                  <a:pt x="54" y="676"/>
                </a:lnTo>
                <a:lnTo>
                  <a:pt x="0" y="676"/>
                </a:lnTo>
                <a:lnTo>
                  <a:pt x="0" y="452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263147"/>
              </a:solidFill>
              <a:latin typeface="Lucida Sans Unicode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839633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8" r:id="rId1"/>
    <p:sldLayoutId id="2147484039" r:id="rId2"/>
    <p:sldLayoutId id="2147484040" r:id="rId3"/>
    <p:sldLayoutId id="2147484042" r:id="rId4"/>
    <p:sldLayoutId id="2147484043" r:id="rId5"/>
    <p:sldLayoutId id="2147484044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403458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46" r:id="rId1"/>
    <p:sldLayoutId id="2147484047" r:id="rId2"/>
    <p:sldLayoutId id="2147484048" r:id="rId3"/>
    <p:sldLayoutId id="2147484049" r:id="rId4"/>
    <p:sldLayoutId id="2147484050" r:id="rId5"/>
    <p:sldLayoutId id="2147484051" r:id="rId6"/>
    <p:sldLayoutId id="2147484052" r:id="rId7"/>
    <p:sldLayoutId id="2147484053" r:id="rId8"/>
    <p:sldLayoutId id="2147484054" r:id="rId9"/>
    <p:sldLayoutId id="2147484055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468994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4058" r:id="rId2"/>
    <p:sldLayoutId id="2147484059" r:id="rId3"/>
    <p:sldLayoutId id="2147484060" r:id="rId4"/>
    <p:sldLayoutId id="2147484061" r:id="rId5"/>
    <p:sldLayoutId id="2147484062" r:id="rId6"/>
    <p:sldLayoutId id="2147484063" r:id="rId7"/>
    <p:sldLayoutId id="2147484064" r:id="rId8"/>
    <p:sldLayoutId id="2147484065" r:id="rId9"/>
    <p:sldLayoutId id="2147484066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481282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68" r:id="rId1"/>
    <p:sldLayoutId id="2147484069" r:id="rId2"/>
    <p:sldLayoutId id="2147484070" r:id="rId3"/>
    <p:sldLayoutId id="2147484071" r:id="rId4"/>
    <p:sldLayoutId id="2147484072" r:id="rId5"/>
    <p:sldLayoutId id="2147484073" r:id="rId6"/>
    <p:sldLayoutId id="2147484074" r:id="rId7"/>
    <p:sldLayoutId id="2147484075" r:id="rId8"/>
    <p:sldLayoutId id="2147484076" r:id="rId9"/>
    <p:sldLayoutId id="2147484077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492546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79" r:id="rId1"/>
    <p:sldLayoutId id="2147484080" r:id="rId2"/>
    <p:sldLayoutId id="2147484081" r:id="rId3"/>
    <p:sldLayoutId id="2147484082" r:id="rId4"/>
    <p:sldLayoutId id="2147484083" r:id="rId5"/>
    <p:sldLayoutId id="2147484084" r:id="rId6"/>
    <p:sldLayoutId id="2147484085" r:id="rId7"/>
    <p:sldLayoutId id="2147484086" r:id="rId8"/>
    <p:sldLayoutId id="2147484087" r:id="rId9"/>
    <p:sldLayoutId id="2147484088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2" y="0"/>
          <a:ext cx="158751" cy="158750"/>
        </p:xfrm>
        <a:graphic>
          <a:graphicData uri="http://schemas.openxmlformats.org/presentationml/2006/ole">
            <p:oleObj spid="_x0000_s503810" name="think-cell Slide" r:id="rId17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6" y="1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23397" y="1501978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741834" y="6623412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/>
            </a:pP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Copyright © Capgemini 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2015. </a:t>
            </a: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All Rights Reserved</a:t>
            </a:r>
          </a:p>
        </p:txBody>
      </p:sp>
      <p:sp>
        <p:nvSpPr>
          <p:cNvPr id="13" name="Rectangle 12"/>
          <p:cNvSpPr/>
          <p:nvPr>
            <p:custDataLst>
              <p:tags r:id="rId13"/>
            </p:custDataLst>
          </p:nvPr>
        </p:nvSpPr>
        <p:spPr>
          <a:xfrm>
            <a:off x="7487925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998C85"/>
                </a:solidFill>
                <a:cs typeface="Arial" charset="0"/>
              </a:rPr>
              <a:t>On boarding Manual | PMBSA Managed Services | </a:t>
            </a:r>
            <a:r>
              <a:rPr lang="en-US" sz="700" dirty="0" smtClean="0">
                <a:solidFill>
                  <a:srgbClr val="998C85"/>
                </a:solidFill>
                <a:cs typeface="Arial" charset="0"/>
              </a:rPr>
              <a:t>| </a:t>
            </a:r>
            <a:r>
              <a:rPr lang="en-US" sz="700" dirty="0">
                <a:solidFill>
                  <a:srgbClr val="998C85"/>
                </a:solidFill>
                <a:cs typeface="Arial" charset="0"/>
              </a:rPr>
              <a:t>Financial Services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18" cstate="email"/>
          <a:srcRect/>
          <a:stretch>
            <a:fillRect/>
          </a:stretch>
        </p:blipFill>
        <p:spPr bwMode="auto">
          <a:xfrm>
            <a:off x="158972" y="6443187"/>
            <a:ext cx="1310616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6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Freeform 6"/>
          <p:cNvSpPr>
            <a:spLocks/>
          </p:cNvSpPr>
          <p:nvPr userDrawn="1">
            <p:custDataLst>
              <p:tags r:id="rId16"/>
            </p:custDataLst>
          </p:nvPr>
        </p:nvSpPr>
        <p:spPr bwMode="auto">
          <a:xfrm>
            <a:off x="0" y="0"/>
            <a:ext cx="9906000" cy="1672556"/>
          </a:xfrm>
          <a:custGeom>
            <a:avLst/>
            <a:gdLst/>
            <a:ahLst/>
            <a:cxnLst>
              <a:cxn ang="0">
                <a:pos x="24" y="452"/>
              </a:cxn>
              <a:cxn ang="0">
                <a:pos x="134" y="458"/>
              </a:cxn>
              <a:cxn ang="0">
                <a:pos x="300" y="496"/>
              </a:cxn>
              <a:cxn ang="0">
                <a:pos x="394" y="534"/>
              </a:cxn>
              <a:cxn ang="0">
                <a:pos x="490" y="586"/>
              </a:cxn>
              <a:cxn ang="0">
                <a:pos x="582" y="660"/>
              </a:cxn>
              <a:cxn ang="0">
                <a:pos x="666" y="754"/>
              </a:cxn>
              <a:cxn ang="0">
                <a:pos x="740" y="874"/>
              </a:cxn>
              <a:cxn ang="0">
                <a:pos x="768" y="900"/>
              </a:cxn>
              <a:cxn ang="0">
                <a:pos x="810" y="816"/>
              </a:cxn>
              <a:cxn ang="0">
                <a:pos x="902" y="694"/>
              </a:cxn>
              <a:cxn ang="0">
                <a:pos x="970" y="630"/>
              </a:cxn>
              <a:cxn ang="0">
                <a:pos x="1054" y="570"/>
              </a:cxn>
              <a:cxn ang="0">
                <a:pos x="1154" y="518"/>
              </a:cxn>
              <a:cxn ang="0">
                <a:pos x="1276" y="478"/>
              </a:cxn>
              <a:cxn ang="0">
                <a:pos x="1418" y="456"/>
              </a:cxn>
              <a:cxn ang="0">
                <a:pos x="6030" y="452"/>
              </a:cxn>
              <a:cxn ang="0">
                <a:pos x="6076" y="450"/>
              </a:cxn>
              <a:cxn ang="0">
                <a:pos x="6198" y="430"/>
              </a:cxn>
              <a:cxn ang="0">
                <a:pos x="6334" y="388"/>
              </a:cxn>
              <a:cxn ang="0">
                <a:pos x="6422" y="346"/>
              </a:cxn>
              <a:cxn ang="0">
                <a:pos x="6512" y="288"/>
              </a:cxn>
              <a:cxn ang="0">
                <a:pos x="6596" y="214"/>
              </a:cxn>
              <a:cxn ang="0">
                <a:pos x="6674" y="118"/>
              </a:cxn>
              <a:cxn ang="0">
                <a:pos x="6740" y="0"/>
              </a:cxn>
              <a:cxn ang="0">
                <a:pos x="6734" y="234"/>
              </a:cxn>
              <a:cxn ang="0">
                <a:pos x="6690" y="316"/>
              </a:cxn>
              <a:cxn ang="0">
                <a:pos x="6598" y="434"/>
              </a:cxn>
              <a:cxn ang="0">
                <a:pos x="6532" y="496"/>
              </a:cxn>
              <a:cxn ang="0">
                <a:pos x="6448" y="556"/>
              </a:cxn>
              <a:cxn ang="0">
                <a:pos x="6348" y="608"/>
              </a:cxn>
              <a:cxn ang="0">
                <a:pos x="6230" y="648"/>
              </a:cxn>
              <a:cxn ang="0">
                <a:pos x="6090" y="672"/>
              </a:cxn>
              <a:cxn ang="0">
                <a:pos x="1504" y="680"/>
              </a:cxn>
              <a:cxn ang="0">
                <a:pos x="1452" y="680"/>
              </a:cxn>
              <a:cxn ang="0">
                <a:pos x="1322" y="694"/>
              </a:cxn>
              <a:cxn ang="0">
                <a:pos x="1178" y="736"/>
              </a:cxn>
              <a:cxn ang="0">
                <a:pos x="1086" y="778"/>
              </a:cxn>
              <a:cxn ang="0">
                <a:pos x="992" y="836"/>
              </a:cxn>
              <a:cxn ang="0">
                <a:pos x="904" y="914"/>
              </a:cxn>
              <a:cxn ang="0">
                <a:pos x="826" y="1014"/>
              </a:cxn>
              <a:cxn ang="0">
                <a:pos x="760" y="1138"/>
              </a:cxn>
              <a:cxn ang="0">
                <a:pos x="740" y="1094"/>
              </a:cxn>
              <a:cxn ang="0">
                <a:pos x="672" y="990"/>
              </a:cxn>
              <a:cxn ang="0">
                <a:pos x="576" y="882"/>
              </a:cxn>
              <a:cxn ang="0">
                <a:pos x="496" y="818"/>
              </a:cxn>
              <a:cxn ang="0">
                <a:pos x="400" y="760"/>
              </a:cxn>
              <a:cxn ang="0">
                <a:pos x="286" y="716"/>
              </a:cxn>
              <a:cxn ang="0">
                <a:pos x="154" y="686"/>
              </a:cxn>
              <a:cxn ang="0">
                <a:pos x="0" y="676"/>
              </a:cxn>
            </a:cxnLst>
            <a:rect l="0" t="0" r="r" b="b"/>
            <a:pathLst>
              <a:path w="6740" h="1138">
                <a:moveTo>
                  <a:pt x="0" y="452"/>
                </a:moveTo>
                <a:lnTo>
                  <a:pt x="0" y="452"/>
                </a:lnTo>
                <a:lnTo>
                  <a:pt x="24" y="452"/>
                </a:lnTo>
                <a:lnTo>
                  <a:pt x="52" y="452"/>
                </a:lnTo>
                <a:lnTo>
                  <a:pt x="88" y="454"/>
                </a:lnTo>
                <a:lnTo>
                  <a:pt x="134" y="458"/>
                </a:lnTo>
                <a:lnTo>
                  <a:pt x="184" y="466"/>
                </a:lnTo>
                <a:lnTo>
                  <a:pt x="240" y="478"/>
                </a:lnTo>
                <a:lnTo>
                  <a:pt x="300" y="496"/>
                </a:lnTo>
                <a:lnTo>
                  <a:pt x="330" y="506"/>
                </a:lnTo>
                <a:lnTo>
                  <a:pt x="362" y="518"/>
                </a:lnTo>
                <a:lnTo>
                  <a:pt x="394" y="534"/>
                </a:lnTo>
                <a:lnTo>
                  <a:pt x="426" y="548"/>
                </a:lnTo>
                <a:lnTo>
                  <a:pt x="458" y="566"/>
                </a:lnTo>
                <a:lnTo>
                  <a:pt x="490" y="586"/>
                </a:lnTo>
                <a:lnTo>
                  <a:pt x="520" y="608"/>
                </a:lnTo>
                <a:lnTo>
                  <a:pt x="552" y="632"/>
                </a:lnTo>
                <a:lnTo>
                  <a:pt x="582" y="660"/>
                </a:lnTo>
                <a:lnTo>
                  <a:pt x="610" y="688"/>
                </a:lnTo>
                <a:lnTo>
                  <a:pt x="638" y="720"/>
                </a:lnTo>
                <a:lnTo>
                  <a:pt x="666" y="754"/>
                </a:lnTo>
                <a:lnTo>
                  <a:pt x="692" y="790"/>
                </a:lnTo>
                <a:lnTo>
                  <a:pt x="716" y="830"/>
                </a:lnTo>
                <a:lnTo>
                  <a:pt x="740" y="874"/>
                </a:lnTo>
                <a:lnTo>
                  <a:pt x="760" y="920"/>
                </a:lnTo>
                <a:lnTo>
                  <a:pt x="760" y="920"/>
                </a:lnTo>
                <a:lnTo>
                  <a:pt x="768" y="900"/>
                </a:lnTo>
                <a:lnTo>
                  <a:pt x="776" y="878"/>
                </a:lnTo>
                <a:lnTo>
                  <a:pt x="790" y="850"/>
                </a:lnTo>
                <a:lnTo>
                  <a:pt x="810" y="816"/>
                </a:lnTo>
                <a:lnTo>
                  <a:pt x="834" y="778"/>
                </a:lnTo>
                <a:lnTo>
                  <a:pt x="866" y="736"/>
                </a:lnTo>
                <a:lnTo>
                  <a:pt x="902" y="694"/>
                </a:lnTo>
                <a:lnTo>
                  <a:pt x="922" y="672"/>
                </a:lnTo>
                <a:lnTo>
                  <a:pt x="944" y="652"/>
                </a:lnTo>
                <a:lnTo>
                  <a:pt x="970" y="630"/>
                </a:lnTo>
                <a:lnTo>
                  <a:pt x="996" y="610"/>
                </a:lnTo>
                <a:lnTo>
                  <a:pt x="1024" y="590"/>
                </a:lnTo>
                <a:lnTo>
                  <a:pt x="1054" y="570"/>
                </a:lnTo>
                <a:lnTo>
                  <a:pt x="1084" y="552"/>
                </a:lnTo>
                <a:lnTo>
                  <a:pt x="1118" y="534"/>
                </a:lnTo>
                <a:lnTo>
                  <a:pt x="1154" y="518"/>
                </a:lnTo>
                <a:lnTo>
                  <a:pt x="1192" y="504"/>
                </a:lnTo>
                <a:lnTo>
                  <a:pt x="1234" y="490"/>
                </a:lnTo>
                <a:lnTo>
                  <a:pt x="1276" y="478"/>
                </a:lnTo>
                <a:lnTo>
                  <a:pt x="1320" y="468"/>
                </a:lnTo>
                <a:lnTo>
                  <a:pt x="1368" y="460"/>
                </a:lnTo>
                <a:lnTo>
                  <a:pt x="1418" y="456"/>
                </a:lnTo>
                <a:lnTo>
                  <a:pt x="1470" y="452"/>
                </a:lnTo>
                <a:lnTo>
                  <a:pt x="4218" y="452"/>
                </a:lnTo>
                <a:lnTo>
                  <a:pt x="6030" y="452"/>
                </a:lnTo>
                <a:lnTo>
                  <a:pt x="6030" y="452"/>
                </a:lnTo>
                <a:lnTo>
                  <a:pt x="6052" y="452"/>
                </a:lnTo>
                <a:lnTo>
                  <a:pt x="6076" y="450"/>
                </a:lnTo>
                <a:lnTo>
                  <a:pt x="6110" y="446"/>
                </a:lnTo>
                <a:lnTo>
                  <a:pt x="6152" y="440"/>
                </a:lnTo>
                <a:lnTo>
                  <a:pt x="6198" y="430"/>
                </a:lnTo>
                <a:lnTo>
                  <a:pt x="6250" y="418"/>
                </a:lnTo>
                <a:lnTo>
                  <a:pt x="6306" y="400"/>
                </a:lnTo>
                <a:lnTo>
                  <a:pt x="6334" y="388"/>
                </a:lnTo>
                <a:lnTo>
                  <a:pt x="6364" y="376"/>
                </a:lnTo>
                <a:lnTo>
                  <a:pt x="6392" y="362"/>
                </a:lnTo>
                <a:lnTo>
                  <a:pt x="6422" y="346"/>
                </a:lnTo>
                <a:lnTo>
                  <a:pt x="6452" y="328"/>
                </a:lnTo>
                <a:lnTo>
                  <a:pt x="6482" y="310"/>
                </a:lnTo>
                <a:lnTo>
                  <a:pt x="6512" y="288"/>
                </a:lnTo>
                <a:lnTo>
                  <a:pt x="6540" y="266"/>
                </a:lnTo>
                <a:lnTo>
                  <a:pt x="6568" y="240"/>
                </a:lnTo>
                <a:lnTo>
                  <a:pt x="6596" y="214"/>
                </a:lnTo>
                <a:lnTo>
                  <a:pt x="6624" y="184"/>
                </a:lnTo>
                <a:lnTo>
                  <a:pt x="6650" y="152"/>
                </a:lnTo>
                <a:lnTo>
                  <a:pt x="6674" y="118"/>
                </a:lnTo>
                <a:lnTo>
                  <a:pt x="6698" y="80"/>
                </a:lnTo>
                <a:lnTo>
                  <a:pt x="6720" y="42"/>
                </a:lnTo>
                <a:lnTo>
                  <a:pt x="6740" y="0"/>
                </a:lnTo>
                <a:lnTo>
                  <a:pt x="6740" y="216"/>
                </a:lnTo>
                <a:lnTo>
                  <a:pt x="6740" y="216"/>
                </a:lnTo>
                <a:lnTo>
                  <a:pt x="6734" y="234"/>
                </a:lnTo>
                <a:lnTo>
                  <a:pt x="6724" y="256"/>
                </a:lnTo>
                <a:lnTo>
                  <a:pt x="6708" y="282"/>
                </a:lnTo>
                <a:lnTo>
                  <a:pt x="6690" y="316"/>
                </a:lnTo>
                <a:lnTo>
                  <a:pt x="6666" y="352"/>
                </a:lnTo>
                <a:lnTo>
                  <a:pt x="6634" y="392"/>
                </a:lnTo>
                <a:lnTo>
                  <a:pt x="6598" y="434"/>
                </a:lnTo>
                <a:lnTo>
                  <a:pt x="6578" y="454"/>
                </a:lnTo>
                <a:lnTo>
                  <a:pt x="6556" y="476"/>
                </a:lnTo>
                <a:lnTo>
                  <a:pt x="6532" y="496"/>
                </a:lnTo>
                <a:lnTo>
                  <a:pt x="6506" y="516"/>
                </a:lnTo>
                <a:lnTo>
                  <a:pt x="6478" y="536"/>
                </a:lnTo>
                <a:lnTo>
                  <a:pt x="6448" y="556"/>
                </a:lnTo>
                <a:lnTo>
                  <a:pt x="6416" y="574"/>
                </a:lnTo>
                <a:lnTo>
                  <a:pt x="6384" y="590"/>
                </a:lnTo>
                <a:lnTo>
                  <a:pt x="6348" y="608"/>
                </a:lnTo>
                <a:lnTo>
                  <a:pt x="6310" y="622"/>
                </a:lnTo>
                <a:lnTo>
                  <a:pt x="6272" y="636"/>
                </a:lnTo>
                <a:lnTo>
                  <a:pt x="6230" y="648"/>
                </a:lnTo>
                <a:lnTo>
                  <a:pt x="6186" y="658"/>
                </a:lnTo>
                <a:lnTo>
                  <a:pt x="6140" y="666"/>
                </a:lnTo>
                <a:lnTo>
                  <a:pt x="6090" y="672"/>
                </a:lnTo>
                <a:lnTo>
                  <a:pt x="6040" y="676"/>
                </a:lnTo>
                <a:lnTo>
                  <a:pt x="3338" y="676"/>
                </a:lnTo>
                <a:lnTo>
                  <a:pt x="1504" y="680"/>
                </a:lnTo>
                <a:lnTo>
                  <a:pt x="1504" y="680"/>
                </a:lnTo>
                <a:lnTo>
                  <a:pt x="1480" y="678"/>
                </a:lnTo>
                <a:lnTo>
                  <a:pt x="1452" y="680"/>
                </a:lnTo>
                <a:lnTo>
                  <a:pt x="1416" y="682"/>
                </a:lnTo>
                <a:lnTo>
                  <a:pt x="1372" y="686"/>
                </a:lnTo>
                <a:lnTo>
                  <a:pt x="1322" y="694"/>
                </a:lnTo>
                <a:lnTo>
                  <a:pt x="1268" y="708"/>
                </a:lnTo>
                <a:lnTo>
                  <a:pt x="1208" y="724"/>
                </a:lnTo>
                <a:lnTo>
                  <a:pt x="1178" y="736"/>
                </a:lnTo>
                <a:lnTo>
                  <a:pt x="1148" y="748"/>
                </a:lnTo>
                <a:lnTo>
                  <a:pt x="1116" y="762"/>
                </a:lnTo>
                <a:lnTo>
                  <a:pt x="1086" y="778"/>
                </a:lnTo>
                <a:lnTo>
                  <a:pt x="1054" y="794"/>
                </a:lnTo>
                <a:lnTo>
                  <a:pt x="1024" y="814"/>
                </a:lnTo>
                <a:lnTo>
                  <a:pt x="992" y="836"/>
                </a:lnTo>
                <a:lnTo>
                  <a:pt x="962" y="860"/>
                </a:lnTo>
                <a:lnTo>
                  <a:pt x="934" y="886"/>
                </a:lnTo>
                <a:lnTo>
                  <a:pt x="904" y="914"/>
                </a:lnTo>
                <a:lnTo>
                  <a:pt x="878" y="944"/>
                </a:lnTo>
                <a:lnTo>
                  <a:pt x="850" y="978"/>
                </a:lnTo>
                <a:lnTo>
                  <a:pt x="826" y="1014"/>
                </a:lnTo>
                <a:lnTo>
                  <a:pt x="802" y="1052"/>
                </a:lnTo>
                <a:lnTo>
                  <a:pt x="780" y="1094"/>
                </a:lnTo>
                <a:lnTo>
                  <a:pt x="760" y="1138"/>
                </a:lnTo>
                <a:lnTo>
                  <a:pt x="760" y="1138"/>
                </a:lnTo>
                <a:lnTo>
                  <a:pt x="752" y="1118"/>
                </a:lnTo>
                <a:lnTo>
                  <a:pt x="740" y="1094"/>
                </a:lnTo>
                <a:lnTo>
                  <a:pt x="724" y="1064"/>
                </a:lnTo>
                <a:lnTo>
                  <a:pt x="700" y="1028"/>
                </a:lnTo>
                <a:lnTo>
                  <a:pt x="672" y="990"/>
                </a:lnTo>
                <a:lnTo>
                  <a:pt x="638" y="946"/>
                </a:lnTo>
                <a:lnTo>
                  <a:pt x="598" y="904"/>
                </a:lnTo>
                <a:lnTo>
                  <a:pt x="576" y="882"/>
                </a:lnTo>
                <a:lnTo>
                  <a:pt x="550" y="860"/>
                </a:lnTo>
                <a:lnTo>
                  <a:pt x="524" y="838"/>
                </a:lnTo>
                <a:lnTo>
                  <a:pt x="496" y="818"/>
                </a:lnTo>
                <a:lnTo>
                  <a:pt x="466" y="798"/>
                </a:lnTo>
                <a:lnTo>
                  <a:pt x="434" y="778"/>
                </a:lnTo>
                <a:lnTo>
                  <a:pt x="400" y="760"/>
                </a:lnTo>
                <a:lnTo>
                  <a:pt x="364" y="744"/>
                </a:lnTo>
                <a:lnTo>
                  <a:pt x="326" y="728"/>
                </a:lnTo>
                <a:lnTo>
                  <a:pt x="286" y="716"/>
                </a:lnTo>
                <a:lnTo>
                  <a:pt x="244" y="704"/>
                </a:lnTo>
                <a:lnTo>
                  <a:pt x="200" y="694"/>
                </a:lnTo>
                <a:lnTo>
                  <a:pt x="154" y="686"/>
                </a:lnTo>
                <a:lnTo>
                  <a:pt x="104" y="680"/>
                </a:lnTo>
                <a:lnTo>
                  <a:pt x="54" y="676"/>
                </a:lnTo>
                <a:lnTo>
                  <a:pt x="0" y="676"/>
                </a:lnTo>
                <a:lnTo>
                  <a:pt x="0" y="452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263147"/>
              </a:solidFill>
              <a:latin typeface="Lucida Sans Unicode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839633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0" r:id="rId1"/>
    <p:sldLayoutId id="2147484091" r:id="rId2"/>
    <p:sldLayoutId id="2147484092" r:id="rId3"/>
    <p:sldLayoutId id="2147484093" r:id="rId4"/>
    <p:sldLayoutId id="2147484094" r:id="rId5"/>
    <p:sldLayoutId id="2147484095" r:id="rId6"/>
    <p:sldLayoutId id="2147484096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510978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98" r:id="rId1"/>
    <p:sldLayoutId id="2147484099" r:id="rId2"/>
    <p:sldLayoutId id="2147484100" r:id="rId3"/>
    <p:sldLayoutId id="2147484101" r:id="rId4"/>
    <p:sldLayoutId id="2147484102" r:id="rId5"/>
    <p:sldLayoutId id="2147484103" r:id="rId6"/>
    <p:sldLayoutId id="2147484104" r:id="rId7"/>
    <p:sldLayoutId id="2147484105" r:id="rId8"/>
    <p:sldLayoutId id="2147484106" r:id="rId9"/>
    <p:sldLayoutId id="2147484107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524290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09" r:id="rId1"/>
    <p:sldLayoutId id="2147484110" r:id="rId2"/>
    <p:sldLayoutId id="2147484111" r:id="rId3"/>
    <p:sldLayoutId id="2147484112" r:id="rId4"/>
    <p:sldLayoutId id="2147484113" r:id="rId5"/>
    <p:sldLayoutId id="2147484114" r:id="rId6"/>
    <p:sldLayoutId id="2147484115" r:id="rId7"/>
    <p:sldLayoutId id="2147484116" r:id="rId8"/>
    <p:sldLayoutId id="2147484117" r:id="rId9"/>
    <p:sldLayoutId id="2147484118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535554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20" r:id="rId1"/>
    <p:sldLayoutId id="2147484121" r:id="rId2"/>
    <p:sldLayoutId id="2147484122" r:id="rId3"/>
    <p:sldLayoutId id="2147484123" r:id="rId4"/>
    <p:sldLayoutId id="2147484124" r:id="rId5"/>
    <p:sldLayoutId id="2147484125" r:id="rId6"/>
    <p:sldLayoutId id="2147484126" r:id="rId7"/>
    <p:sldLayoutId id="2147484127" r:id="rId8"/>
    <p:sldLayoutId id="2147484128" r:id="rId9"/>
    <p:sldLayoutId id="2147484129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547842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31" r:id="rId1"/>
    <p:sldLayoutId id="2147484132" r:id="rId2"/>
    <p:sldLayoutId id="2147484133" r:id="rId3"/>
    <p:sldLayoutId id="2147484134" r:id="rId4"/>
    <p:sldLayoutId id="2147484135" r:id="rId5"/>
    <p:sldLayoutId id="2147484136" r:id="rId6"/>
    <p:sldLayoutId id="2147484137" r:id="rId7"/>
    <p:sldLayoutId id="2147484138" r:id="rId8"/>
    <p:sldLayoutId id="2147484139" r:id="rId9"/>
    <p:sldLayoutId id="2147484140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3274" name="think-cell Slide" r:id="rId16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6"/>
            </p:custDataLst>
          </p:nvPr>
        </p:nvSpPr>
        <p:spPr bwMode="auto">
          <a:xfrm flipV="1">
            <a:off x="-1657" y="1677994"/>
            <a:ext cx="9907658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8" name="Image 10" descr="Capgemini_logo_lr.tif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7" cstate="email"/>
          <a:stretch>
            <a:fillRect/>
          </a:stretch>
        </p:blipFill>
        <p:spPr>
          <a:xfrm>
            <a:off x="690571" y="930776"/>
            <a:ext cx="3154765" cy="776000"/>
          </a:xfrm>
          <a:prstGeom prst="rect">
            <a:avLst/>
          </a:prstGeom>
        </p:spPr>
      </p:pic>
      <p:pic>
        <p:nvPicPr>
          <p:cNvPr id="9" name="Picture 104" descr="C:\Users\UserSim\Desktop\Capgemini\moto.emf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8" cstate="email"/>
          <a:srcRect/>
          <a:stretch>
            <a:fillRect/>
          </a:stretch>
        </p:blipFill>
        <p:spPr bwMode="auto">
          <a:xfrm>
            <a:off x="5491631" y="1173628"/>
            <a:ext cx="3645293" cy="290298"/>
          </a:xfrm>
          <a:prstGeom prst="rect">
            <a:avLst/>
          </a:prstGeom>
          <a:noFill/>
        </p:spPr>
      </p:pic>
      <p:sp>
        <p:nvSpPr>
          <p:cNvPr id="13" name="Rectangle 12"/>
          <p:cNvSpPr/>
          <p:nvPr>
            <p:custDataLst>
              <p:tags r:id="rId9"/>
            </p:custDataLst>
          </p:nvPr>
        </p:nvSpPr>
        <p:spPr>
          <a:xfrm>
            <a:off x="5523919" y="6379672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proprietary.</a:t>
            </a:r>
          </a:p>
          <a:p>
            <a:pPr algn="r"/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© 2015 </a:t>
            </a:r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Capgemini. All right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reserved.</a:t>
            </a:r>
            <a:endParaRPr lang="en-US" sz="7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5" name="Rectangle 14"/>
          <p:cNvSpPr/>
          <p:nvPr>
            <p:custDataLst>
              <p:tags r:id="rId10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</a:p>
        </p:txBody>
      </p:sp>
      <p:pic>
        <p:nvPicPr>
          <p:cNvPr id="16" name="Picture 3" descr="C:\Users\UserSim\Desktop\DS_icons\128x128 shadows\facebook.png">
            <a:hlinkClick r:id="rId19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0" cstate="email"/>
          <a:srcRect/>
          <a:stretch>
            <a:fillRect/>
          </a:stretch>
        </p:blipFill>
        <p:spPr bwMode="auto">
          <a:xfrm>
            <a:off x="7939254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 descr="C:\Users\UserSim\Desktop\DS_icons\128x128 shadows\linkedin.png">
            <a:hlinkClick r:id="rId21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8274666" y="5932547"/>
            <a:ext cx="281314" cy="266700"/>
          </a:xfrm>
          <a:prstGeom prst="rect">
            <a:avLst/>
          </a:prstGeom>
          <a:noFill/>
        </p:spPr>
      </p:pic>
      <p:pic>
        <p:nvPicPr>
          <p:cNvPr id="18" name="Picture 5" descr="C:\Users\UserSim\Desktop\DS_icons\128x128 shadows\twitter.png">
            <a:hlinkClick r:id="rId23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8903720" y="5932547"/>
            <a:ext cx="281314" cy="266700"/>
          </a:xfrm>
          <a:prstGeom prst="rect">
            <a:avLst/>
          </a:prstGeom>
          <a:noFill/>
        </p:spPr>
      </p:pic>
      <p:pic>
        <p:nvPicPr>
          <p:cNvPr id="19" name="Picture 6" descr="C:\Users\UserSim\Desktop\DS_icons\128x128 shadows\youtube.png">
            <a:hlinkClick r:id="rId25"/>
          </p:cNvPr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6" cstate="email"/>
          <a:srcRect/>
          <a:stretch>
            <a:fillRect/>
          </a:stretch>
        </p:blipFill>
        <p:spPr bwMode="auto">
          <a:xfrm>
            <a:off x="9242223" y="5932547"/>
            <a:ext cx="281314" cy="266700"/>
          </a:xfrm>
          <a:prstGeom prst="rect">
            <a:avLst/>
          </a:prstGeom>
          <a:noFill/>
        </p:spPr>
      </p:pic>
      <p:pic>
        <p:nvPicPr>
          <p:cNvPr id="20" name="Image 22" descr="Picto_Slideshare.gif">
            <a:hlinkClick r:id="rId27"/>
          </p:cNvPr>
          <p:cNvPicPr preferRelativeResize="0">
            <a:picLocks/>
          </p:cNvPicPr>
          <p:nvPr>
            <p:custDataLst>
              <p:tags r:id="rId15"/>
            </p:custDataLst>
          </p:nvPr>
        </p:nvPicPr>
        <p:blipFill>
          <a:blip r:embed="rId28" cstate="email"/>
          <a:srcRect l="4793" t="6316" r="5718" b="7969"/>
          <a:stretch>
            <a:fillRect/>
          </a:stretch>
        </p:blipFill>
        <p:spPr>
          <a:xfrm>
            <a:off x="8613170" y="5932551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3945" r:id="rId2"/>
    <p:sldLayoutId id="2147483961" r:id="rId3"/>
  </p:sldLayoutIdLst>
  <p:timing>
    <p:tnLst>
      <p:par>
        <p:cTn id="1" dur="indefinite" restart="never" nodeType="tmRoot"/>
      </p:par>
    </p:tnLst>
  </p:timing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2" y="0"/>
          <a:ext cx="158751" cy="158750"/>
        </p:xfrm>
        <a:graphic>
          <a:graphicData uri="http://schemas.openxmlformats.org/presentationml/2006/ole">
            <p:oleObj spid="_x0000_s559106" name="think-cell Slide" r:id="rId16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6" y="1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0"/>
            </p:custDataLst>
          </p:nvPr>
        </p:nvSpPr>
        <p:spPr>
          <a:xfrm>
            <a:off x="323397" y="1501978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6741834" y="6623412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/>
            </a:pP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Copyright © Capgemini 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2015. </a:t>
            </a: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All Rights Reserved</a:t>
            </a:r>
          </a:p>
        </p:txBody>
      </p:sp>
      <p:sp>
        <p:nvSpPr>
          <p:cNvPr id="13" name="Rectangle 12"/>
          <p:cNvSpPr/>
          <p:nvPr>
            <p:custDataLst>
              <p:tags r:id="rId12"/>
            </p:custDataLst>
          </p:nvPr>
        </p:nvSpPr>
        <p:spPr>
          <a:xfrm>
            <a:off x="7487925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998C85"/>
                </a:solidFill>
                <a:cs typeface="Arial" charset="0"/>
              </a:rPr>
              <a:t>On boarding Manual | PMBSA Managed Services | </a:t>
            </a:r>
            <a:r>
              <a:rPr lang="en-US" sz="700" dirty="0" smtClean="0">
                <a:solidFill>
                  <a:srgbClr val="998C85"/>
                </a:solidFill>
                <a:cs typeface="Arial" charset="0"/>
              </a:rPr>
              <a:t>| </a:t>
            </a:r>
            <a:r>
              <a:rPr lang="en-US" sz="700" dirty="0">
                <a:solidFill>
                  <a:srgbClr val="998C85"/>
                </a:solidFill>
                <a:cs typeface="Arial" charset="0"/>
              </a:rPr>
              <a:t>Financial Services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158972" y="6443187"/>
            <a:ext cx="1310616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14"/>
            </p:custDataLst>
          </p:nvPr>
        </p:nvCxnSpPr>
        <p:spPr>
          <a:xfrm flipH="1">
            <a:off x="6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Freeform 6"/>
          <p:cNvSpPr>
            <a:spLocks/>
          </p:cNvSpPr>
          <p:nvPr userDrawn="1">
            <p:custDataLst>
              <p:tags r:id="rId15"/>
            </p:custDataLst>
          </p:nvPr>
        </p:nvSpPr>
        <p:spPr bwMode="auto">
          <a:xfrm>
            <a:off x="0" y="0"/>
            <a:ext cx="9906000" cy="1672556"/>
          </a:xfrm>
          <a:custGeom>
            <a:avLst/>
            <a:gdLst/>
            <a:ahLst/>
            <a:cxnLst>
              <a:cxn ang="0">
                <a:pos x="24" y="452"/>
              </a:cxn>
              <a:cxn ang="0">
                <a:pos x="134" y="458"/>
              </a:cxn>
              <a:cxn ang="0">
                <a:pos x="300" y="496"/>
              </a:cxn>
              <a:cxn ang="0">
                <a:pos x="394" y="534"/>
              </a:cxn>
              <a:cxn ang="0">
                <a:pos x="490" y="586"/>
              </a:cxn>
              <a:cxn ang="0">
                <a:pos x="582" y="660"/>
              </a:cxn>
              <a:cxn ang="0">
                <a:pos x="666" y="754"/>
              </a:cxn>
              <a:cxn ang="0">
                <a:pos x="740" y="874"/>
              </a:cxn>
              <a:cxn ang="0">
                <a:pos x="768" y="900"/>
              </a:cxn>
              <a:cxn ang="0">
                <a:pos x="810" y="816"/>
              </a:cxn>
              <a:cxn ang="0">
                <a:pos x="902" y="694"/>
              </a:cxn>
              <a:cxn ang="0">
                <a:pos x="970" y="630"/>
              </a:cxn>
              <a:cxn ang="0">
                <a:pos x="1054" y="570"/>
              </a:cxn>
              <a:cxn ang="0">
                <a:pos x="1154" y="518"/>
              </a:cxn>
              <a:cxn ang="0">
                <a:pos x="1276" y="478"/>
              </a:cxn>
              <a:cxn ang="0">
                <a:pos x="1418" y="456"/>
              </a:cxn>
              <a:cxn ang="0">
                <a:pos x="6030" y="452"/>
              </a:cxn>
              <a:cxn ang="0">
                <a:pos x="6076" y="450"/>
              </a:cxn>
              <a:cxn ang="0">
                <a:pos x="6198" y="430"/>
              </a:cxn>
              <a:cxn ang="0">
                <a:pos x="6334" y="388"/>
              </a:cxn>
              <a:cxn ang="0">
                <a:pos x="6422" y="346"/>
              </a:cxn>
              <a:cxn ang="0">
                <a:pos x="6512" y="288"/>
              </a:cxn>
              <a:cxn ang="0">
                <a:pos x="6596" y="214"/>
              </a:cxn>
              <a:cxn ang="0">
                <a:pos x="6674" y="118"/>
              </a:cxn>
              <a:cxn ang="0">
                <a:pos x="6740" y="0"/>
              </a:cxn>
              <a:cxn ang="0">
                <a:pos x="6734" y="234"/>
              </a:cxn>
              <a:cxn ang="0">
                <a:pos x="6690" y="316"/>
              </a:cxn>
              <a:cxn ang="0">
                <a:pos x="6598" y="434"/>
              </a:cxn>
              <a:cxn ang="0">
                <a:pos x="6532" y="496"/>
              </a:cxn>
              <a:cxn ang="0">
                <a:pos x="6448" y="556"/>
              </a:cxn>
              <a:cxn ang="0">
                <a:pos x="6348" y="608"/>
              </a:cxn>
              <a:cxn ang="0">
                <a:pos x="6230" y="648"/>
              </a:cxn>
              <a:cxn ang="0">
                <a:pos x="6090" y="672"/>
              </a:cxn>
              <a:cxn ang="0">
                <a:pos x="1504" y="680"/>
              </a:cxn>
              <a:cxn ang="0">
                <a:pos x="1452" y="680"/>
              </a:cxn>
              <a:cxn ang="0">
                <a:pos x="1322" y="694"/>
              </a:cxn>
              <a:cxn ang="0">
                <a:pos x="1178" y="736"/>
              </a:cxn>
              <a:cxn ang="0">
                <a:pos x="1086" y="778"/>
              </a:cxn>
              <a:cxn ang="0">
                <a:pos x="992" y="836"/>
              </a:cxn>
              <a:cxn ang="0">
                <a:pos x="904" y="914"/>
              </a:cxn>
              <a:cxn ang="0">
                <a:pos x="826" y="1014"/>
              </a:cxn>
              <a:cxn ang="0">
                <a:pos x="760" y="1138"/>
              </a:cxn>
              <a:cxn ang="0">
                <a:pos x="740" y="1094"/>
              </a:cxn>
              <a:cxn ang="0">
                <a:pos x="672" y="990"/>
              </a:cxn>
              <a:cxn ang="0">
                <a:pos x="576" y="882"/>
              </a:cxn>
              <a:cxn ang="0">
                <a:pos x="496" y="818"/>
              </a:cxn>
              <a:cxn ang="0">
                <a:pos x="400" y="760"/>
              </a:cxn>
              <a:cxn ang="0">
                <a:pos x="286" y="716"/>
              </a:cxn>
              <a:cxn ang="0">
                <a:pos x="154" y="686"/>
              </a:cxn>
              <a:cxn ang="0">
                <a:pos x="0" y="676"/>
              </a:cxn>
            </a:cxnLst>
            <a:rect l="0" t="0" r="r" b="b"/>
            <a:pathLst>
              <a:path w="6740" h="1138">
                <a:moveTo>
                  <a:pt x="0" y="452"/>
                </a:moveTo>
                <a:lnTo>
                  <a:pt x="0" y="452"/>
                </a:lnTo>
                <a:lnTo>
                  <a:pt x="24" y="452"/>
                </a:lnTo>
                <a:lnTo>
                  <a:pt x="52" y="452"/>
                </a:lnTo>
                <a:lnTo>
                  <a:pt x="88" y="454"/>
                </a:lnTo>
                <a:lnTo>
                  <a:pt x="134" y="458"/>
                </a:lnTo>
                <a:lnTo>
                  <a:pt x="184" y="466"/>
                </a:lnTo>
                <a:lnTo>
                  <a:pt x="240" y="478"/>
                </a:lnTo>
                <a:lnTo>
                  <a:pt x="300" y="496"/>
                </a:lnTo>
                <a:lnTo>
                  <a:pt x="330" y="506"/>
                </a:lnTo>
                <a:lnTo>
                  <a:pt x="362" y="518"/>
                </a:lnTo>
                <a:lnTo>
                  <a:pt x="394" y="534"/>
                </a:lnTo>
                <a:lnTo>
                  <a:pt x="426" y="548"/>
                </a:lnTo>
                <a:lnTo>
                  <a:pt x="458" y="566"/>
                </a:lnTo>
                <a:lnTo>
                  <a:pt x="490" y="586"/>
                </a:lnTo>
                <a:lnTo>
                  <a:pt x="520" y="608"/>
                </a:lnTo>
                <a:lnTo>
                  <a:pt x="552" y="632"/>
                </a:lnTo>
                <a:lnTo>
                  <a:pt x="582" y="660"/>
                </a:lnTo>
                <a:lnTo>
                  <a:pt x="610" y="688"/>
                </a:lnTo>
                <a:lnTo>
                  <a:pt x="638" y="720"/>
                </a:lnTo>
                <a:lnTo>
                  <a:pt x="666" y="754"/>
                </a:lnTo>
                <a:lnTo>
                  <a:pt x="692" y="790"/>
                </a:lnTo>
                <a:lnTo>
                  <a:pt x="716" y="830"/>
                </a:lnTo>
                <a:lnTo>
                  <a:pt x="740" y="874"/>
                </a:lnTo>
                <a:lnTo>
                  <a:pt x="760" y="920"/>
                </a:lnTo>
                <a:lnTo>
                  <a:pt x="760" y="920"/>
                </a:lnTo>
                <a:lnTo>
                  <a:pt x="768" y="900"/>
                </a:lnTo>
                <a:lnTo>
                  <a:pt x="776" y="878"/>
                </a:lnTo>
                <a:lnTo>
                  <a:pt x="790" y="850"/>
                </a:lnTo>
                <a:lnTo>
                  <a:pt x="810" y="816"/>
                </a:lnTo>
                <a:lnTo>
                  <a:pt x="834" y="778"/>
                </a:lnTo>
                <a:lnTo>
                  <a:pt x="866" y="736"/>
                </a:lnTo>
                <a:lnTo>
                  <a:pt x="902" y="694"/>
                </a:lnTo>
                <a:lnTo>
                  <a:pt x="922" y="672"/>
                </a:lnTo>
                <a:lnTo>
                  <a:pt x="944" y="652"/>
                </a:lnTo>
                <a:lnTo>
                  <a:pt x="970" y="630"/>
                </a:lnTo>
                <a:lnTo>
                  <a:pt x="996" y="610"/>
                </a:lnTo>
                <a:lnTo>
                  <a:pt x="1024" y="590"/>
                </a:lnTo>
                <a:lnTo>
                  <a:pt x="1054" y="570"/>
                </a:lnTo>
                <a:lnTo>
                  <a:pt x="1084" y="552"/>
                </a:lnTo>
                <a:lnTo>
                  <a:pt x="1118" y="534"/>
                </a:lnTo>
                <a:lnTo>
                  <a:pt x="1154" y="518"/>
                </a:lnTo>
                <a:lnTo>
                  <a:pt x="1192" y="504"/>
                </a:lnTo>
                <a:lnTo>
                  <a:pt x="1234" y="490"/>
                </a:lnTo>
                <a:lnTo>
                  <a:pt x="1276" y="478"/>
                </a:lnTo>
                <a:lnTo>
                  <a:pt x="1320" y="468"/>
                </a:lnTo>
                <a:lnTo>
                  <a:pt x="1368" y="460"/>
                </a:lnTo>
                <a:lnTo>
                  <a:pt x="1418" y="456"/>
                </a:lnTo>
                <a:lnTo>
                  <a:pt x="1470" y="452"/>
                </a:lnTo>
                <a:lnTo>
                  <a:pt x="4218" y="452"/>
                </a:lnTo>
                <a:lnTo>
                  <a:pt x="6030" y="452"/>
                </a:lnTo>
                <a:lnTo>
                  <a:pt x="6030" y="452"/>
                </a:lnTo>
                <a:lnTo>
                  <a:pt x="6052" y="452"/>
                </a:lnTo>
                <a:lnTo>
                  <a:pt x="6076" y="450"/>
                </a:lnTo>
                <a:lnTo>
                  <a:pt x="6110" y="446"/>
                </a:lnTo>
                <a:lnTo>
                  <a:pt x="6152" y="440"/>
                </a:lnTo>
                <a:lnTo>
                  <a:pt x="6198" y="430"/>
                </a:lnTo>
                <a:lnTo>
                  <a:pt x="6250" y="418"/>
                </a:lnTo>
                <a:lnTo>
                  <a:pt x="6306" y="400"/>
                </a:lnTo>
                <a:lnTo>
                  <a:pt x="6334" y="388"/>
                </a:lnTo>
                <a:lnTo>
                  <a:pt x="6364" y="376"/>
                </a:lnTo>
                <a:lnTo>
                  <a:pt x="6392" y="362"/>
                </a:lnTo>
                <a:lnTo>
                  <a:pt x="6422" y="346"/>
                </a:lnTo>
                <a:lnTo>
                  <a:pt x="6452" y="328"/>
                </a:lnTo>
                <a:lnTo>
                  <a:pt x="6482" y="310"/>
                </a:lnTo>
                <a:lnTo>
                  <a:pt x="6512" y="288"/>
                </a:lnTo>
                <a:lnTo>
                  <a:pt x="6540" y="266"/>
                </a:lnTo>
                <a:lnTo>
                  <a:pt x="6568" y="240"/>
                </a:lnTo>
                <a:lnTo>
                  <a:pt x="6596" y="214"/>
                </a:lnTo>
                <a:lnTo>
                  <a:pt x="6624" y="184"/>
                </a:lnTo>
                <a:lnTo>
                  <a:pt x="6650" y="152"/>
                </a:lnTo>
                <a:lnTo>
                  <a:pt x="6674" y="118"/>
                </a:lnTo>
                <a:lnTo>
                  <a:pt x="6698" y="80"/>
                </a:lnTo>
                <a:lnTo>
                  <a:pt x="6720" y="42"/>
                </a:lnTo>
                <a:lnTo>
                  <a:pt x="6740" y="0"/>
                </a:lnTo>
                <a:lnTo>
                  <a:pt x="6740" y="216"/>
                </a:lnTo>
                <a:lnTo>
                  <a:pt x="6740" y="216"/>
                </a:lnTo>
                <a:lnTo>
                  <a:pt x="6734" y="234"/>
                </a:lnTo>
                <a:lnTo>
                  <a:pt x="6724" y="256"/>
                </a:lnTo>
                <a:lnTo>
                  <a:pt x="6708" y="282"/>
                </a:lnTo>
                <a:lnTo>
                  <a:pt x="6690" y="316"/>
                </a:lnTo>
                <a:lnTo>
                  <a:pt x="6666" y="352"/>
                </a:lnTo>
                <a:lnTo>
                  <a:pt x="6634" y="392"/>
                </a:lnTo>
                <a:lnTo>
                  <a:pt x="6598" y="434"/>
                </a:lnTo>
                <a:lnTo>
                  <a:pt x="6578" y="454"/>
                </a:lnTo>
                <a:lnTo>
                  <a:pt x="6556" y="476"/>
                </a:lnTo>
                <a:lnTo>
                  <a:pt x="6532" y="496"/>
                </a:lnTo>
                <a:lnTo>
                  <a:pt x="6506" y="516"/>
                </a:lnTo>
                <a:lnTo>
                  <a:pt x="6478" y="536"/>
                </a:lnTo>
                <a:lnTo>
                  <a:pt x="6448" y="556"/>
                </a:lnTo>
                <a:lnTo>
                  <a:pt x="6416" y="574"/>
                </a:lnTo>
                <a:lnTo>
                  <a:pt x="6384" y="590"/>
                </a:lnTo>
                <a:lnTo>
                  <a:pt x="6348" y="608"/>
                </a:lnTo>
                <a:lnTo>
                  <a:pt x="6310" y="622"/>
                </a:lnTo>
                <a:lnTo>
                  <a:pt x="6272" y="636"/>
                </a:lnTo>
                <a:lnTo>
                  <a:pt x="6230" y="648"/>
                </a:lnTo>
                <a:lnTo>
                  <a:pt x="6186" y="658"/>
                </a:lnTo>
                <a:lnTo>
                  <a:pt x="6140" y="666"/>
                </a:lnTo>
                <a:lnTo>
                  <a:pt x="6090" y="672"/>
                </a:lnTo>
                <a:lnTo>
                  <a:pt x="6040" y="676"/>
                </a:lnTo>
                <a:lnTo>
                  <a:pt x="3338" y="676"/>
                </a:lnTo>
                <a:lnTo>
                  <a:pt x="1504" y="680"/>
                </a:lnTo>
                <a:lnTo>
                  <a:pt x="1504" y="680"/>
                </a:lnTo>
                <a:lnTo>
                  <a:pt x="1480" y="678"/>
                </a:lnTo>
                <a:lnTo>
                  <a:pt x="1452" y="680"/>
                </a:lnTo>
                <a:lnTo>
                  <a:pt x="1416" y="682"/>
                </a:lnTo>
                <a:lnTo>
                  <a:pt x="1372" y="686"/>
                </a:lnTo>
                <a:lnTo>
                  <a:pt x="1322" y="694"/>
                </a:lnTo>
                <a:lnTo>
                  <a:pt x="1268" y="708"/>
                </a:lnTo>
                <a:lnTo>
                  <a:pt x="1208" y="724"/>
                </a:lnTo>
                <a:lnTo>
                  <a:pt x="1178" y="736"/>
                </a:lnTo>
                <a:lnTo>
                  <a:pt x="1148" y="748"/>
                </a:lnTo>
                <a:lnTo>
                  <a:pt x="1116" y="762"/>
                </a:lnTo>
                <a:lnTo>
                  <a:pt x="1086" y="778"/>
                </a:lnTo>
                <a:lnTo>
                  <a:pt x="1054" y="794"/>
                </a:lnTo>
                <a:lnTo>
                  <a:pt x="1024" y="814"/>
                </a:lnTo>
                <a:lnTo>
                  <a:pt x="992" y="836"/>
                </a:lnTo>
                <a:lnTo>
                  <a:pt x="962" y="860"/>
                </a:lnTo>
                <a:lnTo>
                  <a:pt x="934" y="886"/>
                </a:lnTo>
                <a:lnTo>
                  <a:pt x="904" y="914"/>
                </a:lnTo>
                <a:lnTo>
                  <a:pt x="878" y="944"/>
                </a:lnTo>
                <a:lnTo>
                  <a:pt x="850" y="978"/>
                </a:lnTo>
                <a:lnTo>
                  <a:pt x="826" y="1014"/>
                </a:lnTo>
                <a:lnTo>
                  <a:pt x="802" y="1052"/>
                </a:lnTo>
                <a:lnTo>
                  <a:pt x="780" y="1094"/>
                </a:lnTo>
                <a:lnTo>
                  <a:pt x="760" y="1138"/>
                </a:lnTo>
                <a:lnTo>
                  <a:pt x="760" y="1138"/>
                </a:lnTo>
                <a:lnTo>
                  <a:pt x="752" y="1118"/>
                </a:lnTo>
                <a:lnTo>
                  <a:pt x="740" y="1094"/>
                </a:lnTo>
                <a:lnTo>
                  <a:pt x="724" y="1064"/>
                </a:lnTo>
                <a:lnTo>
                  <a:pt x="700" y="1028"/>
                </a:lnTo>
                <a:lnTo>
                  <a:pt x="672" y="990"/>
                </a:lnTo>
                <a:lnTo>
                  <a:pt x="638" y="946"/>
                </a:lnTo>
                <a:lnTo>
                  <a:pt x="598" y="904"/>
                </a:lnTo>
                <a:lnTo>
                  <a:pt x="576" y="882"/>
                </a:lnTo>
                <a:lnTo>
                  <a:pt x="550" y="860"/>
                </a:lnTo>
                <a:lnTo>
                  <a:pt x="524" y="838"/>
                </a:lnTo>
                <a:lnTo>
                  <a:pt x="496" y="818"/>
                </a:lnTo>
                <a:lnTo>
                  <a:pt x="466" y="798"/>
                </a:lnTo>
                <a:lnTo>
                  <a:pt x="434" y="778"/>
                </a:lnTo>
                <a:lnTo>
                  <a:pt x="400" y="760"/>
                </a:lnTo>
                <a:lnTo>
                  <a:pt x="364" y="744"/>
                </a:lnTo>
                <a:lnTo>
                  <a:pt x="326" y="728"/>
                </a:lnTo>
                <a:lnTo>
                  <a:pt x="286" y="716"/>
                </a:lnTo>
                <a:lnTo>
                  <a:pt x="244" y="704"/>
                </a:lnTo>
                <a:lnTo>
                  <a:pt x="200" y="694"/>
                </a:lnTo>
                <a:lnTo>
                  <a:pt x="154" y="686"/>
                </a:lnTo>
                <a:lnTo>
                  <a:pt x="104" y="680"/>
                </a:lnTo>
                <a:lnTo>
                  <a:pt x="54" y="676"/>
                </a:lnTo>
                <a:lnTo>
                  <a:pt x="0" y="676"/>
                </a:lnTo>
                <a:lnTo>
                  <a:pt x="0" y="452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263147"/>
              </a:solidFill>
              <a:latin typeface="Lucida Sans Unicode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839633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2" r:id="rId1"/>
    <p:sldLayoutId id="2147484143" r:id="rId2"/>
    <p:sldLayoutId id="2147484144" r:id="rId3"/>
    <p:sldLayoutId id="2147484146" r:id="rId4"/>
    <p:sldLayoutId id="2147484147" r:id="rId5"/>
    <p:sldLayoutId id="2147484148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566274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50" r:id="rId1"/>
    <p:sldLayoutId id="2147484151" r:id="rId2"/>
    <p:sldLayoutId id="2147484152" r:id="rId3"/>
    <p:sldLayoutId id="2147484153" r:id="rId4"/>
    <p:sldLayoutId id="2147484154" r:id="rId5"/>
    <p:sldLayoutId id="2147484155" r:id="rId6"/>
    <p:sldLayoutId id="2147484156" r:id="rId7"/>
    <p:sldLayoutId id="2147484157" r:id="rId8"/>
    <p:sldLayoutId id="2147484158" r:id="rId9"/>
    <p:sldLayoutId id="2147484159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577538" name="think-cell Slide" r:id="rId22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61" r:id="rId1"/>
    <p:sldLayoutId id="2147484162" r:id="rId2"/>
    <p:sldLayoutId id="2147484163" r:id="rId3"/>
    <p:sldLayoutId id="2147484164" r:id="rId4"/>
    <p:sldLayoutId id="2147484165" r:id="rId5"/>
    <p:sldLayoutId id="2147484166" r:id="rId6"/>
    <p:sldLayoutId id="2147484167" r:id="rId7"/>
    <p:sldLayoutId id="2147484168" r:id="rId8"/>
    <p:sldLayoutId id="2147484169" r:id="rId9"/>
    <p:sldLayoutId id="2147484170" r:id="rId10"/>
    <p:sldLayoutId id="2147484690" r:id="rId11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588802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72" r:id="rId1"/>
    <p:sldLayoutId id="2147484173" r:id="rId2"/>
    <p:sldLayoutId id="2147484174" r:id="rId3"/>
    <p:sldLayoutId id="2147484175" r:id="rId4"/>
    <p:sldLayoutId id="2147484176" r:id="rId5"/>
    <p:sldLayoutId id="2147484177" r:id="rId6"/>
    <p:sldLayoutId id="2147484178" r:id="rId7"/>
    <p:sldLayoutId id="2147484179" r:id="rId8"/>
    <p:sldLayoutId id="2147484180" r:id="rId9"/>
    <p:sldLayoutId id="2147484181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01090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83" r:id="rId1"/>
    <p:sldLayoutId id="2147484184" r:id="rId2"/>
    <p:sldLayoutId id="2147484185" r:id="rId3"/>
    <p:sldLayoutId id="2147484186" r:id="rId4"/>
    <p:sldLayoutId id="2147484187" r:id="rId5"/>
    <p:sldLayoutId id="2147484188" r:id="rId6"/>
    <p:sldLayoutId id="2147484189" r:id="rId7"/>
    <p:sldLayoutId id="2147484190" r:id="rId8"/>
    <p:sldLayoutId id="2147484191" r:id="rId9"/>
    <p:sldLayoutId id="2147484192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12354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94" r:id="rId1"/>
    <p:sldLayoutId id="2147484195" r:id="rId2"/>
    <p:sldLayoutId id="2147484196" r:id="rId3"/>
    <p:sldLayoutId id="2147484197" r:id="rId4"/>
    <p:sldLayoutId id="2147484198" r:id="rId5"/>
    <p:sldLayoutId id="2147484199" r:id="rId6"/>
    <p:sldLayoutId id="2147484200" r:id="rId7"/>
    <p:sldLayoutId id="2147484201" r:id="rId8"/>
    <p:sldLayoutId id="2147484202" r:id="rId9"/>
    <p:sldLayoutId id="2147484203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23618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05" r:id="rId1"/>
    <p:sldLayoutId id="2147484206" r:id="rId2"/>
    <p:sldLayoutId id="2147484207" r:id="rId3"/>
    <p:sldLayoutId id="2147484208" r:id="rId4"/>
    <p:sldLayoutId id="2147484209" r:id="rId5"/>
    <p:sldLayoutId id="2147484210" r:id="rId6"/>
    <p:sldLayoutId id="2147484211" r:id="rId7"/>
    <p:sldLayoutId id="2147484212" r:id="rId8"/>
    <p:sldLayoutId id="2147484213" r:id="rId9"/>
    <p:sldLayoutId id="2147484214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34882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16" r:id="rId1"/>
    <p:sldLayoutId id="2147484217" r:id="rId2"/>
    <p:sldLayoutId id="2147484218" r:id="rId3"/>
    <p:sldLayoutId id="2147484219" r:id="rId4"/>
    <p:sldLayoutId id="2147484220" r:id="rId5"/>
    <p:sldLayoutId id="2147484221" r:id="rId6"/>
    <p:sldLayoutId id="2147484222" r:id="rId7"/>
    <p:sldLayoutId id="2147484223" r:id="rId8"/>
    <p:sldLayoutId id="2147484224" r:id="rId9"/>
    <p:sldLayoutId id="2147484225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2" y="0"/>
          <a:ext cx="158751" cy="158750"/>
        </p:xfrm>
        <a:graphic>
          <a:graphicData uri="http://schemas.openxmlformats.org/presentationml/2006/ole">
            <p:oleObj spid="_x0000_s646146" name="think-cell Slide" r:id="rId16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6" y="1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0"/>
            </p:custDataLst>
          </p:nvPr>
        </p:nvSpPr>
        <p:spPr>
          <a:xfrm>
            <a:off x="323397" y="1501978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6741834" y="6623412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/>
            </a:pP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Copyright © Capgemini 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2015. </a:t>
            </a: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All Rights Reserved</a:t>
            </a:r>
          </a:p>
        </p:txBody>
      </p:sp>
      <p:sp>
        <p:nvSpPr>
          <p:cNvPr id="13" name="Rectangle 12"/>
          <p:cNvSpPr/>
          <p:nvPr>
            <p:custDataLst>
              <p:tags r:id="rId12"/>
            </p:custDataLst>
          </p:nvPr>
        </p:nvSpPr>
        <p:spPr>
          <a:xfrm>
            <a:off x="7487925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998C85"/>
                </a:solidFill>
                <a:cs typeface="Arial" charset="0"/>
              </a:rPr>
              <a:t>On boarding Manual | PMBSA Managed Services | </a:t>
            </a:r>
            <a:r>
              <a:rPr lang="en-US" sz="700" dirty="0" smtClean="0">
                <a:solidFill>
                  <a:srgbClr val="998C85"/>
                </a:solidFill>
                <a:cs typeface="Arial" charset="0"/>
              </a:rPr>
              <a:t>| </a:t>
            </a:r>
            <a:r>
              <a:rPr lang="en-US" sz="700" dirty="0">
                <a:solidFill>
                  <a:srgbClr val="998C85"/>
                </a:solidFill>
                <a:cs typeface="Arial" charset="0"/>
              </a:rPr>
              <a:t>Financial Services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158972" y="6443187"/>
            <a:ext cx="1310616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14"/>
            </p:custDataLst>
          </p:nvPr>
        </p:nvCxnSpPr>
        <p:spPr>
          <a:xfrm flipH="1">
            <a:off x="6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Freeform 6"/>
          <p:cNvSpPr>
            <a:spLocks/>
          </p:cNvSpPr>
          <p:nvPr userDrawn="1">
            <p:custDataLst>
              <p:tags r:id="rId15"/>
            </p:custDataLst>
          </p:nvPr>
        </p:nvSpPr>
        <p:spPr bwMode="auto">
          <a:xfrm>
            <a:off x="0" y="0"/>
            <a:ext cx="9906000" cy="1672556"/>
          </a:xfrm>
          <a:custGeom>
            <a:avLst/>
            <a:gdLst/>
            <a:ahLst/>
            <a:cxnLst>
              <a:cxn ang="0">
                <a:pos x="24" y="452"/>
              </a:cxn>
              <a:cxn ang="0">
                <a:pos x="134" y="458"/>
              </a:cxn>
              <a:cxn ang="0">
                <a:pos x="300" y="496"/>
              </a:cxn>
              <a:cxn ang="0">
                <a:pos x="394" y="534"/>
              </a:cxn>
              <a:cxn ang="0">
                <a:pos x="490" y="586"/>
              </a:cxn>
              <a:cxn ang="0">
                <a:pos x="582" y="660"/>
              </a:cxn>
              <a:cxn ang="0">
                <a:pos x="666" y="754"/>
              </a:cxn>
              <a:cxn ang="0">
                <a:pos x="740" y="874"/>
              </a:cxn>
              <a:cxn ang="0">
                <a:pos x="768" y="900"/>
              </a:cxn>
              <a:cxn ang="0">
                <a:pos x="810" y="816"/>
              </a:cxn>
              <a:cxn ang="0">
                <a:pos x="902" y="694"/>
              </a:cxn>
              <a:cxn ang="0">
                <a:pos x="970" y="630"/>
              </a:cxn>
              <a:cxn ang="0">
                <a:pos x="1054" y="570"/>
              </a:cxn>
              <a:cxn ang="0">
                <a:pos x="1154" y="518"/>
              </a:cxn>
              <a:cxn ang="0">
                <a:pos x="1276" y="478"/>
              </a:cxn>
              <a:cxn ang="0">
                <a:pos x="1418" y="456"/>
              </a:cxn>
              <a:cxn ang="0">
                <a:pos x="6030" y="452"/>
              </a:cxn>
              <a:cxn ang="0">
                <a:pos x="6076" y="450"/>
              </a:cxn>
              <a:cxn ang="0">
                <a:pos x="6198" y="430"/>
              </a:cxn>
              <a:cxn ang="0">
                <a:pos x="6334" y="388"/>
              </a:cxn>
              <a:cxn ang="0">
                <a:pos x="6422" y="346"/>
              </a:cxn>
              <a:cxn ang="0">
                <a:pos x="6512" y="288"/>
              </a:cxn>
              <a:cxn ang="0">
                <a:pos x="6596" y="214"/>
              </a:cxn>
              <a:cxn ang="0">
                <a:pos x="6674" y="118"/>
              </a:cxn>
              <a:cxn ang="0">
                <a:pos x="6740" y="0"/>
              </a:cxn>
              <a:cxn ang="0">
                <a:pos x="6734" y="234"/>
              </a:cxn>
              <a:cxn ang="0">
                <a:pos x="6690" y="316"/>
              </a:cxn>
              <a:cxn ang="0">
                <a:pos x="6598" y="434"/>
              </a:cxn>
              <a:cxn ang="0">
                <a:pos x="6532" y="496"/>
              </a:cxn>
              <a:cxn ang="0">
                <a:pos x="6448" y="556"/>
              </a:cxn>
              <a:cxn ang="0">
                <a:pos x="6348" y="608"/>
              </a:cxn>
              <a:cxn ang="0">
                <a:pos x="6230" y="648"/>
              </a:cxn>
              <a:cxn ang="0">
                <a:pos x="6090" y="672"/>
              </a:cxn>
              <a:cxn ang="0">
                <a:pos x="1504" y="680"/>
              </a:cxn>
              <a:cxn ang="0">
                <a:pos x="1452" y="680"/>
              </a:cxn>
              <a:cxn ang="0">
                <a:pos x="1322" y="694"/>
              </a:cxn>
              <a:cxn ang="0">
                <a:pos x="1178" y="736"/>
              </a:cxn>
              <a:cxn ang="0">
                <a:pos x="1086" y="778"/>
              </a:cxn>
              <a:cxn ang="0">
                <a:pos x="992" y="836"/>
              </a:cxn>
              <a:cxn ang="0">
                <a:pos x="904" y="914"/>
              </a:cxn>
              <a:cxn ang="0">
                <a:pos x="826" y="1014"/>
              </a:cxn>
              <a:cxn ang="0">
                <a:pos x="760" y="1138"/>
              </a:cxn>
              <a:cxn ang="0">
                <a:pos x="740" y="1094"/>
              </a:cxn>
              <a:cxn ang="0">
                <a:pos x="672" y="990"/>
              </a:cxn>
              <a:cxn ang="0">
                <a:pos x="576" y="882"/>
              </a:cxn>
              <a:cxn ang="0">
                <a:pos x="496" y="818"/>
              </a:cxn>
              <a:cxn ang="0">
                <a:pos x="400" y="760"/>
              </a:cxn>
              <a:cxn ang="0">
                <a:pos x="286" y="716"/>
              </a:cxn>
              <a:cxn ang="0">
                <a:pos x="154" y="686"/>
              </a:cxn>
              <a:cxn ang="0">
                <a:pos x="0" y="676"/>
              </a:cxn>
            </a:cxnLst>
            <a:rect l="0" t="0" r="r" b="b"/>
            <a:pathLst>
              <a:path w="6740" h="1138">
                <a:moveTo>
                  <a:pt x="0" y="452"/>
                </a:moveTo>
                <a:lnTo>
                  <a:pt x="0" y="452"/>
                </a:lnTo>
                <a:lnTo>
                  <a:pt x="24" y="452"/>
                </a:lnTo>
                <a:lnTo>
                  <a:pt x="52" y="452"/>
                </a:lnTo>
                <a:lnTo>
                  <a:pt x="88" y="454"/>
                </a:lnTo>
                <a:lnTo>
                  <a:pt x="134" y="458"/>
                </a:lnTo>
                <a:lnTo>
                  <a:pt x="184" y="466"/>
                </a:lnTo>
                <a:lnTo>
                  <a:pt x="240" y="478"/>
                </a:lnTo>
                <a:lnTo>
                  <a:pt x="300" y="496"/>
                </a:lnTo>
                <a:lnTo>
                  <a:pt x="330" y="506"/>
                </a:lnTo>
                <a:lnTo>
                  <a:pt x="362" y="518"/>
                </a:lnTo>
                <a:lnTo>
                  <a:pt x="394" y="534"/>
                </a:lnTo>
                <a:lnTo>
                  <a:pt x="426" y="548"/>
                </a:lnTo>
                <a:lnTo>
                  <a:pt x="458" y="566"/>
                </a:lnTo>
                <a:lnTo>
                  <a:pt x="490" y="586"/>
                </a:lnTo>
                <a:lnTo>
                  <a:pt x="520" y="608"/>
                </a:lnTo>
                <a:lnTo>
                  <a:pt x="552" y="632"/>
                </a:lnTo>
                <a:lnTo>
                  <a:pt x="582" y="660"/>
                </a:lnTo>
                <a:lnTo>
                  <a:pt x="610" y="688"/>
                </a:lnTo>
                <a:lnTo>
                  <a:pt x="638" y="720"/>
                </a:lnTo>
                <a:lnTo>
                  <a:pt x="666" y="754"/>
                </a:lnTo>
                <a:lnTo>
                  <a:pt x="692" y="790"/>
                </a:lnTo>
                <a:lnTo>
                  <a:pt x="716" y="830"/>
                </a:lnTo>
                <a:lnTo>
                  <a:pt x="740" y="874"/>
                </a:lnTo>
                <a:lnTo>
                  <a:pt x="760" y="920"/>
                </a:lnTo>
                <a:lnTo>
                  <a:pt x="760" y="920"/>
                </a:lnTo>
                <a:lnTo>
                  <a:pt x="768" y="900"/>
                </a:lnTo>
                <a:lnTo>
                  <a:pt x="776" y="878"/>
                </a:lnTo>
                <a:lnTo>
                  <a:pt x="790" y="850"/>
                </a:lnTo>
                <a:lnTo>
                  <a:pt x="810" y="816"/>
                </a:lnTo>
                <a:lnTo>
                  <a:pt x="834" y="778"/>
                </a:lnTo>
                <a:lnTo>
                  <a:pt x="866" y="736"/>
                </a:lnTo>
                <a:lnTo>
                  <a:pt x="902" y="694"/>
                </a:lnTo>
                <a:lnTo>
                  <a:pt x="922" y="672"/>
                </a:lnTo>
                <a:lnTo>
                  <a:pt x="944" y="652"/>
                </a:lnTo>
                <a:lnTo>
                  <a:pt x="970" y="630"/>
                </a:lnTo>
                <a:lnTo>
                  <a:pt x="996" y="610"/>
                </a:lnTo>
                <a:lnTo>
                  <a:pt x="1024" y="590"/>
                </a:lnTo>
                <a:lnTo>
                  <a:pt x="1054" y="570"/>
                </a:lnTo>
                <a:lnTo>
                  <a:pt x="1084" y="552"/>
                </a:lnTo>
                <a:lnTo>
                  <a:pt x="1118" y="534"/>
                </a:lnTo>
                <a:lnTo>
                  <a:pt x="1154" y="518"/>
                </a:lnTo>
                <a:lnTo>
                  <a:pt x="1192" y="504"/>
                </a:lnTo>
                <a:lnTo>
                  <a:pt x="1234" y="490"/>
                </a:lnTo>
                <a:lnTo>
                  <a:pt x="1276" y="478"/>
                </a:lnTo>
                <a:lnTo>
                  <a:pt x="1320" y="468"/>
                </a:lnTo>
                <a:lnTo>
                  <a:pt x="1368" y="460"/>
                </a:lnTo>
                <a:lnTo>
                  <a:pt x="1418" y="456"/>
                </a:lnTo>
                <a:lnTo>
                  <a:pt x="1470" y="452"/>
                </a:lnTo>
                <a:lnTo>
                  <a:pt x="4218" y="452"/>
                </a:lnTo>
                <a:lnTo>
                  <a:pt x="6030" y="452"/>
                </a:lnTo>
                <a:lnTo>
                  <a:pt x="6030" y="452"/>
                </a:lnTo>
                <a:lnTo>
                  <a:pt x="6052" y="452"/>
                </a:lnTo>
                <a:lnTo>
                  <a:pt x="6076" y="450"/>
                </a:lnTo>
                <a:lnTo>
                  <a:pt x="6110" y="446"/>
                </a:lnTo>
                <a:lnTo>
                  <a:pt x="6152" y="440"/>
                </a:lnTo>
                <a:lnTo>
                  <a:pt x="6198" y="430"/>
                </a:lnTo>
                <a:lnTo>
                  <a:pt x="6250" y="418"/>
                </a:lnTo>
                <a:lnTo>
                  <a:pt x="6306" y="400"/>
                </a:lnTo>
                <a:lnTo>
                  <a:pt x="6334" y="388"/>
                </a:lnTo>
                <a:lnTo>
                  <a:pt x="6364" y="376"/>
                </a:lnTo>
                <a:lnTo>
                  <a:pt x="6392" y="362"/>
                </a:lnTo>
                <a:lnTo>
                  <a:pt x="6422" y="346"/>
                </a:lnTo>
                <a:lnTo>
                  <a:pt x="6452" y="328"/>
                </a:lnTo>
                <a:lnTo>
                  <a:pt x="6482" y="310"/>
                </a:lnTo>
                <a:lnTo>
                  <a:pt x="6512" y="288"/>
                </a:lnTo>
                <a:lnTo>
                  <a:pt x="6540" y="266"/>
                </a:lnTo>
                <a:lnTo>
                  <a:pt x="6568" y="240"/>
                </a:lnTo>
                <a:lnTo>
                  <a:pt x="6596" y="214"/>
                </a:lnTo>
                <a:lnTo>
                  <a:pt x="6624" y="184"/>
                </a:lnTo>
                <a:lnTo>
                  <a:pt x="6650" y="152"/>
                </a:lnTo>
                <a:lnTo>
                  <a:pt x="6674" y="118"/>
                </a:lnTo>
                <a:lnTo>
                  <a:pt x="6698" y="80"/>
                </a:lnTo>
                <a:lnTo>
                  <a:pt x="6720" y="42"/>
                </a:lnTo>
                <a:lnTo>
                  <a:pt x="6740" y="0"/>
                </a:lnTo>
                <a:lnTo>
                  <a:pt x="6740" y="216"/>
                </a:lnTo>
                <a:lnTo>
                  <a:pt x="6740" y="216"/>
                </a:lnTo>
                <a:lnTo>
                  <a:pt x="6734" y="234"/>
                </a:lnTo>
                <a:lnTo>
                  <a:pt x="6724" y="256"/>
                </a:lnTo>
                <a:lnTo>
                  <a:pt x="6708" y="282"/>
                </a:lnTo>
                <a:lnTo>
                  <a:pt x="6690" y="316"/>
                </a:lnTo>
                <a:lnTo>
                  <a:pt x="6666" y="352"/>
                </a:lnTo>
                <a:lnTo>
                  <a:pt x="6634" y="392"/>
                </a:lnTo>
                <a:lnTo>
                  <a:pt x="6598" y="434"/>
                </a:lnTo>
                <a:lnTo>
                  <a:pt x="6578" y="454"/>
                </a:lnTo>
                <a:lnTo>
                  <a:pt x="6556" y="476"/>
                </a:lnTo>
                <a:lnTo>
                  <a:pt x="6532" y="496"/>
                </a:lnTo>
                <a:lnTo>
                  <a:pt x="6506" y="516"/>
                </a:lnTo>
                <a:lnTo>
                  <a:pt x="6478" y="536"/>
                </a:lnTo>
                <a:lnTo>
                  <a:pt x="6448" y="556"/>
                </a:lnTo>
                <a:lnTo>
                  <a:pt x="6416" y="574"/>
                </a:lnTo>
                <a:lnTo>
                  <a:pt x="6384" y="590"/>
                </a:lnTo>
                <a:lnTo>
                  <a:pt x="6348" y="608"/>
                </a:lnTo>
                <a:lnTo>
                  <a:pt x="6310" y="622"/>
                </a:lnTo>
                <a:lnTo>
                  <a:pt x="6272" y="636"/>
                </a:lnTo>
                <a:lnTo>
                  <a:pt x="6230" y="648"/>
                </a:lnTo>
                <a:lnTo>
                  <a:pt x="6186" y="658"/>
                </a:lnTo>
                <a:lnTo>
                  <a:pt x="6140" y="666"/>
                </a:lnTo>
                <a:lnTo>
                  <a:pt x="6090" y="672"/>
                </a:lnTo>
                <a:lnTo>
                  <a:pt x="6040" y="676"/>
                </a:lnTo>
                <a:lnTo>
                  <a:pt x="3338" y="676"/>
                </a:lnTo>
                <a:lnTo>
                  <a:pt x="1504" y="680"/>
                </a:lnTo>
                <a:lnTo>
                  <a:pt x="1504" y="680"/>
                </a:lnTo>
                <a:lnTo>
                  <a:pt x="1480" y="678"/>
                </a:lnTo>
                <a:lnTo>
                  <a:pt x="1452" y="680"/>
                </a:lnTo>
                <a:lnTo>
                  <a:pt x="1416" y="682"/>
                </a:lnTo>
                <a:lnTo>
                  <a:pt x="1372" y="686"/>
                </a:lnTo>
                <a:lnTo>
                  <a:pt x="1322" y="694"/>
                </a:lnTo>
                <a:lnTo>
                  <a:pt x="1268" y="708"/>
                </a:lnTo>
                <a:lnTo>
                  <a:pt x="1208" y="724"/>
                </a:lnTo>
                <a:lnTo>
                  <a:pt x="1178" y="736"/>
                </a:lnTo>
                <a:lnTo>
                  <a:pt x="1148" y="748"/>
                </a:lnTo>
                <a:lnTo>
                  <a:pt x="1116" y="762"/>
                </a:lnTo>
                <a:lnTo>
                  <a:pt x="1086" y="778"/>
                </a:lnTo>
                <a:lnTo>
                  <a:pt x="1054" y="794"/>
                </a:lnTo>
                <a:lnTo>
                  <a:pt x="1024" y="814"/>
                </a:lnTo>
                <a:lnTo>
                  <a:pt x="992" y="836"/>
                </a:lnTo>
                <a:lnTo>
                  <a:pt x="962" y="860"/>
                </a:lnTo>
                <a:lnTo>
                  <a:pt x="934" y="886"/>
                </a:lnTo>
                <a:lnTo>
                  <a:pt x="904" y="914"/>
                </a:lnTo>
                <a:lnTo>
                  <a:pt x="878" y="944"/>
                </a:lnTo>
                <a:lnTo>
                  <a:pt x="850" y="978"/>
                </a:lnTo>
                <a:lnTo>
                  <a:pt x="826" y="1014"/>
                </a:lnTo>
                <a:lnTo>
                  <a:pt x="802" y="1052"/>
                </a:lnTo>
                <a:lnTo>
                  <a:pt x="780" y="1094"/>
                </a:lnTo>
                <a:lnTo>
                  <a:pt x="760" y="1138"/>
                </a:lnTo>
                <a:lnTo>
                  <a:pt x="760" y="1138"/>
                </a:lnTo>
                <a:lnTo>
                  <a:pt x="752" y="1118"/>
                </a:lnTo>
                <a:lnTo>
                  <a:pt x="740" y="1094"/>
                </a:lnTo>
                <a:lnTo>
                  <a:pt x="724" y="1064"/>
                </a:lnTo>
                <a:lnTo>
                  <a:pt x="700" y="1028"/>
                </a:lnTo>
                <a:lnTo>
                  <a:pt x="672" y="990"/>
                </a:lnTo>
                <a:lnTo>
                  <a:pt x="638" y="946"/>
                </a:lnTo>
                <a:lnTo>
                  <a:pt x="598" y="904"/>
                </a:lnTo>
                <a:lnTo>
                  <a:pt x="576" y="882"/>
                </a:lnTo>
                <a:lnTo>
                  <a:pt x="550" y="860"/>
                </a:lnTo>
                <a:lnTo>
                  <a:pt x="524" y="838"/>
                </a:lnTo>
                <a:lnTo>
                  <a:pt x="496" y="818"/>
                </a:lnTo>
                <a:lnTo>
                  <a:pt x="466" y="798"/>
                </a:lnTo>
                <a:lnTo>
                  <a:pt x="434" y="778"/>
                </a:lnTo>
                <a:lnTo>
                  <a:pt x="400" y="760"/>
                </a:lnTo>
                <a:lnTo>
                  <a:pt x="364" y="744"/>
                </a:lnTo>
                <a:lnTo>
                  <a:pt x="326" y="728"/>
                </a:lnTo>
                <a:lnTo>
                  <a:pt x="286" y="716"/>
                </a:lnTo>
                <a:lnTo>
                  <a:pt x="244" y="704"/>
                </a:lnTo>
                <a:lnTo>
                  <a:pt x="200" y="694"/>
                </a:lnTo>
                <a:lnTo>
                  <a:pt x="154" y="686"/>
                </a:lnTo>
                <a:lnTo>
                  <a:pt x="104" y="680"/>
                </a:lnTo>
                <a:lnTo>
                  <a:pt x="54" y="676"/>
                </a:lnTo>
                <a:lnTo>
                  <a:pt x="0" y="676"/>
                </a:lnTo>
                <a:lnTo>
                  <a:pt x="0" y="452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263147"/>
              </a:solidFill>
              <a:latin typeface="Lucida Sans Unicode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839633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7" r:id="rId1"/>
    <p:sldLayoutId id="2147484228" r:id="rId2"/>
    <p:sldLayoutId id="2147484229" r:id="rId3"/>
    <p:sldLayoutId id="2147484231" r:id="rId4"/>
    <p:sldLayoutId id="2147484232" r:id="rId5"/>
    <p:sldLayoutId id="2147484233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53314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35" r:id="rId1"/>
    <p:sldLayoutId id="2147484236" r:id="rId2"/>
    <p:sldLayoutId id="2147484237" r:id="rId3"/>
    <p:sldLayoutId id="2147484238" r:id="rId4"/>
    <p:sldLayoutId id="2147484239" r:id="rId5"/>
    <p:sldLayoutId id="2147484240" r:id="rId6"/>
    <p:sldLayoutId id="2147484241" r:id="rId7"/>
    <p:sldLayoutId id="2147484242" r:id="rId8"/>
    <p:sldLayoutId id="2147484243" r:id="rId9"/>
    <p:sldLayoutId id="2147484244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178" name="think-cell Slide" r:id="rId5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69" r:id="rId1"/>
    <p:sldLayoutId id="2147483957" r:id="rId2"/>
  </p:sldLayoutIdLst>
  <p:timing>
    <p:tnLst>
      <p:par>
        <p:cTn id="1" dur="indefinite" restart="never" nodeType="tmRoot"/>
      </p:par>
    </p:tnLst>
  </p:timing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64578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46" r:id="rId1"/>
    <p:sldLayoutId id="2147484247" r:id="rId2"/>
    <p:sldLayoutId id="2147484248" r:id="rId3"/>
    <p:sldLayoutId id="2147484249" r:id="rId4"/>
    <p:sldLayoutId id="2147484250" r:id="rId5"/>
    <p:sldLayoutId id="2147484251" r:id="rId6"/>
    <p:sldLayoutId id="2147484252" r:id="rId7"/>
    <p:sldLayoutId id="2147484253" r:id="rId8"/>
    <p:sldLayoutId id="2147484254" r:id="rId9"/>
    <p:sldLayoutId id="2147484255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75842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57" r:id="rId1"/>
    <p:sldLayoutId id="2147484258" r:id="rId2"/>
    <p:sldLayoutId id="2147484259" r:id="rId3"/>
    <p:sldLayoutId id="2147484260" r:id="rId4"/>
    <p:sldLayoutId id="2147484261" r:id="rId5"/>
    <p:sldLayoutId id="2147484262" r:id="rId6"/>
    <p:sldLayoutId id="2147484263" r:id="rId7"/>
    <p:sldLayoutId id="2147484264" r:id="rId8"/>
    <p:sldLayoutId id="2147484265" r:id="rId9"/>
    <p:sldLayoutId id="2147484266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87106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68" r:id="rId1"/>
    <p:sldLayoutId id="2147484269" r:id="rId2"/>
    <p:sldLayoutId id="2147484270" r:id="rId3"/>
    <p:sldLayoutId id="2147484271" r:id="rId4"/>
    <p:sldLayoutId id="2147484272" r:id="rId5"/>
    <p:sldLayoutId id="2147484273" r:id="rId6"/>
    <p:sldLayoutId id="2147484274" r:id="rId7"/>
    <p:sldLayoutId id="2147484275" r:id="rId8"/>
    <p:sldLayoutId id="2147484276" r:id="rId9"/>
    <p:sldLayoutId id="2147484277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807938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79" r:id="rId1"/>
    <p:sldLayoutId id="2147484280" r:id="rId2"/>
    <p:sldLayoutId id="2147484281" r:id="rId3"/>
    <p:sldLayoutId id="2147484282" r:id="rId4"/>
    <p:sldLayoutId id="2147484283" r:id="rId5"/>
    <p:sldLayoutId id="2147484284" r:id="rId6"/>
    <p:sldLayoutId id="2147484285" r:id="rId7"/>
    <p:sldLayoutId id="2147484286" r:id="rId8"/>
    <p:sldLayoutId id="2147484287" r:id="rId9"/>
    <p:sldLayoutId id="2147484288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819202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90" r:id="rId1"/>
    <p:sldLayoutId id="2147484291" r:id="rId2"/>
    <p:sldLayoutId id="2147484292" r:id="rId3"/>
    <p:sldLayoutId id="2147484293" r:id="rId4"/>
    <p:sldLayoutId id="2147484294" r:id="rId5"/>
    <p:sldLayoutId id="2147484295" r:id="rId6"/>
    <p:sldLayoutId id="2147484296" r:id="rId7"/>
    <p:sldLayoutId id="2147484297" r:id="rId8"/>
    <p:sldLayoutId id="2147484298" r:id="rId9"/>
    <p:sldLayoutId id="2147484299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830466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01" r:id="rId1"/>
    <p:sldLayoutId id="2147484302" r:id="rId2"/>
    <p:sldLayoutId id="2147484303" r:id="rId3"/>
    <p:sldLayoutId id="2147484304" r:id="rId4"/>
    <p:sldLayoutId id="2147484305" r:id="rId5"/>
    <p:sldLayoutId id="2147484306" r:id="rId6"/>
    <p:sldLayoutId id="2147484307" r:id="rId7"/>
    <p:sldLayoutId id="2147484308" r:id="rId8"/>
    <p:sldLayoutId id="2147484309" r:id="rId9"/>
    <p:sldLayoutId id="2147484310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2" y="0"/>
          <a:ext cx="158751" cy="158750"/>
        </p:xfrm>
        <a:graphic>
          <a:graphicData uri="http://schemas.openxmlformats.org/presentationml/2006/ole">
            <p:oleObj spid="_x0000_s841730" name="think-cell Slide" r:id="rId16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6" y="1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0"/>
            </p:custDataLst>
          </p:nvPr>
        </p:nvSpPr>
        <p:spPr>
          <a:xfrm>
            <a:off x="323397" y="1501978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6741834" y="6623412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/>
            </a:pP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Copyright © Capgemini 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2015. </a:t>
            </a: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All Rights Reserved</a:t>
            </a:r>
          </a:p>
        </p:txBody>
      </p:sp>
      <p:sp>
        <p:nvSpPr>
          <p:cNvPr id="13" name="Rectangle 12"/>
          <p:cNvSpPr/>
          <p:nvPr>
            <p:custDataLst>
              <p:tags r:id="rId12"/>
            </p:custDataLst>
          </p:nvPr>
        </p:nvSpPr>
        <p:spPr>
          <a:xfrm>
            <a:off x="7487925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998C85"/>
                </a:solidFill>
                <a:cs typeface="Arial" charset="0"/>
              </a:rPr>
              <a:t>On boarding Manual | PMBSA Managed Services | </a:t>
            </a:r>
            <a:r>
              <a:rPr lang="en-US" sz="700" dirty="0" smtClean="0">
                <a:solidFill>
                  <a:srgbClr val="998C85"/>
                </a:solidFill>
                <a:cs typeface="Arial" charset="0"/>
              </a:rPr>
              <a:t>| </a:t>
            </a:r>
            <a:r>
              <a:rPr lang="en-US" sz="700" dirty="0">
                <a:solidFill>
                  <a:srgbClr val="998C85"/>
                </a:solidFill>
                <a:cs typeface="Arial" charset="0"/>
              </a:rPr>
              <a:t>Financial Services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158972" y="6443187"/>
            <a:ext cx="1310616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14"/>
            </p:custDataLst>
          </p:nvPr>
        </p:nvCxnSpPr>
        <p:spPr>
          <a:xfrm flipH="1">
            <a:off x="6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Freeform 6"/>
          <p:cNvSpPr>
            <a:spLocks/>
          </p:cNvSpPr>
          <p:nvPr userDrawn="1">
            <p:custDataLst>
              <p:tags r:id="rId15"/>
            </p:custDataLst>
          </p:nvPr>
        </p:nvSpPr>
        <p:spPr bwMode="auto">
          <a:xfrm>
            <a:off x="0" y="0"/>
            <a:ext cx="9906000" cy="1672556"/>
          </a:xfrm>
          <a:custGeom>
            <a:avLst/>
            <a:gdLst/>
            <a:ahLst/>
            <a:cxnLst>
              <a:cxn ang="0">
                <a:pos x="24" y="452"/>
              </a:cxn>
              <a:cxn ang="0">
                <a:pos x="134" y="458"/>
              </a:cxn>
              <a:cxn ang="0">
                <a:pos x="300" y="496"/>
              </a:cxn>
              <a:cxn ang="0">
                <a:pos x="394" y="534"/>
              </a:cxn>
              <a:cxn ang="0">
                <a:pos x="490" y="586"/>
              </a:cxn>
              <a:cxn ang="0">
                <a:pos x="582" y="660"/>
              </a:cxn>
              <a:cxn ang="0">
                <a:pos x="666" y="754"/>
              </a:cxn>
              <a:cxn ang="0">
                <a:pos x="740" y="874"/>
              </a:cxn>
              <a:cxn ang="0">
                <a:pos x="768" y="900"/>
              </a:cxn>
              <a:cxn ang="0">
                <a:pos x="810" y="816"/>
              </a:cxn>
              <a:cxn ang="0">
                <a:pos x="902" y="694"/>
              </a:cxn>
              <a:cxn ang="0">
                <a:pos x="970" y="630"/>
              </a:cxn>
              <a:cxn ang="0">
                <a:pos x="1054" y="570"/>
              </a:cxn>
              <a:cxn ang="0">
                <a:pos x="1154" y="518"/>
              </a:cxn>
              <a:cxn ang="0">
                <a:pos x="1276" y="478"/>
              </a:cxn>
              <a:cxn ang="0">
                <a:pos x="1418" y="456"/>
              </a:cxn>
              <a:cxn ang="0">
                <a:pos x="6030" y="452"/>
              </a:cxn>
              <a:cxn ang="0">
                <a:pos x="6076" y="450"/>
              </a:cxn>
              <a:cxn ang="0">
                <a:pos x="6198" y="430"/>
              </a:cxn>
              <a:cxn ang="0">
                <a:pos x="6334" y="388"/>
              </a:cxn>
              <a:cxn ang="0">
                <a:pos x="6422" y="346"/>
              </a:cxn>
              <a:cxn ang="0">
                <a:pos x="6512" y="288"/>
              </a:cxn>
              <a:cxn ang="0">
                <a:pos x="6596" y="214"/>
              </a:cxn>
              <a:cxn ang="0">
                <a:pos x="6674" y="118"/>
              </a:cxn>
              <a:cxn ang="0">
                <a:pos x="6740" y="0"/>
              </a:cxn>
              <a:cxn ang="0">
                <a:pos x="6734" y="234"/>
              </a:cxn>
              <a:cxn ang="0">
                <a:pos x="6690" y="316"/>
              </a:cxn>
              <a:cxn ang="0">
                <a:pos x="6598" y="434"/>
              </a:cxn>
              <a:cxn ang="0">
                <a:pos x="6532" y="496"/>
              </a:cxn>
              <a:cxn ang="0">
                <a:pos x="6448" y="556"/>
              </a:cxn>
              <a:cxn ang="0">
                <a:pos x="6348" y="608"/>
              </a:cxn>
              <a:cxn ang="0">
                <a:pos x="6230" y="648"/>
              </a:cxn>
              <a:cxn ang="0">
                <a:pos x="6090" y="672"/>
              </a:cxn>
              <a:cxn ang="0">
                <a:pos x="1504" y="680"/>
              </a:cxn>
              <a:cxn ang="0">
                <a:pos x="1452" y="680"/>
              </a:cxn>
              <a:cxn ang="0">
                <a:pos x="1322" y="694"/>
              </a:cxn>
              <a:cxn ang="0">
                <a:pos x="1178" y="736"/>
              </a:cxn>
              <a:cxn ang="0">
                <a:pos x="1086" y="778"/>
              </a:cxn>
              <a:cxn ang="0">
                <a:pos x="992" y="836"/>
              </a:cxn>
              <a:cxn ang="0">
                <a:pos x="904" y="914"/>
              </a:cxn>
              <a:cxn ang="0">
                <a:pos x="826" y="1014"/>
              </a:cxn>
              <a:cxn ang="0">
                <a:pos x="760" y="1138"/>
              </a:cxn>
              <a:cxn ang="0">
                <a:pos x="740" y="1094"/>
              </a:cxn>
              <a:cxn ang="0">
                <a:pos x="672" y="990"/>
              </a:cxn>
              <a:cxn ang="0">
                <a:pos x="576" y="882"/>
              </a:cxn>
              <a:cxn ang="0">
                <a:pos x="496" y="818"/>
              </a:cxn>
              <a:cxn ang="0">
                <a:pos x="400" y="760"/>
              </a:cxn>
              <a:cxn ang="0">
                <a:pos x="286" y="716"/>
              </a:cxn>
              <a:cxn ang="0">
                <a:pos x="154" y="686"/>
              </a:cxn>
              <a:cxn ang="0">
                <a:pos x="0" y="676"/>
              </a:cxn>
            </a:cxnLst>
            <a:rect l="0" t="0" r="r" b="b"/>
            <a:pathLst>
              <a:path w="6740" h="1138">
                <a:moveTo>
                  <a:pt x="0" y="452"/>
                </a:moveTo>
                <a:lnTo>
                  <a:pt x="0" y="452"/>
                </a:lnTo>
                <a:lnTo>
                  <a:pt x="24" y="452"/>
                </a:lnTo>
                <a:lnTo>
                  <a:pt x="52" y="452"/>
                </a:lnTo>
                <a:lnTo>
                  <a:pt x="88" y="454"/>
                </a:lnTo>
                <a:lnTo>
                  <a:pt x="134" y="458"/>
                </a:lnTo>
                <a:lnTo>
                  <a:pt x="184" y="466"/>
                </a:lnTo>
                <a:lnTo>
                  <a:pt x="240" y="478"/>
                </a:lnTo>
                <a:lnTo>
                  <a:pt x="300" y="496"/>
                </a:lnTo>
                <a:lnTo>
                  <a:pt x="330" y="506"/>
                </a:lnTo>
                <a:lnTo>
                  <a:pt x="362" y="518"/>
                </a:lnTo>
                <a:lnTo>
                  <a:pt x="394" y="534"/>
                </a:lnTo>
                <a:lnTo>
                  <a:pt x="426" y="548"/>
                </a:lnTo>
                <a:lnTo>
                  <a:pt x="458" y="566"/>
                </a:lnTo>
                <a:lnTo>
                  <a:pt x="490" y="586"/>
                </a:lnTo>
                <a:lnTo>
                  <a:pt x="520" y="608"/>
                </a:lnTo>
                <a:lnTo>
                  <a:pt x="552" y="632"/>
                </a:lnTo>
                <a:lnTo>
                  <a:pt x="582" y="660"/>
                </a:lnTo>
                <a:lnTo>
                  <a:pt x="610" y="688"/>
                </a:lnTo>
                <a:lnTo>
                  <a:pt x="638" y="720"/>
                </a:lnTo>
                <a:lnTo>
                  <a:pt x="666" y="754"/>
                </a:lnTo>
                <a:lnTo>
                  <a:pt x="692" y="790"/>
                </a:lnTo>
                <a:lnTo>
                  <a:pt x="716" y="830"/>
                </a:lnTo>
                <a:lnTo>
                  <a:pt x="740" y="874"/>
                </a:lnTo>
                <a:lnTo>
                  <a:pt x="760" y="920"/>
                </a:lnTo>
                <a:lnTo>
                  <a:pt x="760" y="920"/>
                </a:lnTo>
                <a:lnTo>
                  <a:pt x="768" y="900"/>
                </a:lnTo>
                <a:lnTo>
                  <a:pt x="776" y="878"/>
                </a:lnTo>
                <a:lnTo>
                  <a:pt x="790" y="850"/>
                </a:lnTo>
                <a:lnTo>
                  <a:pt x="810" y="816"/>
                </a:lnTo>
                <a:lnTo>
                  <a:pt x="834" y="778"/>
                </a:lnTo>
                <a:lnTo>
                  <a:pt x="866" y="736"/>
                </a:lnTo>
                <a:lnTo>
                  <a:pt x="902" y="694"/>
                </a:lnTo>
                <a:lnTo>
                  <a:pt x="922" y="672"/>
                </a:lnTo>
                <a:lnTo>
                  <a:pt x="944" y="652"/>
                </a:lnTo>
                <a:lnTo>
                  <a:pt x="970" y="630"/>
                </a:lnTo>
                <a:lnTo>
                  <a:pt x="996" y="610"/>
                </a:lnTo>
                <a:lnTo>
                  <a:pt x="1024" y="590"/>
                </a:lnTo>
                <a:lnTo>
                  <a:pt x="1054" y="570"/>
                </a:lnTo>
                <a:lnTo>
                  <a:pt x="1084" y="552"/>
                </a:lnTo>
                <a:lnTo>
                  <a:pt x="1118" y="534"/>
                </a:lnTo>
                <a:lnTo>
                  <a:pt x="1154" y="518"/>
                </a:lnTo>
                <a:lnTo>
                  <a:pt x="1192" y="504"/>
                </a:lnTo>
                <a:lnTo>
                  <a:pt x="1234" y="490"/>
                </a:lnTo>
                <a:lnTo>
                  <a:pt x="1276" y="478"/>
                </a:lnTo>
                <a:lnTo>
                  <a:pt x="1320" y="468"/>
                </a:lnTo>
                <a:lnTo>
                  <a:pt x="1368" y="460"/>
                </a:lnTo>
                <a:lnTo>
                  <a:pt x="1418" y="456"/>
                </a:lnTo>
                <a:lnTo>
                  <a:pt x="1470" y="452"/>
                </a:lnTo>
                <a:lnTo>
                  <a:pt x="4218" y="452"/>
                </a:lnTo>
                <a:lnTo>
                  <a:pt x="6030" y="452"/>
                </a:lnTo>
                <a:lnTo>
                  <a:pt x="6030" y="452"/>
                </a:lnTo>
                <a:lnTo>
                  <a:pt x="6052" y="452"/>
                </a:lnTo>
                <a:lnTo>
                  <a:pt x="6076" y="450"/>
                </a:lnTo>
                <a:lnTo>
                  <a:pt x="6110" y="446"/>
                </a:lnTo>
                <a:lnTo>
                  <a:pt x="6152" y="440"/>
                </a:lnTo>
                <a:lnTo>
                  <a:pt x="6198" y="430"/>
                </a:lnTo>
                <a:lnTo>
                  <a:pt x="6250" y="418"/>
                </a:lnTo>
                <a:lnTo>
                  <a:pt x="6306" y="400"/>
                </a:lnTo>
                <a:lnTo>
                  <a:pt x="6334" y="388"/>
                </a:lnTo>
                <a:lnTo>
                  <a:pt x="6364" y="376"/>
                </a:lnTo>
                <a:lnTo>
                  <a:pt x="6392" y="362"/>
                </a:lnTo>
                <a:lnTo>
                  <a:pt x="6422" y="346"/>
                </a:lnTo>
                <a:lnTo>
                  <a:pt x="6452" y="328"/>
                </a:lnTo>
                <a:lnTo>
                  <a:pt x="6482" y="310"/>
                </a:lnTo>
                <a:lnTo>
                  <a:pt x="6512" y="288"/>
                </a:lnTo>
                <a:lnTo>
                  <a:pt x="6540" y="266"/>
                </a:lnTo>
                <a:lnTo>
                  <a:pt x="6568" y="240"/>
                </a:lnTo>
                <a:lnTo>
                  <a:pt x="6596" y="214"/>
                </a:lnTo>
                <a:lnTo>
                  <a:pt x="6624" y="184"/>
                </a:lnTo>
                <a:lnTo>
                  <a:pt x="6650" y="152"/>
                </a:lnTo>
                <a:lnTo>
                  <a:pt x="6674" y="118"/>
                </a:lnTo>
                <a:lnTo>
                  <a:pt x="6698" y="80"/>
                </a:lnTo>
                <a:lnTo>
                  <a:pt x="6720" y="42"/>
                </a:lnTo>
                <a:lnTo>
                  <a:pt x="6740" y="0"/>
                </a:lnTo>
                <a:lnTo>
                  <a:pt x="6740" y="216"/>
                </a:lnTo>
                <a:lnTo>
                  <a:pt x="6740" y="216"/>
                </a:lnTo>
                <a:lnTo>
                  <a:pt x="6734" y="234"/>
                </a:lnTo>
                <a:lnTo>
                  <a:pt x="6724" y="256"/>
                </a:lnTo>
                <a:lnTo>
                  <a:pt x="6708" y="282"/>
                </a:lnTo>
                <a:lnTo>
                  <a:pt x="6690" y="316"/>
                </a:lnTo>
                <a:lnTo>
                  <a:pt x="6666" y="352"/>
                </a:lnTo>
                <a:lnTo>
                  <a:pt x="6634" y="392"/>
                </a:lnTo>
                <a:lnTo>
                  <a:pt x="6598" y="434"/>
                </a:lnTo>
                <a:lnTo>
                  <a:pt x="6578" y="454"/>
                </a:lnTo>
                <a:lnTo>
                  <a:pt x="6556" y="476"/>
                </a:lnTo>
                <a:lnTo>
                  <a:pt x="6532" y="496"/>
                </a:lnTo>
                <a:lnTo>
                  <a:pt x="6506" y="516"/>
                </a:lnTo>
                <a:lnTo>
                  <a:pt x="6478" y="536"/>
                </a:lnTo>
                <a:lnTo>
                  <a:pt x="6448" y="556"/>
                </a:lnTo>
                <a:lnTo>
                  <a:pt x="6416" y="574"/>
                </a:lnTo>
                <a:lnTo>
                  <a:pt x="6384" y="590"/>
                </a:lnTo>
                <a:lnTo>
                  <a:pt x="6348" y="608"/>
                </a:lnTo>
                <a:lnTo>
                  <a:pt x="6310" y="622"/>
                </a:lnTo>
                <a:lnTo>
                  <a:pt x="6272" y="636"/>
                </a:lnTo>
                <a:lnTo>
                  <a:pt x="6230" y="648"/>
                </a:lnTo>
                <a:lnTo>
                  <a:pt x="6186" y="658"/>
                </a:lnTo>
                <a:lnTo>
                  <a:pt x="6140" y="666"/>
                </a:lnTo>
                <a:lnTo>
                  <a:pt x="6090" y="672"/>
                </a:lnTo>
                <a:lnTo>
                  <a:pt x="6040" y="676"/>
                </a:lnTo>
                <a:lnTo>
                  <a:pt x="3338" y="676"/>
                </a:lnTo>
                <a:lnTo>
                  <a:pt x="1504" y="680"/>
                </a:lnTo>
                <a:lnTo>
                  <a:pt x="1504" y="680"/>
                </a:lnTo>
                <a:lnTo>
                  <a:pt x="1480" y="678"/>
                </a:lnTo>
                <a:lnTo>
                  <a:pt x="1452" y="680"/>
                </a:lnTo>
                <a:lnTo>
                  <a:pt x="1416" y="682"/>
                </a:lnTo>
                <a:lnTo>
                  <a:pt x="1372" y="686"/>
                </a:lnTo>
                <a:lnTo>
                  <a:pt x="1322" y="694"/>
                </a:lnTo>
                <a:lnTo>
                  <a:pt x="1268" y="708"/>
                </a:lnTo>
                <a:lnTo>
                  <a:pt x="1208" y="724"/>
                </a:lnTo>
                <a:lnTo>
                  <a:pt x="1178" y="736"/>
                </a:lnTo>
                <a:lnTo>
                  <a:pt x="1148" y="748"/>
                </a:lnTo>
                <a:lnTo>
                  <a:pt x="1116" y="762"/>
                </a:lnTo>
                <a:lnTo>
                  <a:pt x="1086" y="778"/>
                </a:lnTo>
                <a:lnTo>
                  <a:pt x="1054" y="794"/>
                </a:lnTo>
                <a:lnTo>
                  <a:pt x="1024" y="814"/>
                </a:lnTo>
                <a:lnTo>
                  <a:pt x="992" y="836"/>
                </a:lnTo>
                <a:lnTo>
                  <a:pt x="962" y="860"/>
                </a:lnTo>
                <a:lnTo>
                  <a:pt x="934" y="886"/>
                </a:lnTo>
                <a:lnTo>
                  <a:pt x="904" y="914"/>
                </a:lnTo>
                <a:lnTo>
                  <a:pt x="878" y="944"/>
                </a:lnTo>
                <a:lnTo>
                  <a:pt x="850" y="978"/>
                </a:lnTo>
                <a:lnTo>
                  <a:pt x="826" y="1014"/>
                </a:lnTo>
                <a:lnTo>
                  <a:pt x="802" y="1052"/>
                </a:lnTo>
                <a:lnTo>
                  <a:pt x="780" y="1094"/>
                </a:lnTo>
                <a:lnTo>
                  <a:pt x="760" y="1138"/>
                </a:lnTo>
                <a:lnTo>
                  <a:pt x="760" y="1138"/>
                </a:lnTo>
                <a:lnTo>
                  <a:pt x="752" y="1118"/>
                </a:lnTo>
                <a:lnTo>
                  <a:pt x="740" y="1094"/>
                </a:lnTo>
                <a:lnTo>
                  <a:pt x="724" y="1064"/>
                </a:lnTo>
                <a:lnTo>
                  <a:pt x="700" y="1028"/>
                </a:lnTo>
                <a:lnTo>
                  <a:pt x="672" y="990"/>
                </a:lnTo>
                <a:lnTo>
                  <a:pt x="638" y="946"/>
                </a:lnTo>
                <a:lnTo>
                  <a:pt x="598" y="904"/>
                </a:lnTo>
                <a:lnTo>
                  <a:pt x="576" y="882"/>
                </a:lnTo>
                <a:lnTo>
                  <a:pt x="550" y="860"/>
                </a:lnTo>
                <a:lnTo>
                  <a:pt x="524" y="838"/>
                </a:lnTo>
                <a:lnTo>
                  <a:pt x="496" y="818"/>
                </a:lnTo>
                <a:lnTo>
                  <a:pt x="466" y="798"/>
                </a:lnTo>
                <a:lnTo>
                  <a:pt x="434" y="778"/>
                </a:lnTo>
                <a:lnTo>
                  <a:pt x="400" y="760"/>
                </a:lnTo>
                <a:lnTo>
                  <a:pt x="364" y="744"/>
                </a:lnTo>
                <a:lnTo>
                  <a:pt x="326" y="728"/>
                </a:lnTo>
                <a:lnTo>
                  <a:pt x="286" y="716"/>
                </a:lnTo>
                <a:lnTo>
                  <a:pt x="244" y="704"/>
                </a:lnTo>
                <a:lnTo>
                  <a:pt x="200" y="694"/>
                </a:lnTo>
                <a:lnTo>
                  <a:pt x="154" y="686"/>
                </a:lnTo>
                <a:lnTo>
                  <a:pt x="104" y="680"/>
                </a:lnTo>
                <a:lnTo>
                  <a:pt x="54" y="676"/>
                </a:lnTo>
                <a:lnTo>
                  <a:pt x="0" y="676"/>
                </a:lnTo>
                <a:lnTo>
                  <a:pt x="0" y="452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263147"/>
              </a:solidFill>
              <a:latin typeface="Lucida Sans Unicode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839633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2" r:id="rId1"/>
    <p:sldLayoutId id="2147484313" r:id="rId2"/>
    <p:sldLayoutId id="2147484314" r:id="rId3"/>
    <p:sldLayoutId id="2147484316" r:id="rId4"/>
    <p:sldLayoutId id="2147484317" r:id="rId5"/>
    <p:sldLayoutId id="2147484318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848898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20" r:id="rId1"/>
    <p:sldLayoutId id="2147484321" r:id="rId2"/>
    <p:sldLayoutId id="2147484322" r:id="rId3"/>
    <p:sldLayoutId id="2147484323" r:id="rId4"/>
    <p:sldLayoutId id="2147484324" r:id="rId5"/>
    <p:sldLayoutId id="2147484325" r:id="rId6"/>
    <p:sldLayoutId id="2147484326" r:id="rId7"/>
    <p:sldLayoutId id="2147484327" r:id="rId8"/>
    <p:sldLayoutId id="2147484328" r:id="rId9"/>
    <p:sldLayoutId id="2147484329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860162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31" r:id="rId1"/>
    <p:sldLayoutId id="2147484332" r:id="rId2"/>
    <p:sldLayoutId id="2147484333" r:id="rId3"/>
    <p:sldLayoutId id="2147484334" r:id="rId4"/>
    <p:sldLayoutId id="2147484335" r:id="rId5"/>
    <p:sldLayoutId id="2147484336" r:id="rId6"/>
    <p:sldLayoutId id="2147484337" r:id="rId7"/>
    <p:sldLayoutId id="2147484338" r:id="rId8"/>
    <p:sldLayoutId id="2147484339" r:id="rId9"/>
    <p:sldLayoutId id="2147484340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871426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42" r:id="rId1"/>
    <p:sldLayoutId id="2147484343" r:id="rId2"/>
    <p:sldLayoutId id="2147484344" r:id="rId3"/>
    <p:sldLayoutId id="2147484345" r:id="rId4"/>
    <p:sldLayoutId id="2147484346" r:id="rId5"/>
    <p:sldLayoutId id="2147484347" r:id="rId6"/>
    <p:sldLayoutId id="2147484348" r:id="rId7"/>
    <p:sldLayoutId id="2147484349" r:id="rId8"/>
    <p:sldLayoutId id="2147484350" r:id="rId9"/>
    <p:sldLayoutId id="2147484351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600204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9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F937210F-469A-4481-AA81-8A512020E24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12/8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59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Advance Java - SERVLETS.pptx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59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EE649866-578F-4F06-9D4B-6BC4D778709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74" r:id="rId3"/>
    <p:sldLayoutId id="2147483975" r:id="rId4"/>
    <p:sldLayoutId id="2147483976" r:id="rId5"/>
    <p:sldLayoutId id="2147483977" r:id="rId6"/>
    <p:sldLayoutId id="2147483978" r:id="rId7"/>
    <p:sldLayoutId id="2147483979" r:id="rId8"/>
    <p:sldLayoutId id="2147483980" r:id="rId9"/>
    <p:sldLayoutId id="2147483981" r:id="rId10"/>
    <p:sldLayoutId id="2147483982" r:id="rId11"/>
    <p:sldLayoutId id="2147483983" r:id="rId12"/>
    <p:sldLayoutId id="2147483984" r:id="rId13"/>
    <p:sldLayoutId id="2147483985" r:id="rId14"/>
    <p:sldLayoutId id="2147483986" r:id="rId15"/>
    <p:sldLayoutId id="2147483987" r:id="rId16"/>
    <p:sldLayoutId id="2147483988" r:id="rId17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882690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53" r:id="rId1"/>
    <p:sldLayoutId id="2147484354" r:id="rId2"/>
    <p:sldLayoutId id="2147484355" r:id="rId3"/>
    <p:sldLayoutId id="2147484356" r:id="rId4"/>
    <p:sldLayoutId id="2147484357" r:id="rId5"/>
    <p:sldLayoutId id="2147484358" r:id="rId6"/>
    <p:sldLayoutId id="2147484359" r:id="rId7"/>
    <p:sldLayoutId id="2147484360" r:id="rId8"/>
    <p:sldLayoutId id="2147484361" r:id="rId9"/>
    <p:sldLayoutId id="2147484362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893954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64" r:id="rId1"/>
    <p:sldLayoutId id="2147484365" r:id="rId2"/>
    <p:sldLayoutId id="2147484366" r:id="rId3"/>
    <p:sldLayoutId id="2147484367" r:id="rId4"/>
    <p:sldLayoutId id="2147484368" r:id="rId5"/>
    <p:sldLayoutId id="2147484369" r:id="rId6"/>
    <p:sldLayoutId id="2147484370" r:id="rId7"/>
    <p:sldLayoutId id="2147484371" r:id="rId8"/>
    <p:sldLayoutId id="2147484372" r:id="rId9"/>
    <p:sldLayoutId id="2147484373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05218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75" r:id="rId1"/>
    <p:sldLayoutId id="2147484376" r:id="rId2"/>
    <p:sldLayoutId id="2147484377" r:id="rId3"/>
    <p:sldLayoutId id="2147484378" r:id="rId4"/>
    <p:sldLayoutId id="2147484379" r:id="rId5"/>
    <p:sldLayoutId id="2147484380" r:id="rId6"/>
    <p:sldLayoutId id="2147484381" r:id="rId7"/>
    <p:sldLayoutId id="2147484382" r:id="rId8"/>
    <p:sldLayoutId id="2147484383" r:id="rId9"/>
    <p:sldLayoutId id="2147484384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16482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86" r:id="rId1"/>
    <p:sldLayoutId id="2147484387" r:id="rId2"/>
    <p:sldLayoutId id="2147484388" r:id="rId3"/>
    <p:sldLayoutId id="2147484389" r:id="rId4"/>
    <p:sldLayoutId id="2147484390" r:id="rId5"/>
    <p:sldLayoutId id="2147484391" r:id="rId6"/>
    <p:sldLayoutId id="2147484392" r:id="rId7"/>
    <p:sldLayoutId id="2147484393" r:id="rId8"/>
    <p:sldLayoutId id="2147484394" r:id="rId9"/>
    <p:sldLayoutId id="2147484395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27746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97" r:id="rId1"/>
    <p:sldLayoutId id="2147484398" r:id="rId2"/>
    <p:sldLayoutId id="2147484399" r:id="rId3"/>
    <p:sldLayoutId id="2147484400" r:id="rId4"/>
    <p:sldLayoutId id="2147484401" r:id="rId5"/>
    <p:sldLayoutId id="2147484402" r:id="rId6"/>
    <p:sldLayoutId id="2147484403" r:id="rId7"/>
    <p:sldLayoutId id="2147484404" r:id="rId8"/>
    <p:sldLayoutId id="2147484405" r:id="rId9"/>
    <p:sldLayoutId id="2147484406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39010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08" r:id="rId1"/>
    <p:sldLayoutId id="2147484409" r:id="rId2"/>
    <p:sldLayoutId id="2147484410" r:id="rId3"/>
    <p:sldLayoutId id="2147484411" r:id="rId4"/>
    <p:sldLayoutId id="2147484412" r:id="rId5"/>
    <p:sldLayoutId id="2147484413" r:id="rId6"/>
    <p:sldLayoutId id="2147484414" r:id="rId7"/>
    <p:sldLayoutId id="2147484415" r:id="rId8"/>
    <p:sldLayoutId id="2147484416" r:id="rId9"/>
    <p:sldLayoutId id="2147484417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089538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19" r:id="rId1"/>
    <p:sldLayoutId id="2147484420" r:id="rId2"/>
    <p:sldLayoutId id="2147484421" r:id="rId3"/>
    <p:sldLayoutId id="2147484422" r:id="rId4"/>
    <p:sldLayoutId id="2147484423" r:id="rId5"/>
    <p:sldLayoutId id="2147484424" r:id="rId6"/>
    <p:sldLayoutId id="2147484425" r:id="rId7"/>
    <p:sldLayoutId id="2147484426" r:id="rId8"/>
    <p:sldLayoutId id="2147484427" r:id="rId9"/>
    <p:sldLayoutId id="2147484428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100802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30" r:id="rId1"/>
    <p:sldLayoutId id="2147484431" r:id="rId2"/>
    <p:sldLayoutId id="2147484432" r:id="rId3"/>
    <p:sldLayoutId id="2147484433" r:id="rId4"/>
    <p:sldLayoutId id="2147484434" r:id="rId5"/>
    <p:sldLayoutId id="2147484435" r:id="rId6"/>
    <p:sldLayoutId id="2147484436" r:id="rId7"/>
    <p:sldLayoutId id="2147484437" r:id="rId8"/>
    <p:sldLayoutId id="2147484438" r:id="rId9"/>
    <p:sldLayoutId id="2147484439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112066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41" r:id="rId1"/>
    <p:sldLayoutId id="2147484442" r:id="rId2"/>
    <p:sldLayoutId id="2147484443" r:id="rId3"/>
    <p:sldLayoutId id="2147484444" r:id="rId4"/>
    <p:sldLayoutId id="2147484445" r:id="rId5"/>
    <p:sldLayoutId id="2147484446" r:id="rId6"/>
    <p:sldLayoutId id="2147484447" r:id="rId7"/>
    <p:sldLayoutId id="2147484448" r:id="rId8"/>
    <p:sldLayoutId id="2147484449" r:id="rId9"/>
    <p:sldLayoutId id="2147484450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123330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52" r:id="rId1"/>
    <p:sldLayoutId id="2147484453" r:id="rId2"/>
    <p:sldLayoutId id="2147484454" r:id="rId3"/>
    <p:sldLayoutId id="2147484455" r:id="rId4"/>
    <p:sldLayoutId id="2147484456" r:id="rId5"/>
    <p:sldLayoutId id="2147484457" r:id="rId6"/>
    <p:sldLayoutId id="2147484458" r:id="rId7"/>
    <p:sldLayoutId id="2147484459" r:id="rId8"/>
    <p:sldLayoutId id="2147484460" r:id="rId9"/>
    <p:sldLayoutId id="2147484461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56002" name="think-cell Slide" r:id="rId20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7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>
          <a:xfrm>
            <a:off x="323398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4"/>
            </p:custDataLst>
          </p:nvPr>
        </p:nvSpPr>
        <p:spPr>
          <a:xfrm>
            <a:off x="9567497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8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6741834" y="6623415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Capgemini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7"/>
            </p:custDataLst>
          </p:nvPr>
        </p:nvSpPr>
        <p:spPr>
          <a:xfrm>
            <a:off x="7487926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omerica Card Services SOA Solution | February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19"/>
            </p:custDataLst>
          </p:nvPr>
        </p:nvCxnSpPr>
        <p:spPr>
          <a:xfrm flipH="1">
            <a:off x="8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90" r:id="rId1"/>
    <p:sldLayoutId id="2147483991" r:id="rId2"/>
    <p:sldLayoutId id="2147483992" r:id="rId3"/>
    <p:sldLayoutId id="2147483993" r:id="rId4"/>
    <p:sldLayoutId id="2147483994" r:id="rId5"/>
    <p:sldLayoutId id="2147483995" r:id="rId6"/>
    <p:sldLayoutId id="2147483996" r:id="rId7"/>
    <p:sldLayoutId id="2147483997" r:id="rId8"/>
    <p:sldLayoutId id="2147483998" r:id="rId9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251330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63" r:id="rId1"/>
    <p:sldLayoutId id="2147484464" r:id="rId2"/>
    <p:sldLayoutId id="2147484465" r:id="rId3"/>
    <p:sldLayoutId id="2147484466" r:id="rId4"/>
    <p:sldLayoutId id="2147484467" r:id="rId5"/>
    <p:sldLayoutId id="2147484468" r:id="rId6"/>
    <p:sldLayoutId id="2147484469" r:id="rId7"/>
    <p:sldLayoutId id="2147484470" r:id="rId8"/>
    <p:sldLayoutId id="2147484471" r:id="rId9"/>
    <p:sldLayoutId id="2147484472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262594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74" r:id="rId1"/>
    <p:sldLayoutId id="2147484475" r:id="rId2"/>
    <p:sldLayoutId id="2147484476" r:id="rId3"/>
    <p:sldLayoutId id="2147484477" r:id="rId4"/>
    <p:sldLayoutId id="2147484478" r:id="rId5"/>
    <p:sldLayoutId id="2147484479" r:id="rId6"/>
    <p:sldLayoutId id="2147484480" r:id="rId7"/>
    <p:sldLayoutId id="2147484481" r:id="rId8"/>
    <p:sldLayoutId id="2147484482" r:id="rId9"/>
    <p:sldLayoutId id="2147484483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2" y="0"/>
          <a:ext cx="158751" cy="158750"/>
        </p:xfrm>
        <a:graphic>
          <a:graphicData uri="http://schemas.openxmlformats.org/presentationml/2006/ole">
            <p:oleObj spid="_x0000_s1381378" name="think-cell Slide" r:id="rId17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6" y="1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23397" y="1501978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741834" y="6623412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/>
            </a:pP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Copyright © Capgemini 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2015. </a:t>
            </a: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All Rights Reserved</a:t>
            </a:r>
          </a:p>
        </p:txBody>
      </p:sp>
      <p:sp>
        <p:nvSpPr>
          <p:cNvPr id="13" name="Rectangle 12"/>
          <p:cNvSpPr/>
          <p:nvPr>
            <p:custDataLst>
              <p:tags r:id="rId13"/>
            </p:custDataLst>
          </p:nvPr>
        </p:nvSpPr>
        <p:spPr>
          <a:xfrm>
            <a:off x="7487925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998C85"/>
                </a:solidFill>
                <a:cs typeface="Arial" charset="0"/>
              </a:rPr>
              <a:t>On boarding Manual | PMBSA Managed Services | </a:t>
            </a:r>
            <a:r>
              <a:rPr lang="en-US" sz="700" dirty="0" smtClean="0">
                <a:solidFill>
                  <a:srgbClr val="998C85"/>
                </a:solidFill>
                <a:cs typeface="Arial" charset="0"/>
              </a:rPr>
              <a:t>| </a:t>
            </a:r>
            <a:r>
              <a:rPr lang="en-US" sz="700" dirty="0">
                <a:solidFill>
                  <a:srgbClr val="998C85"/>
                </a:solidFill>
                <a:cs typeface="Arial" charset="0"/>
              </a:rPr>
              <a:t>Financial Services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18" cstate="email"/>
          <a:srcRect/>
          <a:stretch>
            <a:fillRect/>
          </a:stretch>
        </p:blipFill>
        <p:spPr bwMode="auto">
          <a:xfrm>
            <a:off x="158972" y="6443187"/>
            <a:ext cx="1310616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6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Freeform 6"/>
          <p:cNvSpPr>
            <a:spLocks/>
          </p:cNvSpPr>
          <p:nvPr userDrawn="1">
            <p:custDataLst>
              <p:tags r:id="rId16"/>
            </p:custDataLst>
          </p:nvPr>
        </p:nvSpPr>
        <p:spPr bwMode="auto">
          <a:xfrm>
            <a:off x="0" y="0"/>
            <a:ext cx="9906000" cy="1672556"/>
          </a:xfrm>
          <a:custGeom>
            <a:avLst/>
            <a:gdLst/>
            <a:ahLst/>
            <a:cxnLst>
              <a:cxn ang="0">
                <a:pos x="24" y="452"/>
              </a:cxn>
              <a:cxn ang="0">
                <a:pos x="134" y="458"/>
              </a:cxn>
              <a:cxn ang="0">
                <a:pos x="300" y="496"/>
              </a:cxn>
              <a:cxn ang="0">
                <a:pos x="394" y="534"/>
              </a:cxn>
              <a:cxn ang="0">
                <a:pos x="490" y="586"/>
              </a:cxn>
              <a:cxn ang="0">
                <a:pos x="582" y="660"/>
              </a:cxn>
              <a:cxn ang="0">
                <a:pos x="666" y="754"/>
              </a:cxn>
              <a:cxn ang="0">
                <a:pos x="740" y="874"/>
              </a:cxn>
              <a:cxn ang="0">
                <a:pos x="768" y="900"/>
              </a:cxn>
              <a:cxn ang="0">
                <a:pos x="810" y="816"/>
              </a:cxn>
              <a:cxn ang="0">
                <a:pos x="902" y="694"/>
              </a:cxn>
              <a:cxn ang="0">
                <a:pos x="970" y="630"/>
              </a:cxn>
              <a:cxn ang="0">
                <a:pos x="1054" y="570"/>
              </a:cxn>
              <a:cxn ang="0">
                <a:pos x="1154" y="518"/>
              </a:cxn>
              <a:cxn ang="0">
                <a:pos x="1276" y="478"/>
              </a:cxn>
              <a:cxn ang="0">
                <a:pos x="1418" y="456"/>
              </a:cxn>
              <a:cxn ang="0">
                <a:pos x="6030" y="452"/>
              </a:cxn>
              <a:cxn ang="0">
                <a:pos x="6076" y="450"/>
              </a:cxn>
              <a:cxn ang="0">
                <a:pos x="6198" y="430"/>
              </a:cxn>
              <a:cxn ang="0">
                <a:pos x="6334" y="388"/>
              </a:cxn>
              <a:cxn ang="0">
                <a:pos x="6422" y="346"/>
              </a:cxn>
              <a:cxn ang="0">
                <a:pos x="6512" y="288"/>
              </a:cxn>
              <a:cxn ang="0">
                <a:pos x="6596" y="214"/>
              </a:cxn>
              <a:cxn ang="0">
                <a:pos x="6674" y="118"/>
              </a:cxn>
              <a:cxn ang="0">
                <a:pos x="6740" y="0"/>
              </a:cxn>
              <a:cxn ang="0">
                <a:pos x="6734" y="234"/>
              </a:cxn>
              <a:cxn ang="0">
                <a:pos x="6690" y="316"/>
              </a:cxn>
              <a:cxn ang="0">
                <a:pos x="6598" y="434"/>
              </a:cxn>
              <a:cxn ang="0">
                <a:pos x="6532" y="496"/>
              </a:cxn>
              <a:cxn ang="0">
                <a:pos x="6448" y="556"/>
              </a:cxn>
              <a:cxn ang="0">
                <a:pos x="6348" y="608"/>
              </a:cxn>
              <a:cxn ang="0">
                <a:pos x="6230" y="648"/>
              </a:cxn>
              <a:cxn ang="0">
                <a:pos x="6090" y="672"/>
              </a:cxn>
              <a:cxn ang="0">
                <a:pos x="1504" y="680"/>
              </a:cxn>
              <a:cxn ang="0">
                <a:pos x="1452" y="680"/>
              </a:cxn>
              <a:cxn ang="0">
                <a:pos x="1322" y="694"/>
              </a:cxn>
              <a:cxn ang="0">
                <a:pos x="1178" y="736"/>
              </a:cxn>
              <a:cxn ang="0">
                <a:pos x="1086" y="778"/>
              </a:cxn>
              <a:cxn ang="0">
                <a:pos x="992" y="836"/>
              </a:cxn>
              <a:cxn ang="0">
                <a:pos x="904" y="914"/>
              </a:cxn>
              <a:cxn ang="0">
                <a:pos x="826" y="1014"/>
              </a:cxn>
              <a:cxn ang="0">
                <a:pos x="760" y="1138"/>
              </a:cxn>
              <a:cxn ang="0">
                <a:pos x="740" y="1094"/>
              </a:cxn>
              <a:cxn ang="0">
                <a:pos x="672" y="990"/>
              </a:cxn>
              <a:cxn ang="0">
                <a:pos x="576" y="882"/>
              </a:cxn>
              <a:cxn ang="0">
                <a:pos x="496" y="818"/>
              </a:cxn>
              <a:cxn ang="0">
                <a:pos x="400" y="760"/>
              </a:cxn>
              <a:cxn ang="0">
                <a:pos x="286" y="716"/>
              </a:cxn>
              <a:cxn ang="0">
                <a:pos x="154" y="686"/>
              </a:cxn>
              <a:cxn ang="0">
                <a:pos x="0" y="676"/>
              </a:cxn>
            </a:cxnLst>
            <a:rect l="0" t="0" r="r" b="b"/>
            <a:pathLst>
              <a:path w="6740" h="1138">
                <a:moveTo>
                  <a:pt x="0" y="452"/>
                </a:moveTo>
                <a:lnTo>
                  <a:pt x="0" y="452"/>
                </a:lnTo>
                <a:lnTo>
                  <a:pt x="24" y="452"/>
                </a:lnTo>
                <a:lnTo>
                  <a:pt x="52" y="452"/>
                </a:lnTo>
                <a:lnTo>
                  <a:pt x="88" y="454"/>
                </a:lnTo>
                <a:lnTo>
                  <a:pt x="134" y="458"/>
                </a:lnTo>
                <a:lnTo>
                  <a:pt x="184" y="466"/>
                </a:lnTo>
                <a:lnTo>
                  <a:pt x="240" y="478"/>
                </a:lnTo>
                <a:lnTo>
                  <a:pt x="300" y="496"/>
                </a:lnTo>
                <a:lnTo>
                  <a:pt x="330" y="506"/>
                </a:lnTo>
                <a:lnTo>
                  <a:pt x="362" y="518"/>
                </a:lnTo>
                <a:lnTo>
                  <a:pt x="394" y="534"/>
                </a:lnTo>
                <a:lnTo>
                  <a:pt x="426" y="548"/>
                </a:lnTo>
                <a:lnTo>
                  <a:pt x="458" y="566"/>
                </a:lnTo>
                <a:lnTo>
                  <a:pt x="490" y="586"/>
                </a:lnTo>
                <a:lnTo>
                  <a:pt x="520" y="608"/>
                </a:lnTo>
                <a:lnTo>
                  <a:pt x="552" y="632"/>
                </a:lnTo>
                <a:lnTo>
                  <a:pt x="582" y="660"/>
                </a:lnTo>
                <a:lnTo>
                  <a:pt x="610" y="688"/>
                </a:lnTo>
                <a:lnTo>
                  <a:pt x="638" y="720"/>
                </a:lnTo>
                <a:lnTo>
                  <a:pt x="666" y="754"/>
                </a:lnTo>
                <a:lnTo>
                  <a:pt x="692" y="790"/>
                </a:lnTo>
                <a:lnTo>
                  <a:pt x="716" y="830"/>
                </a:lnTo>
                <a:lnTo>
                  <a:pt x="740" y="874"/>
                </a:lnTo>
                <a:lnTo>
                  <a:pt x="760" y="920"/>
                </a:lnTo>
                <a:lnTo>
                  <a:pt x="760" y="920"/>
                </a:lnTo>
                <a:lnTo>
                  <a:pt x="768" y="900"/>
                </a:lnTo>
                <a:lnTo>
                  <a:pt x="776" y="878"/>
                </a:lnTo>
                <a:lnTo>
                  <a:pt x="790" y="850"/>
                </a:lnTo>
                <a:lnTo>
                  <a:pt x="810" y="816"/>
                </a:lnTo>
                <a:lnTo>
                  <a:pt x="834" y="778"/>
                </a:lnTo>
                <a:lnTo>
                  <a:pt x="866" y="736"/>
                </a:lnTo>
                <a:lnTo>
                  <a:pt x="902" y="694"/>
                </a:lnTo>
                <a:lnTo>
                  <a:pt x="922" y="672"/>
                </a:lnTo>
                <a:lnTo>
                  <a:pt x="944" y="652"/>
                </a:lnTo>
                <a:lnTo>
                  <a:pt x="970" y="630"/>
                </a:lnTo>
                <a:lnTo>
                  <a:pt x="996" y="610"/>
                </a:lnTo>
                <a:lnTo>
                  <a:pt x="1024" y="590"/>
                </a:lnTo>
                <a:lnTo>
                  <a:pt x="1054" y="570"/>
                </a:lnTo>
                <a:lnTo>
                  <a:pt x="1084" y="552"/>
                </a:lnTo>
                <a:lnTo>
                  <a:pt x="1118" y="534"/>
                </a:lnTo>
                <a:lnTo>
                  <a:pt x="1154" y="518"/>
                </a:lnTo>
                <a:lnTo>
                  <a:pt x="1192" y="504"/>
                </a:lnTo>
                <a:lnTo>
                  <a:pt x="1234" y="490"/>
                </a:lnTo>
                <a:lnTo>
                  <a:pt x="1276" y="478"/>
                </a:lnTo>
                <a:lnTo>
                  <a:pt x="1320" y="468"/>
                </a:lnTo>
                <a:lnTo>
                  <a:pt x="1368" y="460"/>
                </a:lnTo>
                <a:lnTo>
                  <a:pt x="1418" y="456"/>
                </a:lnTo>
                <a:lnTo>
                  <a:pt x="1470" y="452"/>
                </a:lnTo>
                <a:lnTo>
                  <a:pt x="4218" y="452"/>
                </a:lnTo>
                <a:lnTo>
                  <a:pt x="6030" y="452"/>
                </a:lnTo>
                <a:lnTo>
                  <a:pt x="6030" y="452"/>
                </a:lnTo>
                <a:lnTo>
                  <a:pt x="6052" y="452"/>
                </a:lnTo>
                <a:lnTo>
                  <a:pt x="6076" y="450"/>
                </a:lnTo>
                <a:lnTo>
                  <a:pt x="6110" y="446"/>
                </a:lnTo>
                <a:lnTo>
                  <a:pt x="6152" y="440"/>
                </a:lnTo>
                <a:lnTo>
                  <a:pt x="6198" y="430"/>
                </a:lnTo>
                <a:lnTo>
                  <a:pt x="6250" y="418"/>
                </a:lnTo>
                <a:lnTo>
                  <a:pt x="6306" y="400"/>
                </a:lnTo>
                <a:lnTo>
                  <a:pt x="6334" y="388"/>
                </a:lnTo>
                <a:lnTo>
                  <a:pt x="6364" y="376"/>
                </a:lnTo>
                <a:lnTo>
                  <a:pt x="6392" y="362"/>
                </a:lnTo>
                <a:lnTo>
                  <a:pt x="6422" y="346"/>
                </a:lnTo>
                <a:lnTo>
                  <a:pt x="6452" y="328"/>
                </a:lnTo>
                <a:lnTo>
                  <a:pt x="6482" y="310"/>
                </a:lnTo>
                <a:lnTo>
                  <a:pt x="6512" y="288"/>
                </a:lnTo>
                <a:lnTo>
                  <a:pt x="6540" y="266"/>
                </a:lnTo>
                <a:lnTo>
                  <a:pt x="6568" y="240"/>
                </a:lnTo>
                <a:lnTo>
                  <a:pt x="6596" y="214"/>
                </a:lnTo>
                <a:lnTo>
                  <a:pt x="6624" y="184"/>
                </a:lnTo>
                <a:lnTo>
                  <a:pt x="6650" y="152"/>
                </a:lnTo>
                <a:lnTo>
                  <a:pt x="6674" y="118"/>
                </a:lnTo>
                <a:lnTo>
                  <a:pt x="6698" y="80"/>
                </a:lnTo>
                <a:lnTo>
                  <a:pt x="6720" y="42"/>
                </a:lnTo>
                <a:lnTo>
                  <a:pt x="6740" y="0"/>
                </a:lnTo>
                <a:lnTo>
                  <a:pt x="6740" y="216"/>
                </a:lnTo>
                <a:lnTo>
                  <a:pt x="6740" y="216"/>
                </a:lnTo>
                <a:lnTo>
                  <a:pt x="6734" y="234"/>
                </a:lnTo>
                <a:lnTo>
                  <a:pt x="6724" y="256"/>
                </a:lnTo>
                <a:lnTo>
                  <a:pt x="6708" y="282"/>
                </a:lnTo>
                <a:lnTo>
                  <a:pt x="6690" y="316"/>
                </a:lnTo>
                <a:lnTo>
                  <a:pt x="6666" y="352"/>
                </a:lnTo>
                <a:lnTo>
                  <a:pt x="6634" y="392"/>
                </a:lnTo>
                <a:lnTo>
                  <a:pt x="6598" y="434"/>
                </a:lnTo>
                <a:lnTo>
                  <a:pt x="6578" y="454"/>
                </a:lnTo>
                <a:lnTo>
                  <a:pt x="6556" y="476"/>
                </a:lnTo>
                <a:lnTo>
                  <a:pt x="6532" y="496"/>
                </a:lnTo>
                <a:lnTo>
                  <a:pt x="6506" y="516"/>
                </a:lnTo>
                <a:lnTo>
                  <a:pt x="6478" y="536"/>
                </a:lnTo>
                <a:lnTo>
                  <a:pt x="6448" y="556"/>
                </a:lnTo>
                <a:lnTo>
                  <a:pt x="6416" y="574"/>
                </a:lnTo>
                <a:lnTo>
                  <a:pt x="6384" y="590"/>
                </a:lnTo>
                <a:lnTo>
                  <a:pt x="6348" y="608"/>
                </a:lnTo>
                <a:lnTo>
                  <a:pt x="6310" y="622"/>
                </a:lnTo>
                <a:lnTo>
                  <a:pt x="6272" y="636"/>
                </a:lnTo>
                <a:lnTo>
                  <a:pt x="6230" y="648"/>
                </a:lnTo>
                <a:lnTo>
                  <a:pt x="6186" y="658"/>
                </a:lnTo>
                <a:lnTo>
                  <a:pt x="6140" y="666"/>
                </a:lnTo>
                <a:lnTo>
                  <a:pt x="6090" y="672"/>
                </a:lnTo>
                <a:lnTo>
                  <a:pt x="6040" y="676"/>
                </a:lnTo>
                <a:lnTo>
                  <a:pt x="3338" y="676"/>
                </a:lnTo>
                <a:lnTo>
                  <a:pt x="1504" y="680"/>
                </a:lnTo>
                <a:lnTo>
                  <a:pt x="1504" y="680"/>
                </a:lnTo>
                <a:lnTo>
                  <a:pt x="1480" y="678"/>
                </a:lnTo>
                <a:lnTo>
                  <a:pt x="1452" y="680"/>
                </a:lnTo>
                <a:lnTo>
                  <a:pt x="1416" y="682"/>
                </a:lnTo>
                <a:lnTo>
                  <a:pt x="1372" y="686"/>
                </a:lnTo>
                <a:lnTo>
                  <a:pt x="1322" y="694"/>
                </a:lnTo>
                <a:lnTo>
                  <a:pt x="1268" y="708"/>
                </a:lnTo>
                <a:lnTo>
                  <a:pt x="1208" y="724"/>
                </a:lnTo>
                <a:lnTo>
                  <a:pt x="1178" y="736"/>
                </a:lnTo>
                <a:lnTo>
                  <a:pt x="1148" y="748"/>
                </a:lnTo>
                <a:lnTo>
                  <a:pt x="1116" y="762"/>
                </a:lnTo>
                <a:lnTo>
                  <a:pt x="1086" y="778"/>
                </a:lnTo>
                <a:lnTo>
                  <a:pt x="1054" y="794"/>
                </a:lnTo>
                <a:lnTo>
                  <a:pt x="1024" y="814"/>
                </a:lnTo>
                <a:lnTo>
                  <a:pt x="992" y="836"/>
                </a:lnTo>
                <a:lnTo>
                  <a:pt x="962" y="860"/>
                </a:lnTo>
                <a:lnTo>
                  <a:pt x="934" y="886"/>
                </a:lnTo>
                <a:lnTo>
                  <a:pt x="904" y="914"/>
                </a:lnTo>
                <a:lnTo>
                  <a:pt x="878" y="944"/>
                </a:lnTo>
                <a:lnTo>
                  <a:pt x="850" y="978"/>
                </a:lnTo>
                <a:lnTo>
                  <a:pt x="826" y="1014"/>
                </a:lnTo>
                <a:lnTo>
                  <a:pt x="802" y="1052"/>
                </a:lnTo>
                <a:lnTo>
                  <a:pt x="780" y="1094"/>
                </a:lnTo>
                <a:lnTo>
                  <a:pt x="760" y="1138"/>
                </a:lnTo>
                <a:lnTo>
                  <a:pt x="760" y="1138"/>
                </a:lnTo>
                <a:lnTo>
                  <a:pt x="752" y="1118"/>
                </a:lnTo>
                <a:lnTo>
                  <a:pt x="740" y="1094"/>
                </a:lnTo>
                <a:lnTo>
                  <a:pt x="724" y="1064"/>
                </a:lnTo>
                <a:lnTo>
                  <a:pt x="700" y="1028"/>
                </a:lnTo>
                <a:lnTo>
                  <a:pt x="672" y="990"/>
                </a:lnTo>
                <a:lnTo>
                  <a:pt x="638" y="946"/>
                </a:lnTo>
                <a:lnTo>
                  <a:pt x="598" y="904"/>
                </a:lnTo>
                <a:lnTo>
                  <a:pt x="576" y="882"/>
                </a:lnTo>
                <a:lnTo>
                  <a:pt x="550" y="860"/>
                </a:lnTo>
                <a:lnTo>
                  <a:pt x="524" y="838"/>
                </a:lnTo>
                <a:lnTo>
                  <a:pt x="496" y="818"/>
                </a:lnTo>
                <a:lnTo>
                  <a:pt x="466" y="798"/>
                </a:lnTo>
                <a:lnTo>
                  <a:pt x="434" y="778"/>
                </a:lnTo>
                <a:lnTo>
                  <a:pt x="400" y="760"/>
                </a:lnTo>
                <a:lnTo>
                  <a:pt x="364" y="744"/>
                </a:lnTo>
                <a:lnTo>
                  <a:pt x="326" y="728"/>
                </a:lnTo>
                <a:lnTo>
                  <a:pt x="286" y="716"/>
                </a:lnTo>
                <a:lnTo>
                  <a:pt x="244" y="704"/>
                </a:lnTo>
                <a:lnTo>
                  <a:pt x="200" y="694"/>
                </a:lnTo>
                <a:lnTo>
                  <a:pt x="154" y="686"/>
                </a:lnTo>
                <a:lnTo>
                  <a:pt x="104" y="680"/>
                </a:lnTo>
                <a:lnTo>
                  <a:pt x="54" y="676"/>
                </a:lnTo>
                <a:lnTo>
                  <a:pt x="0" y="676"/>
                </a:lnTo>
                <a:lnTo>
                  <a:pt x="0" y="452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263147"/>
              </a:solidFill>
              <a:latin typeface="Lucida Sans Unicode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839633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5" r:id="rId1"/>
    <p:sldLayoutId id="2147484486" r:id="rId2"/>
    <p:sldLayoutId id="2147484487" r:id="rId3"/>
    <p:sldLayoutId id="2147484488" r:id="rId4"/>
    <p:sldLayoutId id="2147484489" r:id="rId5"/>
    <p:sldLayoutId id="2147484490" r:id="rId6"/>
    <p:sldLayoutId id="2147484491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387522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93" r:id="rId1"/>
    <p:sldLayoutId id="2147484494" r:id="rId2"/>
    <p:sldLayoutId id="2147484495" r:id="rId3"/>
    <p:sldLayoutId id="2147484496" r:id="rId4"/>
    <p:sldLayoutId id="2147484497" r:id="rId5"/>
    <p:sldLayoutId id="2147484498" r:id="rId6"/>
    <p:sldLayoutId id="2147484499" r:id="rId7"/>
    <p:sldLayoutId id="2147484500" r:id="rId8"/>
    <p:sldLayoutId id="2147484501" r:id="rId9"/>
    <p:sldLayoutId id="2147484502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398786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04" r:id="rId1"/>
    <p:sldLayoutId id="2147484505" r:id="rId2"/>
    <p:sldLayoutId id="2147484506" r:id="rId3"/>
    <p:sldLayoutId id="2147484507" r:id="rId4"/>
    <p:sldLayoutId id="2147484508" r:id="rId5"/>
    <p:sldLayoutId id="2147484509" r:id="rId6"/>
    <p:sldLayoutId id="2147484510" r:id="rId7"/>
    <p:sldLayoutId id="2147484511" r:id="rId8"/>
    <p:sldLayoutId id="2147484512" r:id="rId9"/>
    <p:sldLayoutId id="2147484513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417218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15" r:id="rId1"/>
    <p:sldLayoutId id="2147484516" r:id="rId2"/>
    <p:sldLayoutId id="2147484517" r:id="rId3"/>
    <p:sldLayoutId id="2147484518" r:id="rId4"/>
    <p:sldLayoutId id="2147484519" r:id="rId5"/>
    <p:sldLayoutId id="2147484520" r:id="rId6"/>
    <p:sldLayoutId id="2147484521" r:id="rId7"/>
    <p:sldLayoutId id="2147484522" r:id="rId8"/>
    <p:sldLayoutId id="2147484523" r:id="rId9"/>
    <p:sldLayoutId id="2147484524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429506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26" r:id="rId1"/>
    <p:sldLayoutId id="2147484527" r:id="rId2"/>
    <p:sldLayoutId id="2147484528" r:id="rId3"/>
    <p:sldLayoutId id="2147484529" r:id="rId4"/>
    <p:sldLayoutId id="2147484530" r:id="rId5"/>
    <p:sldLayoutId id="2147484531" r:id="rId6"/>
    <p:sldLayoutId id="2147484532" r:id="rId7"/>
    <p:sldLayoutId id="2147484533" r:id="rId8"/>
    <p:sldLayoutId id="2147484534" r:id="rId9"/>
    <p:sldLayoutId id="2147484535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440770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37" r:id="rId1"/>
    <p:sldLayoutId id="2147484538" r:id="rId2"/>
    <p:sldLayoutId id="2147484539" r:id="rId3"/>
    <p:sldLayoutId id="2147484540" r:id="rId4"/>
    <p:sldLayoutId id="2147484541" r:id="rId5"/>
    <p:sldLayoutId id="2147484542" r:id="rId6"/>
    <p:sldLayoutId id="2147484543" r:id="rId7"/>
    <p:sldLayoutId id="2147484544" r:id="rId8"/>
    <p:sldLayoutId id="2147484545" r:id="rId9"/>
    <p:sldLayoutId id="2147484546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452034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48" r:id="rId1"/>
    <p:sldLayoutId id="2147484549" r:id="rId2"/>
    <p:sldLayoutId id="2147484550" r:id="rId3"/>
    <p:sldLayoutId id="2147484551" r:id="rId4"/>
    <p:sldLayoutId id="2147484552" r:id="rId5"/>
    <p:sldLayoutId id="2147484553" r:id="rId6"/>
    <p:sldLayoutId id="2147484554" r:id="rId7"/>
    <p:sldLayoutId id="2147484555" r:id="rId8"/>
    <p:sldLayoutId id="2147484556" r:id="rId9"/>
    <p:sldLayoutId id="2147484557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463298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59" r:id="rId1"/>
    <p:sldLayoutId id="2147484560" r:id="rId2"/>
    <p:sldLayoutId id="2147484561" r:id="rId3"/>
    <p:sldLayoutId id="2147484562" r:id="rId4"/>
    <p:sldLayoutId id="2147484563" r:id="rId5"/>
    <p:sldLayoutId id="2147484564" r:id="rId6"/>
    <p:sldLayoutId id="2147484565" r:id="rId7"/>
    <p:sldLayoutId id="2147484566" r:id="rId8"/>
    <p:sldLayoutId id="2147484567" r:id="rId9"/>
    <p:sldLayoutId id="2147484568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600204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F937210F-469A-4481-AA81-8A512020E24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12/8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re_Java_Java_Bean_POJO_v1.1_Re-Design_20160125_RS.pptx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EE649866-578F-4F06-9D4B-6BC4D778709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02" r:id="rId1"/>
    <p:sldLayoutId id="2147484004" r:id="rId2"/>
    <p:sldLayoutId id="2147484005" r:id="rId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474562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70" r:id="rId1"/>
    <p:sldLayoutId id="2147484571" r:id="rId2"/>
    <p:sldLayoutId id="2147484572" r:id="rId3"/>
    <p:sldLayoutId id="2147484573" r:id="rId4"/>
    <p:sldLayoutId id="2147484574" r:id="rId5"/>
    <p:sldLayoutId id="2147484575" r:id="rId6"/>
    <p:sldLayoutId id="2147484576" r:id="rId7"/>
    <p:sldLayoutId id="2147484577" r:id="rId8"/>
    <p:sldLayoutId id="2147484578" r:id="rId9"/>
    <p:sldLayoutId id="2147484579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485826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81" r:id="rId1"/>
    <p:sldLayoutId id="2147484582" r:id="rId2"/>
    <p:sldLayoutId id="2147484583" r:id="rId3"/>
    <p:sldLayoutId id="2147484584" r:id="rId4"/>
    <p:sldLayoutId id="2147484585" r:id="rId5"/>
    <p:sldLayoutId id="2147484586" r:id="rId6"/>
    <p:sldLayoutId id="2147484587" r:id="rId7"/>
    <p:sldLayoutId id="2147484588" r:id="rId8"/>
    <p:sldLayoutId id="2147484589" r:id="rId9"/>
    <p:sldLayoutId id="2147484590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497090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92" r:id="rId1"/>
    <p:sldLayoutId id="2147484593" r:id="rId2"/>
    <p:sldLayoutId id="2147484594" r:id="rId3"/>
    <p:sldLayoutId id="2147484595" r:id="rId4"/>
    <p:sldLayoutId id="2147484596" r:id="rId5"/>
    <p:sldLayoutId id="2147484597" r:id="rId6"/>
    <p:sldLayoutId id="2147484598" r:id="rId7"/>
    <p:sldLayoutId id="2147484599" r:id="rId8"/>
    <p:sldLayoutId id="2147484600" r:id="rId9"/>
    <p:sldLayoutId id="2147484601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509378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03" r:id="rId1"/>
    <p:sldLayoutId id="2147484604" r:id="rId2"/>
    <p:sldLayoutId id="2147484605" r:id="rId3"/>
    <p:sldLayoutId id="2147484606" r:id="rId4"/>
    <p:sldLayoutId id="2147484607" r:id="rId5"/>
    <p:sldLayoutId id="2147484608" r:id="rId6"/>
    <p:sldLayoutId id="2147484609" r:id="rId7"/>
    <p:sldLayoutId id="2147484610" r:id="rId8"/>
    <p:sldLayoutId id="2147484611" r:id="rId9"/>
    <p:sldLayoutId id="2147484612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520642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14" r:id="rId1"/>
    <p:sldLayoutId id="2147484615" r:id="rId2"/>
    <p:sldLayoutId id="2147484616" r:id="rId3"/>
    <p:sldLayoutId id="2147484617" r:id="rId4"/>
    <p:sldLayoutId id="2147484618" r:id="rId5"/>
    <p:sldLayoutId id="2147484619" r:id="rId6"/>
    <p:sldLayoutId id="2147484620" r:id="rId7"/>
    <p:sldLayoutId id="2147484621" r:id="rId8"/>
    <p:sldLayoutId id="2147484622" r:id="rId9"/>
    <p:sldLayoutId id="2147484623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531906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25" r:id="rId1"/>
    <p:sldLayoutId id="2147484626" r:id="rId2"/>
    <p:sldLayoutId id="2147484627" r:id="rId3"/>
    <p:sldLayoutId id="2147484628" r:id="rId4"/>
    <p:sldLayoutId id="2147484629" r:id="rId5"/>
    <p:sldLayoutId id="2147484630" r:id="rId6"/>
    <p:sldLayoutId id="2147484631" r:id="rId7"/>
    <p:sldLayoutId id="2147484632" r:id="rId8"/>
    <p:sldLayoutId id="2147484633" r:id="rId9"/>
    <p:sldLayoutId id="2147484634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543170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36" r:id="rId1"/>
    <p:sldLayoutId id="2147484637" r:id="rId2"/>
    <p:sldLayoutId id="2147484638" r:id="rId3"/>
    <p:sldLayoutId id="2147484639" r:id="rId4"/>
    <p:sldLayoutId id="2147484640" r:id="rId5"/>
    <p:sldLayoutId id="2147484641" r:id="rId6"/>
    <p:sldLayoutId id="2147484642" r:id="rId7"/>
    <p:sldLayoutId id="2147484643" r:id="rId8"/>
    <p:sldLayoutId id="2147484644" r:id="rId9"/>
    <p:sldLayoutId id="2147484645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554434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47" r:id="rId1"/>
    <p:sldLayoutId id="2147484648" r:id="rId2"/>
    <p:sldLayoutId id="2147484649" r:id="rId3"/>
    <p:sldLayoutId id="2147484650" r:id="rId4"/>
    <p:sldLayoutId id="2147484651" r:id="rId5"/>
    <p:sldLayoutId id="2147484652" r:id="rId6"/>
    <p:sldLayoutId id="2147484653" r:id="rId7"/>
    <p:sldLayoutId id="2147484654" r:id="rId8"/>
    <p:sldLayoutId id="2147484655" r:id="rId9"/>
    <p:sldLayoutId id="2147484656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565698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58" r:id="rId1"/>
    <p:sldLayoutId id="2147484659" r:id="rId2"/>
    <p:sldLayoutId id="2147484660" r:id="rId3"/>
    <p:sldLayoutId id="2147484661" r:id="rId4"/>
    <p:sldLayoutId id="2147484662" r:id="rId5"/>
    <p:sldLayoutId id="2147484663" r:id="rId6"/>
    <p:sldLayoutId id="2147484664" r:id="rId7"/>
    <p:sldLayoutId id="2147484665" r:id="rId8"/>
    <p:sldLayoutId id="2147484666" r:id="rId9"/>
    <p:sldLayoutId id="2147484667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576962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69" r:id="rId1"/>
    <p:sldLayoutId id="2147484670" r:id="rId2"/>
    <p:sldLayoutId id="2147484671" r:id="rId3"/>
    <p:sldLayoutId id="2147484672" r:id="rId4"/>
    <p:sldLayoutId id="2147484673" r:id="rId5"/>
    <p:sldLayoutId id="2147484674" r:id="rId6"/>
    <p:sldLayoutId id="2147484675" r:id="rId7"/>
    <p:sldLayoutId id="2147484676" r:id="rId8"/>
    <p:sldLayoutId id="2147484677" r:id="rId9"/>
    <p:sldLayoutId id="2147484678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64194" name="think-cell Slide" r:id="rId22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5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6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5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6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4" y="6623411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Capgemini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7487924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omerica Card Services SOA Solution | February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6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07" r:id="rId1"/>
    <p:sldLayoutId id="2147484008" r:id="rId2"/>
    <p:sldLayoutId id="2147484009" r:id="rId3"/>
    <p:sldLayoutId id="2147484010" r:id="rId4"/>
    <p:sldLayoutId id="2147484011" r:id="rId5"/>
    <p:sldLayoutId id="2147484012" r:id="rId6"/>
    <p:sldLayoutId id="2147484013" r:id="rId7"/>
    <p:sldLayoutId id="2147484014" r:id="rId8"/>
    <p:sldLayoutId id="2147484015" r:id="rId9"/>
    <p:sldLayoutId id="2147484016" r:id="rId10"/>
    <p:sldLayoutId id="2147484017" r:id="rId11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588226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80" r:id="rId1"/>
    <p:sldLayoutId id="2147484681" r:id="rId2"/>
    <p:sldLayoutId id="2147484682" r:id="rId3"/>
    <p:sldLayoutId id="2147484683" r:id="rId4"/>
    <p:sldLayoutId id="2147484684" r:id="rId5"/>
    <p:sldLayoutId id="2147484685" r:id="rId6"/>
    <p:sldLayoutId id="2147484686" r:id="rId7"/>
    <p:sldLayoutId id="2147484687" r:id="rId8"/>
    <p:sldLayoutId id="2147484688" r:id="rId9"/>
    <p:sldLayoutId id="2147484689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2" y="0"/>
          <a:ext cx="158751" cy="158750"/>
        </p:xfrm>
        <a:graphic>
          <a:graphicData uri="http://schemas.openxmlformats.org/presentationml/2006/ole">
            <p:oleObj spid="_x0000_s370690" name="think-cell Slide" r:id="rId16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6" y="1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0"/>
            </p:custDataLst>
          </p:nvPr>
        </p:nvSpPr>
        <p:spPr>
          <a:xfrm>
            <a:off x="323397" y="1501978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6741834" y="6623412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/>
            </a:pP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Copyright © Capgemini 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2015. </a:t>
            </a: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All Rights Reserved</a:t>
            </a:r>
          </a:p>
        </p:txBody>
      </p:sp>
      <p:sp>
        <p:nvSpPr>
          <p:cNvPr id="13" name="Rectangle 12"/>
          <p:cNvSpPr/>
          <p:nvPr>
            <p:custDataLst>
              <p:tags r:id="rId12"/>
            </p:custDataLst>
          </p:nvPr>
        </p:nvSpPr>
        <p:spPr>
          <a:xfrm>
            <a:off x="7487925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998C85"/>
                </a:solidFill>
                <a:cs typeface="Arial" charset="0"/>
              </a:rPr>
              <a:t>On boarding Manual | PMBSA Managed Services | </a:t>
            </a:r>
            <a:r>
              <a:rPr lang="en-US" sz="700" dirty="0" smtClean="0">
                <a:solidFill>
                  <a:srgbClr val="998C85"/>
                </a:solidFill>
                <a:cs typeface="Arial" charset="0"/>
              </a:rPr>
              <a:t>| </a:t>
            </a:r>
            <a:r>
              <a:rPr lang="en-US" sz="700" dirty="0">
                <a:solidFill>
                  <a:srgbClr val="998C85"/>
                </a:solidFill>
                <a:cs typeface="Arial" charset="0"/>
              </a:rPr>
              <a:t>Financial Services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158972" y="6443187"/>
            <a:ext cx="1310616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14"/>
            </p:custDataLst>
          </p:nvPr>
        </p:nvCxnSpPr>
        <p:spPr>
          <a:xfrm flipH="1">
            <a:off x="6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Freeform 6"/>
          <p:cNvSpPr>
            <a:spLocks/>
          </p:cNvSpPr>
          <p:nvPr userDrawn="1">
            <p:custDataLst>
              <p:tags r:id="rId15"/>
            </p:custDataLst>
          </p:nvPr>
        </p:nvSpPr>
        <p:spPr bwMode="auto">
          <a:xfrm>
            <a:off x="0" y="0"/>
            <a:ext cx="9906000" cy="1672556"/>
          </a:xfrm>
          <a:custGeom>
            <a:avLst/>
            <a:gdLst/>
            <a:ahLst/>
            <a:cxnLst>
              <a:cxn ang="0">
                <a:pos x="24" y="452"/>
              </a:cxn>
              <a:cxn ang="0">
                <a:pos x="134" y="458"/>
              </a:cxn>
              <a:cxn ang="0">
                <a:pos x="300" y="496"/>
              </a:cxn>
              <a:cxn ang="0">
                <a:pos x="394" y="534"/>
              </a:cxn>
              <a:cxn ang="0">
                <a:pos x="490" y="586"/>
              </a:cxn>
              <a:cxn ang="0">
                <a:pos x="582" y="660"/>
              </a:cxn>
              <a:cxn ang="0">
                <a:pos x="666" y="754"/>
              </a:cxn>
              <a:cxn ang="0">
                <a:pos x="740" y="874"/>
              </a:cxn>
              <a:cxn ang="0">
                <a:pos x="768" y="900"/>
              </a:cxn>
              <a:cxn ang="0">
                <a:pos x="810" y="816"/>
              </a:cxn>
              <a:cxn ang="0">
                <a:pos x="902" y="694"/>
              </a:cxn>
              <a:cxn ang="0">
                <a:pos x="970" y="630"/>
              </a:cxn>
              <a:cxn ang="0">
                <a:pos x="1054" y="570"/>
              </a:cxn>
              <a:cxn ang="0">
                <a:pos x="1154" y="518"/>
              </a:cxn>
              <a:cxn ang="0">
                <a:pos x="1276" y="478"/>
              </a:cxn>
              <a:cxn ang="0">
                <a:pos x="1418" y="456"/>
              </a:cxn>
              <a:cxn ang="0">
                <a:pos x="6030" y="452"/>
              </a:cxn>
              <a:cxn ang="0">
                <a:pos x="6076" y="450"/>
              </a:cxn>
              <a:cxn ang="0">
                <a:pos x="6198" y="430"/>
              </a:cxn>
              <a:cxn ang="0">
                <a:pos x="6334" y="388"/>
              </a:cxn>
              <a:cxn ang="0">
                <a:pos x="6422" y="346"/>
              </a:cxn>
              <a:cxn ang="0">
                <a:pos x="6512" y="288"/>
              </a:cxn>
              <a:cxn ang="0">
                <a:pos x="6596" y="214"/>
              </a:cxn>
              <a:cxn ang="0">
                <a:pos x="6674" y="118"/>
              </a:cxn>
              <a:cxn ang="0">
                <a:pos x="6740" y="0"/>
              </a:cxn>
              <a:cxn ang="0">
                <a:pos x="6734" y="234"/>
              </a:cxn>
              <a:cxn ang="0">
                <a:pos x="6690" y="316"/>
              </a:cxn>
              <a:cxn ang="0">
                <a:pos x="6598" y="434"/>
              </a:cxn>
              <a:cxn ang="0">
                <a:pos x="6532" y="496"/>
              </a:cxn>
              <a:cxn ang="0">
                <a:pos x="6448" y="556"/>
              </a:cxn>
              <a:cxn ang="0">
                <a:pos x="6348" y="608"/>
              </a:cxn>
              <a:cxn ang="0">
                <a:pos x="6230" y="648"/>
              </a:cxn>
              <a:cxn ang="0">
                <a:pos x="6090" y="672"/>
              </a:cxn>
              <a:cxn ang="0">
                <a:pos x="1504" y="680"/>
              </a:cxn>
              <a:cxn ang="0">
                <a:pos x="1452" y="680"/>
              </a:cxn>
              <a:cxn ang="0">
                <a:pos x="1322" y="694"/>
              </a:cxn>
              <a:cxn ang="0">
                <a:pos x="1178" y="736"/>
              </a:cxn>
              <a:cxn ang="0">
                <a:pos x="1086" y="778"/>
              </a:cxn>
              <a:cxn ang="0">
                <a:pos x="992" y="836"/>
              </a:cxn>
              <a:cxn ang="0">
                <a:pos x="904" y="914"/>
              </a:cxn>
              <a:cxn ang="0">
                <a:pos x="826" y="1014"/>
              </a:cxn>
              <a:cxn ang="0">
                <a:pos x="760" y="1138"/>
              </a:cxn>
              <a:cxn ang="0">
                <a:pos x="740" y="1094"/>
              </a:cxn>
              <a:cxn ang="0">
                <a:pos x="672" y="990"/>
              </a:cxn>
              <a:cxn ang="0">
                <a:pos x="576" y="882"/>
              </a:cxn>
              <a:cxn ang="0">
                <a:pos x="496" y="818"/>
              </a:cxn>
              <a:cxn ang="0">
                <a:pos x="400" y="760"/>
              </a:cxn>
              <a:cxn ang="0">
                <a:pos x="286" y="716"/>
              </a:cxn>
              <a:cxn ang="0">
                <a:pos x="154" y="686"/>
              </a:cxn>
              <a:cxn ang="0">
                <a:pos x="0" y="676"/>
              </a:cxn>
            </a:cxnLst>
            <a:rect l="0" t="0" r="r" b="b"/>
            <a:pathLst>
              <a:path w="6740" h="1138">
                <a:moveTo>
                  <a:pt x="0" y="452"/>
                </a:moveTo>
                <a:lnTo>
                  <a:pt x="0" y="452"/>
                </a:lnTo>
                <a:lnTo>
                  <a:pt x="24" y="452"/>
                </a:lnTo>
                <a:lnTo>
                  <a:pt x="52" y="452"/>
                </a:lnTo>
                <a:lnTo>
                  <a:pt x="88" y="454"/>
                </a:lnTo>
                <a:lnTo>
                  <a:pt x="134" y="458"/>
                </a:lnTo>
                <a:lnTo>
                  <a:pt x="184" y="466"/>
                </a:lnTo>
                <a:lnTo>
                  <a:pt x="240" y="478"/>
                </a:lnTo>
                <a:lnTo>
                  <a:pt x="300" y="496"/>
                </a:lnTo>
                <a:lnTo>
                  <a:pt x="330" y="506"/>
                </a:lnTo>
                <a:lnTo>
                  <a:pt x="362" y="518"/>
                </a:lnTo>
                <a:lnTo>
                  <a:pt x="394" y="534"/>
                </a:lnTo>
                <a:lnTo>
                  <a:pt x="426" y="548"/>
                </a:lnTo>
                <a:lnTo>
                  <a:pt x="458" y="566"/>
                </a:lnTo>
                <a:lnTo>
                  <a:pt x="490" y="586"/>
                </a:lnTo>
                <a:lnTo>
                  <a:pt x="520" y="608"/>
                </a:lnTo>
                <a:lnTo>
                  <a:pt x="552" y="632"/>
                </a:lnTo>
                <a:lnTo>
                  <a:pt x="582" y="660"/>
                </a:lnTo>
                <a:lnTo>
                  <a:pt x="610" y="688"/>
                </a:lnTo>
                <a:lnTo>
                  <a:pt x="638" y="720"/>
                </a:lnTo>
                <a:lnTo>
                  <a:pt x="666" y="754"/>
                </a:lnTo>
                <a:lnTo>
                  <a:pt x="692" y="790"/>
                </a:lnTo>
                <a:lnTo>
                  <a:pt x="716" y="830"/>
                </a:lnTo>
                <a:lnTo>
                  <a:pt x="740" y="874"/>
                </a:lnTo>
                <a:lnTo>
                  <a:pt x="760" y="920"/>
                </a:lnTo>
                <a:lnTo>
                  <a:pt x="760" y="920"/>
                </a:lnTo>
                <a:lnTo>
                  <a:pt x="768" y="900"/>
                </a:lnTo>
                <a:lnTo>
                  <a:pt x="776" y="878"/>
                </a:lnTo>
                <a:lnTo>
                  <a:pt x="790" y="850"/>
                </a:lnTo>
                <a:lnTo>
                  <a:pt x="810" y="816"/>
                </a:lnTo>
                <a:lnTo>
                  <a:pt x="834" y="778"/>
                </a:lnTo>
                <a:lnTo>
                  <a:pt x="866" y="736"/>
                </a:lnTo>
                <a:lnTo>
                  <a:pt x="902" y="694"/>
                </a:lnTo>
                <a:lnTo>
                  <a:pt x="922" y="672"/>
                </a:lnTo>
                <a:lnTo>
                  <a:pt x="944" y="652"/>
                </a:lnTo>
                <a:lnTo>
                  <a:pt x="970" y="630"/>
                </a:lnTo>
                <a:lnTo>
                  <a:pt x="996" y="610"/>
                </a:lnTo>
                <a:lnTo>
                  <a:pt x="1024" y="590"/>
                </a:lnTo>
                <a:lnTo>
                  <a:pt x="1054" y="570"/>
                </a:lnTo>
                <a:lnTo>
                  <a:pt x="1084" y="552"/>
                </a:lnTo>
                <a:lnTo>
                  <a:pt x="1118" y="534"/>
                </a:lnTo>
                <a:lnTo>
                  <a:pt x="1154" y="518"/>
                </a:lnTo>
                <a:lnTo>
                  <a:pt x="1192" y="504"/>
                </a:lnTo>
                <a:lnTo>
                  <a:pt x="1234" y="490"/>
                </a:lnTo>
                <a:lnTo>
                  <a:pt x="1276" y="478"/>
                </a:lnTo>
                <a:lnTo>
                  <a:pt x="1320" y="468"/>
                </a:lnTo>
                <a:lnTo>
                  <a:pt x="1368" y="460"/>
                </a:lnTo>
                <a:lnTo>
                  <a:pt x="1418" y="456"/>
                </a:lnTo>
                <a:lnTo>
                  <a:pt x="1470" y="452"/>
                </a:lnTo>
                <a:lnTo>
                  <a:pt x="4218" y="452"/>
                </a:lnTo>
                <a:lnTo>
                  <a:pt x="6030" y="452"/>
                </a:lnTo>
                <a:lnTo>
                  <a:pt x="6030" y="452"/>
                </a:lnTo>
                <a:lnTo>
                  <a:pt x="6052" y="452"/>
                </a:lnTo>
                <a:lnTo>
                  <a:pt x="6076" y="450"/>
                </a:lnTo>
                <a:lnTo>
                  <a:pt x="6110" y="446"/>
                </a:lnTo>
                <a:lnTo>
                  <a:pt x="6152" y="440"/>
                </a:lnTo>
                <a:lnTo>
                  <a:pt x="6198" y="430"/>
                </a:lnTo>
                <a:lnTo>
                  <a:pt x="6250" y="418"/>
                </a:lnTo>
                <a:lnTo>
                  <a:pt x="6306" y="400"/>
                </a:lnTo>
                <a:lnTo>
                  <a:pt x="6334" y="388"/>
                </a:lnTo>
                <a:lnTo>
                  <a:pt x="6364" y="376"/>
                </a:lnTo>
                <a:lnTo>
                  <a:pt x="6392" y="362"/>
                </a:lnTo>
                <a:lnTo>
                  <a:pt x="6422" y="346"/>
                </a:lnTo>
                <a:lnTo>
                  <a:pt x="6452" y="328"/>
                </a:lnTo>
                <a:lnTo>
                  <a:pt x="6482" y="310"/>
                </a:lnTo>
                <a:lnTo>
                  <a:pt x="6512" y="288"/>
                </a:lnTo>
                <a:lnTo>
                  <a:pt x="6540" y="266"/>
                </a:lnTo>
                <a:lnTo>
                  <a:pt x="6568" y="240"/>
                </a:lnTo>
                <a:lnTo>
                  <a:pt x="6596" y="214"/>
                </a:lnTo>
                <a:lnTo>
                  <a:pt x="6624" y="184"/>
                </a:lnTo>
                <a:lnTo>
                  <a:pt x="6650" y="152"/>
                </a:lnTo>
                <a:lnTo>
                  <a:pt x="6674" y="118"/>
                </a:lnTo>
                <a:lnTo>
                  <a:pt x="6698" y="80"/>
                </a:lnTo>
                <a:lnTo>
                  <a:pt x="6720" y="42"/>
                </a:lnTo>
                <a:lnTo>
                  <a:pt x="6740" y="0"/>
                </a:lnTo>
                <a:lnTo>
                  <a:pt x="6740" y="216"/>
                </a:lnTo>
                <a:lnTo>
                  <a:pt x="6740" y="216"/>
                </a:lnTo>
                <a:lnTo>
                  <a:pt x="6734" y="234"/>
                </a:lnTo>
                <a:lnTo>
                  <a:pt x="6724" y="256"/>
                </a:lnTo>
                <a:lnTo>
                  <a:pt x="6708" y="282"/>
                </a:lnTo>
                <a:lnTo>
                  <a:pt x="6690" y="316"/>
                </a:lnTo>
                <a:lnTo>
                  <a:pt x="6666" y="352"/>
                </a:lnTo>
                <a:lnTo>
                  <a:pt x="6634" y="392"/>
                </a:lnTo>
                <a:lnTo>
                  <a:pt x="6598" y="434"/>
                </a:lnTo>
                <a:lnTo>
                  <a:pt x="6578" y="454"/>
                </a:lnTo>
                <a:lnTo>
                  <a:pt x="6556" y="476"/>
                </a:lnTo>
                <a:lnTo>
                  <a:pt x="6532" y="496"/>
                </a:lnTo>
                <a:lnTo>
                  <a:pt x="6506" y="516"/>
                </a:lnTo>
                <a:lnTo>
                  <a:pt x="6478" y="536"/>
                </a:lnTo>
                <a:lnTo>
                  <a:pt x="6448" y="556"/>
                </a:lnTo>
                <a:lnTo>
                  <a:pt x="6416" y="574"/>
                </a:lnTo>
                <a:lnTo>
                  <a:pt x="6384" y="590"/>
                </a:lnTo>
                <a:lnTo>
                  <a:pt x="6348" y="608"/>
                </a:lnTo>
                <a:lnTo>
                  <a:pt x="6310" y="622"/>
                </a:lnTo>
                <a:lnTo>
                  <a:pt x="6272" y="636"/>
                </a:lnTo>
                <a:lnTo>
                  <a:pt x="6230" y="648"/>
                </a:lnTo>
                <a:lnTo>
                  <a:pt x="6186" y="658"/>
                </a:lnTo>
                <a:lnTo>
                  <a:pt x="6140" y="666"/>
                </a:lnTo>
                <a:lnTo>
                  <a:pt x="6090" y="672"/>
                </a:lnTo>
                <a:lnTo>
                  <a:pt x="6040" y="676"/>
                </a:lnTo>
                <a:lnTo>
                  <a:pt x="3338" y="676"/>
                </a:lnTo>
                <a:lnTo>
                  <a:pt x="1504" y="680"/>
                </a:lnTo>
                <a:lnTo>
                  <a:pt x="1504" y="680"/>
                </a:lnTo>
                <a:lnTo>
                  <a:pt x="1480" y="678"/>
                </a:lnTo>
                <a:lnTo>
                  <a:pt x="1452" y="680"/>
                </a:lnTo>
                <a:lnTo>
                  <a:pt x="1416" y="682"/>
                </a:lnTo>
                <a:lnTo>
                  <a:pt x="1372" y="686"/>
                </a:lnTo>
                <a:lnTo>
                  <a:pt x="1322" y="694"/>
                </a:lnTo>
                <a:lnTo>
                  <a:pt x="1268" y="708"/>
                </a:lnTo>
                <a:lnTo>
                  <a:pt x="1208" y="724"/>
                </a:lnTo>
                <a:lnTo>
                  <a:pt x="1178" y="736"/>
                </a:lnTo>
                <a:lnTo>
                  <a:pt x="1148" y="748"/>
                </a:lnTo>
                <a:lnTo>
                  <a:pt x="1116" y="762"/>
                </a:lnTo>
                <a:lnTo>
                  <a:pt x="1086" y="778"/>
                </a:lnTo>
                <a:lnTo>
                  <a:pt x="1054" y="794"/>
                </a:lnTo>
                <a:lnTo>
                  <a:pt x="1024" y="814"/>
                </a:lnTo>
                <a:lnTo>
                  <a:pt x="992" y="836"/>
                </a:lnTo>
                <a:lnTo>
                  <a:pt x="962" y="860"/>
                </a:lnTo>
                <a:lnTo>
                  <a:pt x="934" y="886"/>
                </a:lnTo>
                <a:lnTo>
                  <a:pt x="904" y="914"/>
                </a:lnTo>
                <a:lnTo>
                  <a:pt x="878" y="944"/>
                </a:lnTo>
                <a:lnTo>
                  <a:pt x="850" y="978"/>
                </a:lnTo>
                <a:lnTo>
                  <a:pt x="826" y="1014"/>
                </a:lnTo>
                <a:lnTo>
                  <a:pt x="802" y="1052"/>
                </a:lnTo>
                <a:lnTo>
                  <a:pt x="780" y="1094"/>
                </a:lnTo>
                <a:lnTo>
                  <a:pt x="760" y="1138"/>
                </a:lnTo>
                <a:lnTo>
                  <a:pt x="760" y="1138"/>
                </a:lnTo>
                <a:lnTo>
                  <a:pt x="752" y="1118"/>
                </a:lnTo>
                <a:lnTo>
                  <a:pt x="740" y="1094"/>
                </a:lnTo>
                <a:lnTo>
                  <a:pt x="724" y="1064"/>
                </a:lnTo>
                <a:lnTo>
                  <a:pt x="700" y="1028"/>
                </a:lnTo>
                <a:lnTo>
                  <a:pt x="672" y="990"/>
                </a:lnTo>
                <a:lnTo>
                  <a:pt x="638" y="946"/>
                </a:lnTo>
                <a:lnTo>
                  <a:pt x="598" y="904"/>
                </a:lnTo>
                <a:lnTo>
                  <a:pt x="576" y="882"/>
                </a:lnTo>
                <a:lnTo>
                  <a:pt x="550" y="860"/>
                </a:lnTo>
                <a:lnTo>
                  <a:pt x="524" y="838"/>
                </a:lnTo>
                <a:lnTo>
                  <a:pt x="496" y="818"/>
                </a:lnTo>
                <a:lnTo>
                  <a:pt x="466" y="798"/>
                </a:lnTo>
                <a:lnTo>
                  <a:pt x="434" y="778"/>
                </a:lnTo>
                <a:lnTo>
                  <a:pt x="400" y="760"/>
                </a:lnTo>
                <a:lnTo>
                  <a:pt x="364" y="744"/>
                </a:lnTo>
                <a:lnTo>
                  <a:pt x="326" y="728"/>
                </a:lnTo>
                <a:lnTo>
                  <a:pt x="286" y="716"/>
                </a:lnTo>
                <a:lnTo>
                  <a:pt x="244" y="704"/>
                </a:lnTo>
                <a:lnTo>
                  <a:pt x="200" y="694"/>
                </a:lnTo>
                <a:lnTo>
                  <a:pt x="154" y="686"/>
                </a:lnTo>
                <a:lnTo>
                  <a:pt x="104" y="680"/>
                </a:lnTo>
                <a:lnTo>
                  <a:pt x="54" y="676"/>
                </a:lnTo>
                <a:lnTo>
                  <a:pt x="0" y="676"/>
                </a:lnTo>
                <a:lnTo>
                  <a:pt x="0" y="452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263147"/>
              </a:solidFill>
              <a:latin typeface="Lucida Sans Unicode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839633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9" r:id="rId1"/>
    <p:sldLayoutId id="2147484020" r:id="rId2"/>
    <p:sldLayoutId id="2147484021" r:id="rId3"/>
    <p:sldLayoutId id="2147484023" r:id="rId4"/>
    <p:sldLayoutId id="2147484024" r:id="rId5"/>
    <p:sldLayoutId id="2147484025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386050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27" r:id="rId1"/>
    <p:sldLayoutId id="2147484028" r:id="rId2"/>
    <p:sldLayoutId id="2147484029" r:id="rId3"/>
    <p:sldLayoutId id="2147484030" r:id="rId4"/>
    <p:sldLayoutId id="2147484031" r:id="rId5"/>
    <p:sldLayoutId id="2147484032" r:id="rId6"/>
    <p:sldLayoutId id="2147484033" r:id="rId7"/>
    <p:sldLayoutId id="2147484034" r:id="rId8"/>
    <p:sldLayoutId id="2147484035" r:id="rId9"/>
    <p:sldLayoutId id="2147484036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201.xml"/><Relationship Id="rId1" Type="http://schemas.openxmlformats.org/officeDocument/2006/relationships/vmlDrawing" Target="../drawings/vmlDrawing567.vml"/><Relationship Id="rId5" Type="http://schemas.openxmlformats.org/officeDocument/2006/relationships/oleObject" Target="../embeddings/oleObject59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27.xml"/><Relationship Id="rId1" Type="http://schemas.openxmlformats.org/officeDocument/2006/relationships/vmlDrawing" Target="../drawings/vmlDrawing571.vml"/><Relationship Id="rId5" Type="http://schemas.openxmlformats.org/officeDocument/2006/relationships/image" Target="../media/image63.png"/><Relationship Id="rId4" Type="http://schemas.openxmlformats.org/officeDocument/2006/relationships/oleObject" Target="../embeddings/oleObject595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37.xml"/><Relationship Id="rId1" Type="http://schemas.openxmlformats.org/officeDocument/2006/relationships/vmlDrawing" Target="../drawings/vmlDrawing572.vml"/><Relationship Id="rId4" Type="http://schemas.openxmlformats.org/officeDocument/2006/relationships/oleObject" Target="../embeddings/oleObject596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47.xml"/><Relationship Id="rId1" Type="http://schemas.openxmlformats.org/officeDocument/2006/relationships/vmlDrawing" Target="../drawings/vmlDrawing573.vml"/><Relationship Id="rId5" Type="http://schemas.openxmlformats.org/officeDocument/2006/relationships/image" Target="../media/image64.png"/><Relationship Id="rId4" Type="http://schemas.openxmlformats.org/officeDocument/2006/relationships/oleObject" Target="../embeddings/oleObject597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47.xml"/><Relationship Id="rId1" Type="http://schemas.openxmlformats.org/officeDocument/2006/relationships/vmlDrawing" Target="../drawings/vmlDrawing574.vml"/><Relationship Id="rId4" Type="http://schemas.openxmlformats.org/officeDocument/2006/relationships/oleObject" Target="../embeddings/oleObject598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57.xml"/><Relationship Id="rId1" Type="http://schemas.openxmlformats.org/officeDocument/2006/relationships/vmlDrawing" Target="../drawings/vmlDrawing575.vml"/><Relationship Id="rId4" Type="http://schemas.openxmlformats.org/officeDocument/2006/relationships/oleObject" Target="../embeddings/oleObject599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483.xml"/><Relationship Id="rId1" Type="http://schemas.openxmlformats.org/officeDocument/2006/relationships/vmlDrawing" Target="../drawings/vmlDrawing576.vml"/><Relationship Id="rId5" Type="http://schemas.openxmlformats.org/officeDocument/2006/relationships/image" Target="../media/image65.png"/><Relationship Id="rId4" Type="http://schemas.openxmlformats.org/officeDocument/2006/relationships/oleObject" Target="../embeddings/oleObject600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73.xml"/><Relationship Id="rId1" Type="http://schemas.openxmlformats.org/officeDocument/2006/relationships/vmlDrawing" Target="../drawings/vmlDrawing577.vml"/><Relationship Id="rId4" Type="http://schemas.openxmlformats.org/officeDocument/2006/relationships/oleObject" Target="../embeddings/oleObject601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493.xml"/><Relationship Id="rId1" Type="http://schemas.openxmlformats.org/officeDocument/2006/relationships/vmlDrawing" Target="../drawings/vmlDrawing578.vml"/><Relationship Id="rId4" Type="http://schemas.openxmlformats.org/officeDocument/2006/relationships/oleObject" Target="../embeddings/oleObject602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493.xml"/><Relationship Id="rId1" Type="http://schemas.openxmlformats.org/officeDocument/2006/relationships/vmlDrawing" Target="../drawings/vmlDrawing579.vml"/><Relationship Id="rId4" Type="http://schemas.openxmlformats.org/officeDocument/2006/relationships/oleObject" Target="../embeddings/oleObject603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493.xml"/><Relationship Id="rId1" Type="http://schemas.openxmlformats.org/officeDocument/2006/relationships/vmlDrawing" Target="../drawings/vmlDrawing580.vml"/><Relationship Id="rId4" Type="http://schemas.openxmlformats.org/officeDocument/2006/relationships/oleObject" Target="../embeddings/oleObject60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568.vml"/><Relationship Id="rId4" Type="http://schemas.openxmlformats.org/officeDocument/2006/relationships/oleObject" Target="../embeddings/oleObject592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493.xml"/><Relationship Id="rId1" Type="http://schemas.openxmlformats.org/officeDocument/2006/relationships/vmlDrawing" Target="../drawings/vmlDrawing581.vml"/><Relationship Id="rId4" Type="http://schemas.openxmlformats.org/officeDocument/2006/relationships/oleObject" Target="../embeddings/oleObject605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notesSlide" Target="../notesSlides/notesSlide18.xml"/><Relationship Id="rId7" Type="http://schemas.openxmlformats.org/officeDocument/2006/relationships/diagramQuickStyle" Target="../diagrams/quickStyle1.xml"/><Relationship Id="rId2" Type="http://schemas.openxmlformats.org/officeDocument/2006/relationships/slideLayout" Target="../slideLayouts/slideLayout183.xml"/><Relationship Id="rId1" Type="http://schemas.openxmlformats.org/officeDocument/2006/relationships/vmlDrawing" Target="../drawings/vmlDrawing582.v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oleObject" Target="../embeddings/oleObject606.bin"/><Relationship Id="rId9" Type="http://schemas.microsoft.com/office/2007/relationships/diagramDrawing" Target="../diagrams/drawing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9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83.xml"/><Relationship Id="rId1" Type="http://schemas.openxmlformats.org/officeDocument/2006/relationships/vmlDrawing" Target="../drawings/vmlDrawing583.vml"/><Relationship Id="rId4" Type="http://schemas.openxmlformats.org/officeDocument/2006/relationships/oleObject" Target="../embeddings/oleObject607.bin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8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8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8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8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8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90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3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3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3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3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51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90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3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3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.xml"/><Relationship Id="rId3" Type="http://schemas.openxmlformats.org/officeDocument/2006/relationships/notesSlide" Target="../notesSlides/notesSlide23.xml"/><Relationship Id="rId7" Type="http://schemas.openxmlformats.org/officeDocument/2006/relationships/diagramQuickStyle" Target="../diagrams/quickStyle2.xml"/><Relationship Id="rId2" Type="http://schemas.openxmlformats.org/officeDocument/2006/relationships/slideLayout" Target="../slideLayouts/slideLayout183.xml"/><Relationship Id="rId1" Type="http://schemas.openxmlformats.org/officeDocument/2006/relationships/vmlDrawing" Target="../drawings/vmlDrawing584.vml"/><Relationship Id="rId6" Type="http://schemas.openxmlformats.org/officeDocument/2006/relationships/diagramLayout" Target="../diagrams/layout2.xml"/><Relationship Id="rId5" Type="http://schemas.openxmlformats.org/officeDocument/2006/relationships/diagramData" Target="../diagrams/data2.xml"/><Relationship Id="rId4" Type="http://schemas.openxmlformats.org/officeDocument/2006/relationships/oleObject" Target="../embeddings/oleObject608.bin"/><Relationship Id="rId9" Type="http://schemas.microsoft.com/office/2007/relationships/diagramDrawing" Target="../diagrams/drawing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10.xml"/><Relationship Id="rId1" Type="http://schemas.openxmlformats.org/officeDocument/2006/relationships/vmlDrawing" Target="../drawings/vmlDrawing585.vml"/><Relationship Id="rId4" Type="http://schemas.openxmlformats.org/officeDocument/2006/relationships/oleObject" Target="../embeddings/oleObject609.bin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7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27.xml"/><Relationship Id="rId1" Type="http://schemas.openxmlformats.org/officeDocument/2006/relationships/vmlDrawing" Target="../drawings/vmlDrawing569.vml"/><Relationship Id="rId5" Type="http://schemas.openxmlformats.org/officeDocument/2006/relationships/image" Target="../media/image62.png"/><Relationship Id="rId4" Type="http://schemas.openxmlformats.org/officeDocument/2006/relationships/oleObject" Target="../embeddings/oleObject593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27.xml"/><Relationship Id="rId1" Type="http://schemas.openxmlformats.org/officeDocument/2006/relationships/vmlDrawing" Target="../drawings/vmlDrawing570.vml"/><Relationship Id="rId4" Type="http://schemas.openxmlformats.org/officeDocument/2006/relationships/oleObject" Target="../embeddings/oleObject59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934" name="think-cell Slide" r:id="rId5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1" y="2256613"/>
            <a:ext cx="7233313" cy="2261632"/>
          </a:xfrm>
        </p:spPr>
        <p:txBody>
          <a:bodyPr/>
          <a:lstStyle/>
          <a:p>
            <a:r>
              <a:rPr lang="en-US" dirty="0" smtClean="0"/>
              <a:t>Test Driven Development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22242" name="think-cell Slide" r:id="rId4" imgW="360" imgH="360" progId="">
              <p:embed/>
            </p:oleObj>
          </a:graphicData>
        </a:graphic>
      </p:graphicFrame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467544" y="0"/>
            <a:ext cx="8229600" cy="980728"/>
          </a:xfrm>
          <a:prstGeom prst="rect">
            <a:avLst/>
          </a:prstGeom>
        </p:spPr>
        <p:txBody>
          <a:bodyPr/>
          <a:lstStyle/>
          <a:p>
            <a:pPr defTabSz="914400">
              <a:spcBef>
                <a:spcPts val="0"/>
              </a:spcBef>
            </a:pPr>
            <a:r>
              <a:rPr lang="en-US" sz="3600" kern="0" dirty="0" smtClean="0">
                <a:solidFill>
                  <a:schemeClr val="accent5"/>
                </a:solidFill>
                <a:latin typeface="Arial Narrow" pitchFamily="34" charset="0"/>
              </a:rPr>
              <a:t>Mocking Concepts</a:t>
            </a: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Arial Narrow" pitchFamily="34" charset="0"/>
            </a:endParaRPr>
          </a:p>
        </p:txBody>
      </p:sp>
      <p:pic>
        <p:nvPicPr>
          <p:cNvPr id="522243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51825" y="1404576"/>
            <a:ext cx="8248650" cy="4905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662610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33506" name="think-cell Slide" r:id="rId4" imgW="360" imgH="360" progId="">
              <p:embed/>
            </p:oleObj>
          </a:graphicData>
        </a:graphic>
      </p:graphicFrame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467544" y="0"/>
            <a:ext cx="8229600" cy="980728"/>
          </a:xfrm>
          <a:prstGeom prst="rect">
            <a:avLst/>
          </a:prstGeom>
        </p:spPr>
        <p:txBody>
          <a:bodyPr/>
          <a:lstStyle/>
          <a:p>
            <a:pPr defTabSz="914400">
              <a:spcBef>
                <a:spcPts val="0"/>
              </a:spcBef>
            </a:pPr>
            <a:r>
              <a:rPr lang="en-US" sz="3600" kern="0" dirty="0" smtClean="0">
                <a:solidFill>
                  <a:schemeClr val="accent5"/>
                </a:solidFill>
                <a:latin typeface="Arial Narrow" pitchFamily="34" charset="0"/>
              </a:rPr>
              <a:t>Mocking Options</a:t>
            </a: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Arial Narrow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775504" y="1774701"/>
            <a:ext cx="6653996" cy="272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</a:pPr>
            <a:endParaRPr lang="en-US" dirty="0" smtClean="0"/>
          </a:p>
          <a:p>
            <a:pPr>
              <a:buFont typeface="Arial" pitchFamily="34" charset="0"/>
              <a:buChar char="•"/>
            </a:pPr>
            <a:r>
              <a:rPr lang="en-US" b="1" dirty="0" smtClean="0"/>
              <a:t>Implement the mocked functionality in a class</a:t>
            </a:r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This approach is tedious and obscure</a:t>
            </a:r>
          </a:p>
          <a:p>
            <a:pPr>
              <a:buFont typeface="Arial" pitchFamily="34" charset="0"/>
              <a:buChar char="•"/>
            </a:pPr>
            <a:endParaRPr lang="en-US" dirty="0" smtClean="0"/>
          </a:p>
          <a:p>
            <a:pPr>
              <a:buFont typeface="Arial" pitchFamily="34" charset="0"/>
              <a:buChar char="•"/>
            </a:pPr>
            <a:r>
              <a:rPr lang="en-US" b="1" dirty="0" smtClean="0"/>
              <a:t>Leverage a mocking framework </a:t>
            </a:r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Avoid class creation</a:t>
            </a:r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Leverages the proxy pattern</a:t>
            </a:r>
          </a:p>
          <a:p>
            <a:pPr>
              <a:buFont typeface="Arial" pitchFamily="34" charset="0"/>
              <a:buChar char="•"/>
            </a:pPr>
            <a:endParaRPr lang="en-US" dirty="0" smtClean="0"/>
          </a:p>
          <a:p>
            <a:pPr>
              <a:buFont typeface="Arial" pitchFamily="34" charset="0"/>
              <a:buChar char="•"/>
            </a:pPr>
            <a:r>
              <a:rPr lang="en-US" b="1" dirty="0" smtClean="0"/>
              <a:t>Multiple options –Mockito, </a:t>
            </a:r>
            <a:r>
              <a:rPr lang="en-US" b="1" dirty="0" err="1" smtClean="0"/>
              <a:t>EasyMock</a:t>
            </a:r>
            <a:r>
              <a:rPr lang="en-US" b="1" dirty="0" smtClean="0"/>
              <a:t>, </a:t>
            </a:r>
            <a:r>
              <a:rPr lang="en-US" b="1" dirty="0" err="1" smtClean="0"/>
              <a:t>JMock</a:t>
            </a:r>
            <a:endParaRPr lang="en-US" b="1" dirty="0" smtClean="0"/>
          </a:p>
        </p:txBody>
      </p:sp>
    </p:spTree>
    <p:extLst>
      <p:ext uri="{BB962C8B-B14F-4D97-AF65-F5344CB8AC3E}">
        <p14:creationId xmlns="" xmlns:p14="http://schemas.microsoft.com/office/powerpoint/2010/main" val="662610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44770" name="think-cell Slide" r:id="rId4" imgW="360" imgH="360" progId="">
              <p:embed/>
            </p:oleObj>
          </a:graphicData>
        </a:graphic>
      </p:graphicFrame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467544" y="0"/>
            <a:ext cx="8229600" cy="980728"/>
          </a:xfrm>
          <a:prstGeom prst="rect">
            <a:avLst/>
          </a:prstGeom>
        </p:spPr>
        <p:txBody>
          <a:bodyPr/>
          <a:lstStyle/>
          <a:p>
            <a:pPr defTabSz="914400">
              <a:spcBef>
                <a:spcPts val="0"/>
              </a:spcBef>
            </a:pPr>
            <a:r>
              <a:rPr lang="en-US" sz="3600" kern="0" dirty="0" smtClean="0">
                <a:solidFill>
                  <a:schemeClr val="accent5"/>
                </a:solidFill>
                <a:latin typeface="Arial Narrow" pitchFamily="34" charset="0"/>
              </a:rPr>
              <a:t>Mockito Overview</a:t>
            </a: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Arial Narrow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139520" y="1349967"/>
            <a:ext cx="3182281" cy="3847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 smtClean="0"/>
              <a:t>Support unit testing cycle</a:t>
            </a:r>
            <a:endParaRPr lang="en-US" dirty="0"/>
          </a:p>
        </p:txBody>
      </p:sp>
      <p:pic>
        <p:nvPicPr>
          <p:cNvPr id="544771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983125" y="1763934"/>
            <a:ext cx="7962900" cy="876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7"/>
          <p:cNvSpPr/>
          <p:nvPr/>
        </p:nvSpPr>
        <p:spPr>
          <a:xfrm>
            <a:off x="1029664" y="2946765"/>
            <a:ext cx="8218507" cy="272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smtClean="0"/>
              <a:t>Setup –Creating the mock</a:t>
            </a:r>
          </a:p>
          <a:p>
            <a:r>
              <a:rPr lang="en-US" dirty="0" err="1" smtClean="0"/>
              <a:t>OrderDao</a:t>
            </a:r>
            <a:r>
              <a:rPr lang="en-US" dirty="0" smtClean="0"/>
              <a:t> </a:t>
            </a:r>
            <a:r>
              <a:rPr lang="en-US" dirty="0" err="1" smtClean="0"/>
              <a:t>mockOrderDao</a:t>
            </a:r>
            <a:r>
              <a:rPr lang="en-US" dirty="0" smtClean="0"/>
              <a:t>= </a:t>
            </a:r>
            <a:r>
              <a:rPr lang="en-US" dirty="0" err="1" smtClean="0"/>
              <a:t>Mockito.</a:t>
            </a:r>
            <a:r>
              <a:rPr lang="en-US" i="1" dirty="0" err="1" smtClean="0"/>
              <a:t>mock</a:t>
            </a:r>
            <a:r>
              <a:rPr lang="en-US" i="1" dirty="0" smtClean="0"/>
              <a:t>(</a:t>
            </a:r>
            <a:r>
              <a:rPr lang="en-US" i="1" dirty="0" err="1" smtClean="0"/>
              <a:t>OrderDao.class</a:t>
            </a:r>
            <a:r>
              <a:rPr lang="en-US" i="1" dirty="0" smtClean="0"/>
              <a:t>)</a:t>
            </a:r>
          </a:p>
          <a:p>
            <a:endParaRPr lang="en-US" i="1" dirty="0" smtClean="0"/>
          </a:p>
          <a:p>
            <a:r>
              <a:rPr lang="en-US" b="1" dirty="0" smtClean="0"/>
              <a:t>Setup –Method stubbing</a:t>
            </a:r>
          </a:p>
          <a:p>
            <a:r>
              <a:rPr lang="en-US" dirty="0" err="1" smtClean="0"/>
              <a:t>Mockito.</a:t>
            </a:r>
            <a:r>
              <a:rPr lang="en-US" i="1" dirty="0" err="1" smtClean="0"/>
              <a:t>when</a:t>
            </a:r>
            <a:r>
              <a:rPr lang="en-US" i="1" dirty="0" smtClean="0"/>
              <a:t>(</a:t>
            </a:r>
            <a:r>
              <a:rPr lang="en-US" i="1" dirty="0" err="1" smtClean="0"/>
              <a:t>mockOrderDao.findById</a:t>
            </a:r>
            <a:r>
              <a:rPr lang="en-US" i="1" dirty="0" smtClean="0"/>
              <a:t>(</a:t>
            </a:r>
            <a:r>
              <a:rPr lang="en-US" i="1" dirty="0" err="1" smtClean="0"/>
              <a:t>idValue</a:t>
            </a:r>
            <a:r>
              <a:rPr lang="en-US" i="1" dirty="0" smtClean="0"/>
              <a:t>)).</a:t>
            </a:r>
            <a:r>
              <a:rPr lang="en-US" i="1" dirty="0" err="1" smtClean="0"/>
              <a:t>thenReturn</a:t>
            </a:r>
            <a:r>
              <a:rPr lang="en-US" i="1" dirty="0" smtClean="0"/>
              <a:t>(</a:t>
            </a:r>
            <a:r>
              <a:rPr lang="en-US" i="1" dirty="0" err="1" smtClean="0"/>
              <a:t>orderFixture</a:t>
            </a:r>
            <a:r>
              <a:rPr lang="en-US" i="1" dirty="0" smtClean="0"/>
              <a:t>)</a:t>
            </a:r>
          </a:p>
          <a:p>
            <a:endParaRPr lang="en-US" i="1" dirty="0" smtClean="0"/>
          </a:p>
          <a:p>
            <a:endParaRPr lang="en-US" i="1" dirty="0" smtClean="0"/>
          </a:p>
          <a:p>
            <a:r>
              <a:rPr lang="en-US" b="1" dirty="0" smtClean="0"/>
              <a:t>Verification</a:t>
            </a:r>
          </a:p>
          <a:p>
            <a:r>
              <a:rPr lang="en-US" dirty="0" err="1" smtClean="0"/>
              <a:t>Mockito.</a:t>
            </a:r>
            <a:r>
              <a:rPr lang="en-US" i="1" dirty="0" err="1" smtClean="0"/>
              <a:t>verify</a:t>
            </a:r>
            <a:r>
              <a:rPr lang="en-US" i="1" dirty="0" smtClean="0"/>
              <a:t>(</a:t>
            </a:r>
            <a:r>
              <a:rPr lang="en-US" i="1" dirty="0" err="1" smtClean="0"/>
              <a:t>mockOrderDao</a:t>
            </a:r>
            <a:r>
              <a:rPr lang="en-US" i="1" dirty="0" smtClean="0"/>
              <a:t>).</a:t>
            </a:r>
            <a:r>
              <a:rPr lang="en-US" i="1" dirty="0" err="1" smtClean="0"/>
              <a:t>findById</a:t>
            </a:r>
            <a:r>
              <a:rPr lang="en-US" i="1" dirty="0" smtClean="0"/>
              <a:t>(</a:t>
            </a:r>
            <a:r>
              <a:rPr lang="en-US" i="1" dirty="0" err="1" smtClean="0"/>
              <a:t>idValue</a:t>
            </a:r>
            <a:r>
              <a:rPr lang="en-US" i="1" dirty="0" smtClean="0"/>
              <a:t>)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662610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45794" name="think-cell Slide" r:id="rId4" imgW="360" imgH="360" progId="">
              <p:embed/>
            </p:oleObj>
          </a:graphicData>
        </a:graphic>
      </p:graphicFrame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467544" y="0"/>
            <a:ext cx="8229600" cy="980728"/>
          </a:xfrm>
          <a:prstGeom prst="rect">
            <a:avLst/>
          </a:prstGeom>
        </p:spPr>
        <p:txBody>
          <a:bodyPr/>
          <a:lstStyle/>
          <a:p>
            <a:pPr defTabSz="914400">
              <a:spcBef>
                <a:spcPts val="0"/>
              </a:spcBef>
            </a:pPr>
            <a:r>
              <a:rPr lang="en-US" sz="3600" kern="0" dirty="0" smtClean="0">
                <a:solidFill>
                  <a:schemeClr val="accent5"/>
                </a:solidFill>
                <a:latin typeface="Arial Narrow" pitchFamily="34" charset="0"/>
              </a:rPr>
              <a:t>Creating Mock Instances</a:t>
            </a: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Arial Narrow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86137" y="2798058"/>
            <a:ext cx="9120849" cy="9694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</a:pPr>
            <a:endParaRPr lang="en-US" dirty="0" smtClean="0"/>
          </a:p>
          <a:p>
            <a:pPr>
              <a:buFont typeface="Arial" pitchFamily="34" charset="0"/>
              <a:buChar char="•"/>
            </a:pPr>
            <a:r>
              <a:rPr lang="en-US" b="1" dirty="0" err="1" smtClean="0"/>
              <a:t>Mockito.mock</a:t>
            </a:r>
            <a:r>
              <a:rPr lang="en-US" b="1" dirty="0" smtClean="0"/>
              <a:t>(</a:t>
            </a:r>
            <a:r>
              <a:rPr lang="en-US" b="1" i="1" dirty="0" smtClean="0"/>
              <a:t>Class&lt;?&gt; class) is the core method for creating mocks</a:t>
            </a:r>
          </a:p>
          <a:p>
            <a:pPr lvl="1">
              <a:buFont typeface="Arial" pitchFamily="34" charset="0"/>
              <a:buChar char="•"/>
            </a:pPr>
            <a:r>
              <a:rPr lang="en-US" b="1" dirty="0" smtClean="0"/>
              <a:t>@Mock is an alternative</a:t>
            </a:r>
          </a:p>
        </p:txBody>
      </p:sp>
    </p:spTree>
    <p:extLst>
      <p:ext uri="{BB962C8B-B14F-4D97-AF65-F5344CB8AC3E}">
        <p14:creationId xmlns="" xmlns:p14="http://schemas.microsoft.com/office/powerpoint/2010/main" val="662610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57058" name="think-cell Slide" r:id="rId4" imgW="360" imgH="360" progId="">
              <p:embed/>
            </p:oleObj>
          </a:graphicData>
        </a:graphic>
      </p:graphicFrame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467544" y="0"/>
            <a:ext cx="8229600" cy="980728"/>
          </a:xfrm>
          <a:prstGeom prst="rect">
            <a:avLst/>
          </a:prstGeom>
        </p:spPr>
        <p:txBody>
          <a:bodyPr/>
          <a:lstStyle/>
          <a:p>
            <a:pPr defTabSz="914400">
              <a:spcBef>
                <a:spcPts val="0"/>
              </a:spcBef>
            </a:pPr>
            <a:r>
              <a:rPr lang="en-US" sz="3600" kern="0" dirty="0" smtClean="0">
                <a:solidFill>
                  <a:schemeClr val="accent5"/>
                </a:solidFill>
                <a:latin typeface="Arial Narrow" pitchFamily="34" charset="0"/>
              </a:rPr>
              <a:t>Mock Settings</a:t>
            </a: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Arial Narrow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076445" y="2651864"/>
            <a:ext cx="8218025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</a:pPr>
            <a:endParaRPr lang="en-US" dirty="0" smtClean="0"/>
          </a:p>
          <a:p>
            <a:pPr>
              <a:buFont typeface="Arial" pitchFamily="34" charset="0"/>
              <a:buChar char="•"/>
            </a:pPr>
            <a:r>
              <a:rPr lang="en-US" b="1" dirty="0" smtClean="0"/>
              <a:t>The </a:t>
            </a:r>
            <a:r>
              <a:rPr lang="en-US" b="1" dirty="0" err="1" smtClean="0"/>
              <a:t>MockSettingsinterface</a:t>
            </a:r>
            <a:r>
              <a:rPr lang="en-US" b="1" dirty="0" smtClean="0"/>
              <a:t> provides added control for mock creation</a:t>
            </a:r>
          </a:p>
          <a:p>
            <a:pPr>
              <a:buFont typeface="Arial" pitchFamily="34" charset="0"/>
              <a:buChar char="•"/>
            </a:pPr>
            <a:endParaRPr lang="en-US" dirty="0" smtClean="0"/>
          </a:p>
          <a:p>
            <a:pPr>
              <a:buFont typeface="Arial" pitchFamily="34" charset="0"/>
              <a:buChar char="•"/>
            </a:pPr>
            <a:r>
              <a:rPr lang="en-US" b="1" dirty="0" smtClean="0"/>
              <a:t>Use </a:t>
            </a:r>
            <a:r>
              <a:rPr lang="en-US" b="1" dirty="0" err="1" smtClean="0"/>
              <a:t>MockSettings.extraInterfaces</a:t>
            </a:r>
            <a:r>
              <a:rPr lang="en-US" b="1" dirty="0" smtClean="0"/>
              <a:t>(..) to add interfaces supported by </a:t>
            </a:r>
          </a:p>
        </p:txBody>
      </p:sp>
    </p:spTree>
    <p:extLst>
      <p:ext uri="{BB962C8B-B14F-4D97-AF65-F5344CB8AC3E}">
        <p14:creationId xmlns="" xmlns:p14="http://schemas.microsoft.com/office/powerpoint/2010/main" val="662610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96738" name="think-cell Slide" r:id="rId4" imgW="360" imgH="360" progId="">
              <p:embed/>
            </p:oleObj>
          </a:graphicData>
        </a:graphic>
      </p:graphicFrame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467544" y="0"/>
            <a:ext cx="8229600" cy="980728"/>
          </a:xfrm>
          <a:prstGeom prst="rect">
            <a:avLst/>
          </a:prstGeom>
        </p:spPr>
        <p:txBody>
          <a:bodyPr/>
          <a:lstStyle/>
          <a:p>
            <a:pPr defTabSz="914400">
              <a:spcBef>
                <a:spcPts val="0"/>
              </a:spcBef>
            </a:pPr>
            <a:r>
              <a:rPr lang="en-US" sz="3600" kern="0" dirty="0" smtClean="0">
                <a:solidFill>
                  <a:schemeClr val="accent5"/>
                </a:solidFill>
                <a:latin typeface="Arial Narrow" pitchFamily="34" charset="0"/>
              </a:rPr>
              <a:t>Mock Settings</a:t>
            </a: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Arial Narrow" pitchFamily="34" charset="0"/>
            </a:endParaRPr>
          </a:p>
        </p:txBody>
      </p:sp>
      <p:pic>
        <p:nvPicPr>
          <p:cNvPr id="1396739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957384" y="1379377"/>
            <a:ext cx="8315325" cy="4886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662610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75490" name="think-cell Slide" r:id="rId4" imgW="360" imgH="360" progId="">
              <p:embed/>
            </p:oleObj>
          </a:graphicData>
        </a:graphic>
      </p:graphicFrame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467544" y="0"/>
            <a:ext cx="8229600" cy="980728"/>
          </a:xfrm>
          <a:prstGeom prst="rect">
            <a:avLst/>
          </a:prstGeom>
        </p:spPr>
        <p:txBody>
          <a:bodyPr/>
          <a:lstStyle/>
          <a:p>
            <a:pPr defTabSz="914400">
              <a:spcBef>
                <a:spcPts val="0"/>
              </a:spcBef>
            </a:pPr>
            <a:r>
              <a:rPr lang="en-US" sz="3600" kern="0" dirty="0" smtClean="0">
                <a:solidFill>
                  <a:schemeClr val="accent5"/>
                </a:solidFill>
                <a:latin typeface="Arial Narrow" pitchFamily="34" charset="0"/>
              </a:rPr>
              <a:t>Mock Settings</a:t>
            </a: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Arial Narrow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729204" y="1457907"/>
            <a:ext cx="8576841" cy="41857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  <a:buFont typeface="Arial" pitchFamily="34" charset="0"/>
              <a:buChar char="•"/>
            </a:pPr>
            <a:r>
              <a:rPr lang="en-US" b="1" dirty="0" smtClean="0"/>
              <a:t>The </a:t>
            </a:r>
            <a:r>
              <a:rPr lang="en-US" b="1" dirty="0" err="1" smtClean="0"/>
              <a:t>MockSettingsinterface</a:t>
            </a:r>
            <a:r>
              <a:rPr lang="en-US" b="1" dirty="0" smtClean="0"/>
              <a:t> provides added control for mock creation</a:t>
            </a:r>
          </a:p>
          <a:p>
            <a:pPr>
              <a:lnSpc>
                <a:spcPct val="200000"/>
              </a:lnSpc>
              <a:buFont typeface="Arial" pitchFamily="34" charset="0"/>
              <a:buChar char="•"/>
            </a:pPr>
            <a:r>
              <a:rPr lang="en-US" b="1" dirty="0" smtClean="0"/>
              <a:t>Use </a:t>
            </a:r>
            <a:r>
              <a:rPr lang="en-US" b="1" dirty="0" err="1" smtClean="0"/>
              <a:t>MockSettings.extraInterfaces</a:t>
            </a:r>
            <a:r>
              <a:rPr lang="en-US" b="1" dirty="0" smtClean="0"/>
              <a:t>(..) to add interfaces supported by the mock</a:t>
            </a:r>
          </a:p>
          <a:p>
            <a:pPr>
              <a:lnSpc>
                <a:spcPct val="200000"/>
              </a:lnSpc>
              <a:buFont typeface="Arial" pitchFamily="34" charset="0"/>
              <a:buChar char="•"/>
            </a:pPr>
            <a:r>
              <a:rPr lang="en-US" b="1" dirty="0" err="1" smtClean="0"/>
              <a:t>MockSettings.serializable</a:t>
            </a:r>
            <a:r>
              <a:rPr lang="en-US" b="1" dirty="0" smtClean="0"/>
              <a:t>() creates a mock which can be </a:t>
            </a:r>
            <a:r>
              <a:rPr lang="en-US" b="1" dirty="0" err="1" smtClean="0"/>
              <a:t>bassedas</a:t>
            </a:r>
            <a:r>
              <a:rPr lang="en-US" b="1" dirty="0" smtClean="0"/>
              <a:t> a </a:t>
            </a:r>
            <a:r>
              <a:rPr lang="en-US" b="1" dirty="0" err="1" smtClean="0"/>
              <a:t>serializableobject</a:t>
            </a:r>
            <a:endParaRPr lang="en-US" b="1" dirty="0" smtClean="0"/>
          </a:p>
          <a:p>
            <a:pPr>
              <a:lnSpc>
                <a:spcPct val="200000"/>
              </a:lnSpc>
              <a:buFont typeface="Arial" pitchFamily="34" charset="0"/>
              <a:buChar char="•"/>
            </a:pPr>
            <a:r>
              <a:rPr lang="en-US" b="1" dirty="0" smtClean="0"/>
              <a:t>MockSettings.name(..) specifies a name when verification of the mock fails</a:t>
            </a:r>
          </a:p>
        </p:txBody>
      </p:sp>
    </p:spTree>
    <p:extLst>
      <p:ext uri="{BB962C8B-B14F-4D97-AF65-F5344CB8AC3E}">
        <p14:creationId xmlns="" xmlns:p14="http://schemas.microsoft.com/office/powerpoint/2010/main" val="662610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8002" name="think-cell Slide" r:id="rId4" imgW="360" imgH="360" progId="">
              <p:embed/>
            </p:oleObj>
          </a:graphicData>
        </a:graphic>
      </p:graphicFrame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467544" y="0"/>
            <a:ext cx="8229600" cy="980728"/>
          </a:xfrm>
          <a:prstGeom prst="rect">
            <a:avLst/>
          </a:prstGeom>
        </p:spPr>
        <p:txBody>
          <a:bodyPr/>
          <a:lstStyle/>
          <a:p>
            <a:pPr defTabSz="914400">
              <a:spcBef>
                <a:spcPts val="0"/>
              </a:spcBef>
            </a:pPr>
            <a:r>
              <a:rPr lang="en-US" sz="3600" kern="0" dirty="0" smtClean="0">
                <a:solidFill>
                  <a:schemeClr val="accent5"/>
                </a:solidFill>
                <a:latin typeface="Arial Narrow" pitchFamily="34" charset="0"/>
              </a:rPr>
              <a:t>Stubbing Method Calls</a:t>
            </a: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Arial Narrow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018573" y="1527356"/>
            <a:ext cx="6584548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n-US" b="1" dirty="0" smtClean="0"/>
              <a:t>Provides capability to define how method calls behave via when/then pattern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n-US" b="1" dirty="0" smtClean="0"/>
              <a:t>Calling </a:t>
            </a:r>
            <a:r>
              <a:rPr lang="en-US" b="1" dirty="0" err="1" smtClean="0"/>
              <a:t>Mockito.when</a:t>
            </a:r>
            <a:r>
              <a:rPr lang="en-US" b="1" dirty="0" smtClean="0"/>
              <a:t>(..) returns </a:t>
            </a:r>
            <a:r>
              <a:rPr lang="en-US" b="1" dirty="0" err="1" smtClean="0"/>
              <a:t>OngoingStub</a:t>
            </a:r>
            <a:r>
              <a:rPr lang="en-US" b="1" dirty="0" smtClean="0"/>
              <a:t>&lt;T&gt;, specifying how the invocation </a:t>
            </a:r>
            <a:r>
              <a:rPr lang="en-US" b="1" dirty="0" err="1" smtClean="0"/>
              <a:t>behavesthenReturn</a:t>
            </a:r>
            <a:r>
              <a:rPr lang="en-US" b="1" dirty="0" smtClean="0"/>
              <a:t>(..)</a:t>
            </a:r>
          </a:p>
          <a:p>
            <a:pPr lvl="1">
              <a:lnSpc>
                <a:spcPct val="150000"/>
              </a:lnSpc>
              <a:buFont typeface="Arial" pitchFamily="34" charset="0"/>
              <a:buChar char="•"/>
            </a:pPr>
            <a:r>
              <a:rPr lang="en-US" dirty="0" err="1" smtClean="0"/>
              <a:t>thenThrow</a:t>
            </a:r>
            <a:r>
              <a:rPr lang="en-US" dirty="0" smtClean="0"/>
              <a:t>(..)</a:t>
            </a:r>
          </a:p>
          <a:p>
            <a:pPr lvl="1">
              <a:lnSpc>
                <a:spcPct val="150000"/>
              </a:lnSpc>
              <a:buFont typeface="Arial" pitchFamily="34" charset="0"/>
              <a:buChar char="•"/>
            </a:pPr>
            <a:r>
              <a:rPr lang="en-US" dirty="0" err="1" smtClean="0"/>
              <a:t>thenCallRealMethod</a:t>
            </a:r>
            <a:r>
              <a:rPr lang="en-US" dirty="0" smtClean="0"/>
              <a:t>(..)</a:t>
            </a:r>
          </a:p>
          <a:p>
            <a:pPr lvl="1">
              <a:lnSpc>
                <a:spcPct val="150000"/>
              </a:lnSpc>
              <a:buFont typeface="Arial" pitchFamily="34" charset="0"/>
              <a:buChar char="•"/>
            </a:pPr>
            <a:r>
              <a:rPr lang="en-US" dirty="0" err="1" smtClean="0"/>
              <a:t>thenAnswer</a:t>
            </a:r>
            <a:r>
              <a:rPr lang="en-US" dirty="0" smtClean="0"/>
              <a:t>(..)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endParaRPr lang="en-US" dirty="0" smtClean="0"/>
          </a:p>
        </p:txBody>
      </p:sp>
    </p:spTree>
    <p:extLst>
      <p:ext uri="{BB962C8B-B14F-4D97-AF65-F5344CB8AC3E}">
        <p14:creationId xmlns="" xmlns:p14="http://schemas.microsoft.com/office/powerpoint/2010/main" val="662610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9026" name="think-cell Slide" r:id="rId4" imgW="360" imgH="360" progId="">
              <p:embed/>
            </p:oleObj>
          </a:graphicData>
        </a:graphic>
      </p:graphicFrame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467544" y="0"/>
            <a:ext cx="8229600" cy="980728"/>
          </a:xfrm>
          <a:prstGeom prst="rect">
            <a:avLst/>
          </a:prstGeom>
        </p:spPr>
        <p:txBody>
          <a:bodyPr/>
          <a:lstStyle/>
          <a:p>
            <a:pPr defTabSz="914400">
              <a:spcBef>
                <a:spcPts val="0"/>
              </a:spcBef>
            </a:pPr>
            <a:r>
              <a:rPr lang="en-US" sz="3600" kern="0" dirty="0" smtClean="0">
                <a:solidFill>
                  <a:schemeClr val="accent5"/>
                </a:solidFill>
                <a:latin typeface="Arial Narrow" pitchFamily="34" charset="0"/>
              </a:rPr>
              <a:t>Stubbing Method Calls</a:t>
            </a: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Arial Narrow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16934" y="1477288"/>
            <a:ext cx="216597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dirty="0" smtClean="0"/>
              <a:t>void Methods</a:t>
            </a:r>
            <a:endParaRPr lang="en-US" sz="2400" b="1" dirty="0"/>
          </a:p>
        </p:txBody>
      </p:sp>
      <p:sp>
        <p:nvSpPr>
          <p:cNvPr id="8" name="Rectangle 7"/>
          <p:cNvSpPr/>
          <p:nvPr/>
        </p:nvSpPr>
        <p:spPr>
          <a:xfrm>
            <a:off x="868101" y="2651864"/>
            <a:ext cx="8310623" cy="14080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n-US" b="1" dirty="0" smtClean="0"/>
              <a:t>Mocking void methods do not work with </a:t>
            </a:r>
            <a:r>
              <a:rPr lang="en-US" b="1" dirty="0" err="1" smtClean="0"/>
              <a:t>OngoingStub</a:t>
            </a:r>
            <a:r>
              <a:rPr lang="en-US" b="1" dirty="0" smtClean="0"/>
              <a:t>&lt;T&gt;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endParaRPr lang="en-US" b="1" dirty="0" smtClean="0"/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n-US" b="1" dirty="0" err="1" smtClean="0"/>
              <a:t>Mockito.doThrow</a:t>
            </a:r>
            <a:r>
              <a:rPr lang="en-US" b="1" dirty="0" smtClean="0"/>
              <a:t>(..) returns the </a:t>
            </a:r>
            <a:r>
              <a:rPr lang="en-US" b="1" dirty="0" err="1" smtClean="0"/>
              <a:t>Stubberclass</a:t>
            </a:r>
            <a:endParaRPr lang="en-US" b="1" dirty="0" smtClean="0"/>
          </a:p>
        </p:txBody>
      </p:sp>
    </p:spTree>
    <p:extLst>
      <p:ext uri="{BB962C8B-B14F-4D97-AF65-F5344CB8AC3E}">
        <p14:creationId xmlns="" xmlns:p14="http://schemas.microsoft.com/office/powerpoint/2010/main" val="662610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10050" name="think-cell Slide" r:id="rId4" imgW="360" imgH="360" progId="">
              <p:embed/>
            </p:oleObj>
          </a:graphicData>
        </a:graphic>
      </p:graphicFrame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467544" y="0"/>
            <a:ext cx="8229600" cy="980728"/>
          </a:xfrm>
          <a:prstGeom prst="rect">
            <a:avLst/>
          </a:prstGeom>
        </p:spPr>
        <p:txBody>
          <a:bodyPr/>
          <a:lstStyle/>
          <a:p>
            <a:pPr defTabSz="914400">
              <a:spcBef>
                <a:spcPts val="0"/>
              </a:spcBef>
            </a:pPr>
            <a:r>
              <a:rPr lang="en-US" sz="3600" kern="0" dirty="0" smtClean="0">
                <a:solidFill>
                  <a:schemeClr val="accent5"/>
                </a:solidFill>
                <a:latin typeface="Arial Narrow" pitchFamily="34" charset="0"/>
              </a:rPr>
              <a:t>Verifications</a:t>
            </a: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Arial Narrow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00941" y="1890956"/>
            <a:ext cx="931569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 err="1" smtClean="0"/>
              <a:t>Mockito.verify</a:t>
            </a:r>
            <a:r>
              <a:rPr lang="en-US" sz="2800" b="1" dirty="0" smtClean="0"/>
              <a:t>(..) is used to verify an intended mock operation was called</a:t>
            </a:r>
          </a:p>
        </p:txBody>
      </p:sp>
      <p:sp>
        <p:nvSpPr>
          <p:cNvPr id="8" name="Rectangle 7"/>
          <p:cNvSpPr/>
          <p:nvPr/>
        </p:nvSpPr>
        <p:spPr>
          <a:xfrm>
            <a:off x="601884" y="3473666"/>
            <a:ext cx="8762035" cy="9694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n-US" b="1" dirty="0" err="1" smtClean="0"/>
              <a:t>Mockito.verify</a:t>
            </a:r>
            <a:r>
              <a:rPr lang="en-US" b="1" dirty="0" smtClean="0"/>
              <a:t>(..) is used to verify an intended mock operation was called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n-US" b="1" dirty="0" err="1" smtClean="0"/>
              <a:t>VerificationModeallows</a:t>
            </a:r>
            <a:r>
              <a:rPr lang="en-US" b="1" dirty="0" smtClean="0"/>
              <a:t> extra verification of the operation</a:t>
            </a:r>
          </a:p>
        </p:txBody>
      </p:sp>
    </p:spTree>
    <p:extLst>
      <p:ext uri="{BB962C8B-B14F-4D97-AF65-F5344CB8AC3E}">
        <p14:creationId xmlns="" xmlns:p14="http://schemas.microsoft.com/office/powerpoint/2010/main" val="662610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813506" name="think-cell Slide" r:id="rId4" imgW="360" imgH="360" progId="">
              <p:embed/>
            </p:oleObj>
          </a:graphicData>
        </a:graphic>
      </p:graphicFrame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467544" y="0"/>
            <a:ext cx="8229600" cy="980728"/>
          </a:xfrm>
          <a:prstGeom prst="rect">
            <a:avLst/>
          </a:prstGeom>
        </p:spPr>
        <p:txBody>
          <a:bodyPr/>
          <a:lstStyle/>
          <a:p>
            <a:pPr defTabSz="914400">
              <a:spcBef>
                <a:spcPts val="0"/>
              </a:spcBef>
            </a:pPr>
            <a:r>
              <a:rPr lang="en-US" sz="3600" kern="0" dirty="0" smtClean="0">
                <a:solidFill>
                  <a:schemeClr val="accent5"/>
                </a:solidFill>
                <a:latin typeface="Arial Narrow" pitchFamily="34" charset="0"/>
              </a:rPr>
              <a:t>Recap</a:t>
            </a: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Arial Narrow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913917" y="1314735"/>
            <a:ext cx="8218507" cy="272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Font typeface="Wingdings" pitchFamily="2" charset="2"/>
              <a:buChar char="Ø"/>
            </a:pPr>
            <a:r>
              <a:rPr lang="en-US" dirty="0" smtClean="0"/>
              <a:t>Unit Testing</a:t>
            </a:r>
          </a:p>
          <a:p>
            <a:pPr>
              <a:lnSpc>
                <a:spcPct val="150000"/>
              </a:lnSpc>
              <a:buFont typeface="Wingdings" pitchFamily="2" charset="2"/>
              <a:buChar char="Ø"/>
            </a:pPr>
            <a:r>
              <a:rPr lang="en-US" dirty="0" smtClean="0"/>
              <a:t>Objectives of Unit Testing</a:t>
            </a:r>
          </a:p>
          <a:p>
            <a:pPr>
              <a:lnSpc>
                <a:spcPct val="150000"/>
              </a:lnSpc>
              <a:buFont typeface="Wingdings" pitchFamily="2" charset="2"/>
              <a:buChar char="Ø"/>
            </a:pPr>
            <a:r>
              <a:rPr lang="en-US" dirty="0" smtClean="0"/>
              <a:t>Planning</a:t>
            </a:r>
          </a:p>
          <a:p>
            <a:pPr>
              <a:lnSpc>
                <a:spcPct val="150000"/>
              </a:lnSpc>
              <a:buFont typeface="Wingdings" pitchFamily="2" charset="2"/>
              <a:buChar char="Ø"/>
            </a:pPr>
            <a:r>
              <a:rPr lang="en-US" dirty="0" smtClean="0"/>
              <a:t>Unit Test Design</a:t>
            </a:r>
          </a:p>
          <a:p>
            <a:pPr>
              <a:lnSpc>
                <a:spcPct val="150000"/>
              </a:lnSpc>
              <a:buFont typeface="Wingdings" pitchFamily="2" charset="2"/>
              <a:buChar char="Ø"/>
            </a:pPr>
            <a:r>
              <a:rPr lang="en-US" dirty="0" smtClean="0"/>
              <a:t>Unit Testing implementation using </a:t>
            </a:r>
            <a:r>
              <a:rPr lang="en-US" dirty="0" err="1" smtClean="0"/>
              <a:t>Junit</a:t>
            </a:r>
            <a:r>
              <a:rPr lang="en-US" dirty="0" smtClean="0"/>
              <a:t> </a:t>
            </a:r>
          </a:p>
          <a:p>
            <a:pPr>
              <a:lnSpc>
                <a:spcPct val="150000"/>
              </a:lnSpc>
              <a:buFont typeface="Wingdings" pitchFamily="2" charset="2"/>
              <a:buChar char="Ø"/>
            </a:pPr>
            <a:r>
              <a:rPr lang="en-US" dirty="0" smtClean="0"/>
              <a:t>Best Practices of Unit Testing</a:t>
            </a:r>
          </a:p>
        </p:txBody>
      </p:sp>
    </p:spTree>
    <p:extLst>
      <p:ext uri="{BB962C8B-B14F-4D97-AF65-F5344CB8AC3E}">
        <p14:creationId xmlns="" xmlns:p14="http://schemas.microsoft.com/office/powerpoint/2010/main" val="662610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11074" name="think-cell Slide" r:id="rId4" imgW="360" imgH="360" progId="">
              <p:embed/>
            </p:oleObj>
          </a:graphicData>
        </a:graphic>
      </p:graphicFrame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467544" y="0"/>
            <a:ext cx="8229600" cy="980728"/>
          </a:xfrm>
          <a:prstGeom prst="rect">
            <a:avLst/>
          </a:prstGeom>
        </p:spPr>
        <p:txBody>
          <a:bodyPr/>
          <a:lstStyle/>
          <a:p>
            <a:pPr defTabSz="914400">
              <a:spcBef>
                <a:spcPts val="0"/>
              </a:spcBef>
            </a:pPr>
            <a:r>
              <a:rPr lang="en-US" sz="3600" kern="0" dirty="0" smtClean="0">
                <a:solidFill>
                  <a:schemeClr val="accent5"/>
                </a:solidFill>
                <a:latin typeface="Arial Narrow" pitchFamily="34" charset="0"/>
              </a:rPr>
              <a:t>Verifications</a:t>
            </a: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Arial Narrow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39839" y="1386695"/>
            <a:ext cx="8681012" cy="44781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n-US" b="1" dirty="0" err="1" smtClean="0"/>
              <a:t>Mockito.verify</a:t>
            </a:r>
            <a:r>
              <a:rPr lang="en-US" b="1" dirty="0" smtClean="0"/>
              <a:t>(..) is used to verify an intended mock operation was called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n-US" b="1" dirty="0" err="1" smtClean="0"/>
              <a:t>VerificationModeallows</a:t>
            </a:r>
            <a:r>
              <a:rPr lang="en-US" b="1" dirty="0" smtClean="0"/>
              <a:t> extra verification of the </a:t>
            </a:r>
            <a:r>
              <a:rPr lang="en-US" b="1" dirty="0" err="1" smtClean="0"/>
              <a:t>operationtimes</a:t>
            </a:r>
            <a:r>
              <a:rPr lang="en-US" b="1" dirty="0" smtClean="0"/>
              <a:t>(</a:t>
            </a:r>
            <a:r>
              <a:rPr lang="en-US" b="1" i="1" dirty="0" smtClean="0"/>
              <a:t>n)</a:t>
            </a:r>
          </a:p>
          <a:p>
            <a:pPr lvl="1">
              <a:lnSpc>
                <a:spcPct val="150000"/>
              </a:lnSpc>
              <a:buFont typeface="Arial" pitchFamily="34" charset="0"/>
              <a:buChar char="•"/>
            </a:pPr>
            <a:r>
              <a:rPr lang="en-US" dirty="0" err="1" smtClean="0"/>
              <a:t>atLeastOnce</a:t>
            </a:r>
            <a:r>
              <a:rPr lang="en-US" dirty="0" smtClean="0"/>
              <a:t>()</a:t>
            </a:r>
          </a:p>
          <a:p>
            <a:pPr lvl="1">
              <a:lnSpc>
                <a:spcPct val="150000"/>
              </a:lnSpc>
              <a:buFont typeface="Arial" pitchFamily="34" charset="0"/>
              <a:buChar char="•"/>
            </a:pPr>
            <a:r>
              <a:rPr lang="en-US" dirty="0" err="1" smtClean="0"/>
              <a:t>atLeast</a:t>
            </a:r>
            <a:r>
              <a:rPr lang="en-US" dirty="0" smtClean="0"/>
              <a:t>(</a:t>
            </a:r>
            <a:r>
              <a:rPr lang="en-US" i="1" dirty="0" smtClean="0"/>
              <a:t>n)</a:t>
            </a:r>
          </a:p>
          <a:p>
            <a:pPr lvl="1">
              <a:lnSpc>
                <a:spcPct val="150000"/>
              </a:lnSpc>
              <a:buFont typeface="Arial" pitchFamily="34" charset="0"/>
              <a:buChar char="•"/>
            </a:pPr>
            <a:r>
              <a:rPr lang="en-US" dirty="0" err="1" smtClean="0"/>
              <a:t>atMost</a:t>
            </a:r>
            <a:r>
              <a:rPr lang="en-US" dirty="0" smtClean="0"/>
              <a:t>(</a:t>
            </a:r>
            <a:r>
              <a:rPr lang="en-US" i="1" dirty="0" smtClean="0"/>
              <a:t>n)</a:t>
            </a:r>
          </a:p>
          <a:p>
            <a:pPr lvl="1">
              <a:lnSpc>
                <a:spcPct val="150000"/>
              </a:lnSpc>
              <a:buFont typeface="Arial" pitchFamily="34" charset="0"/>
              <a:buChar char="•"/>
            </a:pPr>
            <a:r>
              <a:rPr lang="en-US" dirty="0" smtClean="0"/>
              <a:t>never()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endParaRPr lang="en-US" dirty="0" smtClean="0"/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n-US" b="1" dirty="0" smtClean="0"/>
              <a:t>Verifying no interactions </a:t>
            </a:r>
            <a:r>
              <a:rPr lang="en-US" b="1" dirty="0" err="1" smtClean="0"/>
              <a:t>globallyMockito.verify</a:t>
            </a:r>
            <a:r>
              <a:rPr lang="en-US" b="1" dirty="0" smtClean="0"/>
              <a:t>(..).</a:t>
            </a:r>
            <a:r>
              <a:rPr lang="en-US" b="1" dirty="0" err="1" smtClean="0"/>
              <a:t>zeroInteractions</a:t>
            </a:r>
            <a:r>
              <a:rPr lang="en-US" b="1" dirty="0" smtClean="0"/>
              <a:t>()</a:t>
            </a:r>
          </a:p>
          <a:p>
            <a:pPr lvl="1">
              <a:lnSpc>
                <a:spcPct val="150000"/>
              </a:lnSpc>
              <a:buFont typeface="Arial" pitchFamily="34" charset="0"/>
              <a:buChar char="•"/>
            </a:pPr>
            <a:r>
              <a:rPr lang="en-US" dirty="0" err="1" smtClean="0"/>
              <a:t>Mockito.verify</a:t>
            </a:r>
            <a:r>
              <a:rPr lang="en-US" dirty="0" smtClean="0"/>
              <a:t>(..).</a:t>
            </a:r>
            <a:r>
              <a:rPr lang="en-US" dirty="0" err="1" smtClean="0"/>
              <a:t>noMoreInteractions</a:t>
            </a:r>
            <a:r>
              <a:rPr lang="en-US" dirty="0" smtClean="0"/>
              <a:t>()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endParaRPr lang="en-US" dirty="0" smtClean="0"/>
          </a:p>
        </p:txBody>
      </p:sp>
    </p:spTree>
    <p:extLst>
      <p:ext uri="{BB962C8B-B14F-4D97-AF65-F5344CB8AC3E}">
        <p14:creationId xmlns="" xmlns:p14="http://schemas.microsoft.com/office/powerpoint/2010/main" val="662610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86754" name="think-cell Slide" r:id="rId4" imgW="360" imgH="360" progId="">
              <p:embed/>
            </p:oleObj>
          </a:graphicData>
        </a:graphic>
      </p:graphicFrame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467544" y="0"/>
            <a:ext cx="8229600" cy="980728"/>
          </a:xfrm>
          <a:prstGeom prst="rect">
            <a:avLst/>
          </a:prstGeom>
        </p:spPr>
        <p:txBody>
          <a:bodyPr/>
          <a:lstStyle/>
          <a:p>
            <a:pPr defTabSz="914400">
              <a:spcBef>
                <a:spcPts val="0"/>
              </a:spcBef>
            </a:pPr>
            <a:r>
              <a:rPr lang="en-US" sz="3600" kern="0" dirty="0" smtClean="0">
                <a:solidFill>
                  <a:schemeClr val="accent5"/>
                </a:solidFill>
                <a:latin typeface="Arial Narrow" pitchFamily="34" charset="0"/>
              </a:rPr>
              <a:t>Summary</a:t>
            </a: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Arial Narrow" pitchFamily="34" charset="0"/>
            </a:endParaRPr>
          </a:p>
        </p:txBody>
      </p:sp>
      <p:graphicFrame>
        <p:nvGraphicFramePr>
          <p:cNvPr id="7" name="Diagram 6"/>
          <p:cNvGraphicFramePr/>
          <p:nvPr/>
        </p:nvGraphicFramePr>
        <p:xfrm>
          <a:off x="1651000" y="1907628"/>
          <a:ext cx="6604000" cy="37227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="" xmlns:p14="http://schemas.microsoft.com/office/powerpoint/2010/main" val="662610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569913" defTabSz="914400"/>
            <a:r>
              <a:rPr lang="en-US" dirty="0">
                <a:solidFill>
                  <a:srgbClr val="1F497D">
                    <a:lumMod val="50000"/>
                  </a:srgbClr>
                </a:solidFill>
              </a:rPr>
              <a:t>Advanced Mockito Concept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649666" name="think-cell Slide" r:id="rId4" imgW="360" imgH="360" progId="">
              <p:embed/>
            </p:oleObj>
          </a:graphicData>
        </a:graphic>
      </p:graphicFrame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467544" y="0"/>
            <a:ext cx="8229600" cy="980728"/>
          </a:xfrm>
          <a:prstGeom prst="rect">
            <a:avLst/>
          </a:prstGeom>
        </p:spPr>
        <p:txBody>
          <a:bodyPr/>
          <a:lstStyle/>
          <a:p>
            <a:pPr defTabSz="914400">
              <a:spcBef>
                <a:spcPts val="0"/>
              </a:spcBef>
            </a:pPr>
            <a:r>
              <a:rPr lang="en-US" sz="3600" dirty="0" smtClean="0">
                <a:solidFill>
                  <a:srgbClr val="1F497D">
                    <a:lumMod val="50000"/>
                  </a:srgbClr>
                </a:solidFill>
              </a:rPr>
              <a:t>Advanced Mockito Concepts</a:t>
            </a: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Arial Narrow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868101" y="2651864"/>
            <a:ext cx="8310623" cy="14080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n-US" b="1" dirty="0" smtClean="0"/>
              <a:t>Argument matching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n-US" b="1" dirty="0" smtClean="0"/>
              <a:t>Matchers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endParaRPr lang="en-US" b="1" dirty="0" smtClean="0"/>
          </a:p>
        </p:txBody>
      </p:sp>
    </p:spTree>
    <p:extLst>
      <p:ext uri="{BB962C8B-B14F-4D97-AF65-F5344CB8AC3E}">
        <p14:creationId xmlns="" xmlns:p14="http://schemas.microsoft.com/office/powerpoint/2010/main" val="662610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tcher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US" sz="1800" dirty="0" smtClean="0"/>
          </a:p>
          <a:p>
            <a:endParaRPr lang="en-US" sz="1800" dirty="0" smtClean="0"/>
          </a:p>
          <a:p>
            <a:r>
              <a:rPr lang="en-US" sz="1800" b="1" dirty="0" err="1" smtClean="0"/>
              <a:t>Matchers.eq</a:t>
            </a:r>
            <a:r>
              <a:rPr lang="en-US" sz="1800" b="1" dirty="0" smtClean="0"/>
              <a:t>(..) </a:t>
            </a:r>
          </a:p>
          <a:p>
            <a:r>
              <a:rPr lang="en-US" sz="1800" b="1" dirty="0" smtClean="0"/>
              <a:t>Any matchers </a:t>
            </a:r>
          </a:p>
          <a:p>
            <a:r>
              <a:rPr lang="en-US" sz="1800" b="1" dirty="0" smtClean="0"/>
              <a:t>String matchers </a:t>
            </a:r>
          </a:p>
          <a:p>
            <a:r>
              <a:rPr lang="en-US" sz="1800" b="1" dirty="0" smtClean="0"/>
              <a:t>Reference equality and reflection </a:t>
            </a:r>
          </a:p>
          <a:p>
            <a:pPr lvl="1"/>
            <a:r>
              <a:rPr lang="en-US" sz="1800" dirty="0" smtClean="0"/>
              <a:t>Test reference equality with </a:t>
            </a:r>
            <a:r>
              <a:rPr lang="en-US" sz="1800" i="1" dirty="0" err="1" smtClean="0"/>
              <a:t>Matchers.same</a:t>
            </a:r>
            <a:r>
              <a:rPr lang="en-US" sz="1800" i="1" dirty="0" smtClean="0"/>
              <a:t>(ref) </a:t>
            </a:r>
          </a:p>
          <a:p>
            <a:pPr lvl="1"/>
            <a:r>
              <a:rPr lang="en-US" sz="1800" dirty="0" smtClean="0"/>
              <a:t>Reflectively test using </a:t>
            </a:r>
          </a:p>
          <a:p>
            <a:pPr lvl="2"/>
            <a:r>
              <a:rPr lang="en-US" sz="1800" i="1" dirty="0" err="1" smtClean="0"/>
              <a:t>Matchers.refEq</a:t>
            </a:r>
            <a:r>
              <a:rPr lang="en-US" sz="1800" i="1" dirty="0" smtClean="0"/>
              <a:t>(ref) </a:t>
            </a:r>
          </a:p>
          <a:p>
            <a:pPr lvl="2"/>
            <a:r>
              <a:rPr lang="en-US" sz="1800" i="1" dirty="0" err="1" smtClean="0"/>
              <a:t>Matchers.refEq</a:t>
            </a:r>
            <a:r>
              <a:rPr lang="en-US" sz="1800" i="1" dirty="0" smtClean="0"/>
              <a:t>(ref, “</a:t>
            </a:r>
            <a:r>
              <a:rPr lang="en-US" sz="1800" i="1" dirty="0" err="1" smtClean="0"/>
              <a:t>excludeField</a:t>
            </a:r>
            <a:r>
              <a:rPr lang="en-US" sz="1800" i="1" dirty="0" smtClean="0"/>
              <a:t>”) </a:t>
            </a:r>
          </a:p>
          <a:p>
            <a:endParaRPr lang="en-US" sz="1800" dirty="0"/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b="1" dirty="0" smtClean="0"/>
              <a:t>Stubbing Consecutive Calls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US" sz="1800" dirty="0" smtClean="0"/>
          </a:p>
          <a:p>
            <a:endParaRPr lang="en-US" sz="1800" dirty="0" smtClean="0"/>
          </a:p>
          <a:p>
            <a:r>
              <a:rPr lang="en-US" sz="1800" b="1" dirty="0" smtClean="0"/>
              <a:t>Handy for testing logic that needs to be resilient when errors occur </a:t>
            </a:r>
          </a:p>
          <a:p>
            <a:pPr lvl="1"/>
            <a:r>
              <a:rPr lang="en-US" sz="1800" dirty="0" smtClean="0"/>
              <a:t>1.Looping logic that either short-circuits or continues on exception </a:t>
            </a:r>
          </a:p>
          <a:p>
            <a:pPr lvl="1"/>
            <a:r>
              <a:rPr lang="en-US" sz="1800" dirty="0" smtClean="0"/>
              <a:t>2.Retry logic when errors are encountered </a:t>
            </a:r>
          </a:p>
          <a:p>
            <a:r>
              <a:rPr lang="en-US" sz="1800" b="1" dirty="0" smtClean="0"/>
              <a:t>Stubbing consecutive responses helps simplify these types of tests </a:t>
            </a:r>
          </a:p>
          <a:p>
            <a:endParaRPr lang="en-US" sz="1800" dirty="0"/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erification Ord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17501" y="1956122"/>
            <a:ext cx="6546286" cy="4139878"/>
          </a:xfrm>
        </p:spPr>
        <p:txBody>
          <a:bodyPr/>
          <a:lstStyle/>
          <a:p>
            <a:endParaRPr lang="en-US" sz="1800" dirty="0" smtClean="0"/>
          </a:p>
          <a:p>
            <a:endParaRPr lang="en-US" sz="1800" dirty="0" smtClean="0"/>
          </a:p>
          <a:p>
            <a:r>
              <a:rPr lang="en-US" sz="1800" dirty="0" smtClean="0"/>
              <a:t>Legacy APIs and dependencies sometimes enforce restrictions </a:t>
            </a:r>
          </a:p>
          <a:p>
            <a:endParaRPr lang="en-US" sz="1800" dirty="0" smtClean="0"/>
          </a:p>
          <a:p>
            <a:r>
              <a:rPr lang="en-US" sz="1800" dirty="0" smtClean="0"/>
              <a:t>Results of one dependency may be needed when interacting with another </a:t>
            </a:r>
          </a:p>
        </p:txBody>
      </p:sp>
      <p:sp>
        <p:nvSpPr>
          <p:cNvPr id="4" name="Rectangle 3"/>
          <p:cNvSpPr/>
          <p:nvPr/>
        </p:nvSpPr>
        <p:spPr>
          <a:xfrm>
            <a:off x="450931" y="1574163"/>
            <a:ext cx="4953000" cy="677108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en-US" dirty="0" smtClean="0"/>
          </a:p>
          <a:p>
            <a:r>
              <a:rPr lang="en-US" b="1" dirty="0" smtClean="0"/>
              <a:t>Sometimes Ordering Is Critical </a:t>
            </a:r>
            <a:endParaRPr lang="en-US" dirty="0"/>
          </a:p>
        </p:txBody>
      </p:sp>
      <p:pic>
        <p:nvPicPr>
          <p:cNvPr id="165069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27871" y="1349958"/>
            <a:ext cx="2809875" cy="267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 Order Verifier</a:t>
            </a:r>
            <a:endParaRPr lang="en-US" dirty="0"/>
          </a:p>
        </p:txBody>
      </p:sp>
      <p:pic>
        <p:nvPicPr>
          <p:cNvPr id="165171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09638" y="1366838"/>
            <a:ext cx="8086725" cy="412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pturing Arguments</a:t>
            </a:r>
            <a:endParaRPr lang="en-US" dirty="0"/>
          </a:p>
        </p:txBody>
      </p:sp>
      <p:pic>
        <p:nvPicPr>
          <p:cNvPr id="165273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1462" y="2206544"/>
            <a:ext cx="3286125" cy="283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2739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650797" y="1980476"/>
            <a:ext cx="3419475" cy="278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/>
          <p:cNvSpPr/>
          <p:nvPr/>
        </p:nvSpPr>
        <p:spPr>
          <a:xfrm>
            <a:off x="2059812" y="1342668"/>
            <a:ext cx="4953000" cy="677108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en-US" dirty="0" smtClean="0"/>
          </a:p>
          <a:p>
            <a:r>
              <a:rPr lang="en-US" b="1" dirty="0" smtClean="0"/>
              <a:t>Validating Objects Without Direct Access 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3448773" y="5150733"/>
            <a:ext cx="2720534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dirty="0" smtClean="0"/>
          </a:p>
          <a:p>
            <a:r>
              <a:rPr lang="en-US" dirty="0" smtClean="0"/>
              <a:t>Argument Captors </a:t>
            </a:r>
            <a:endParaRPr lang="en-US" dirty="0"/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pturing Argumen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-US" sz="2000" b="1" dirty="0" smtClean="0"/>
              <a:t>Capturing allows you to capture the actual object passed into the mock </a:t>
            </a:r>
          </a:p>
          <a:p>
            <a:pPr>
              <a:lnSpc>
                <a:spcPct val="150000"/>
              </a:lnSpc>
            </a:pPr>
            <a:r>
              <a:rPr lang="en-US" sz="2000" b="1" dirty="0" smtClean="0"/>
              <a:t>Argument Captor instances are used to capture these values </a:t>
            </a:r>
          </a:p>
          <a:p>
            <a:pPr>
              <a:lnSpc>
                <a:spcPct val="150000"/>
              </a:lnSpc>
            </a:pPr>
            <a:endParaRPr lang="en-US" sz="2000" b="1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itle 3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grpSp>
        <p:nvGrpSpPr>
          <p:cNvPr id="16" name="Group 15"/>
          <p:cNvGrpSpPr/>
          <p:nvPr/>
        </p:nvGrpSpPr>
        <p:grpSpPr>
          <a:xfrm>
            <a:off x="1143192" y="2253866"/>
            <a:ext cx="4358640" cy="2510118"/>
            <a:chOff x="1285082" y="2064674"/>
            <a:chExt cx="4358640" cy="2510118"/>
          </a:xfrm>
        </p:grpSpPr>
        <p:sp>
          <p:nvSpPr>
            <p:cNvPr id="17" name="Rectangle 16"/>
            <p:cNvSpPr/>
            <p:nvPr/>
          </p:nvSpPr>
          <p:spPr>
            <a:xfrm>
              <a:off x="1285082" y="2064674"/>
              <a:ext cx="4358640" cy="56701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569913" defTabSz="914400"/>
              <a:r>
                <a:rPr lang="en-US" sz="1600" dirty="0" smtClean="0">
                  <a:solidFill>
                    <a:srgbClr val="1F497D">
                      <a:lumMod val="50000"/>
                    </a:srgbClr>
                  </a:solidFill>
                </a:rPr>
                <a:t>Mockito</a:t>
              </a:r>
              <a:endParaRPr lang="en-US" sz="1600" dirty="0">
                <a:solidFill>
                  <a:srgbClr val="1F497D">
                    <a:lumMod val="50000"/>
                  </a:srgbClr>
                </a:solidFill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1285082" y="2712374"/>
              <a:ext cx="4358640" cy="56701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569913" defTabSz="914400"/>
              <a:r>
                <a:rPr lang="en-US" sz="1600" dirty="0" smtClean="0">
                  <a:solidFill>
                    <a:srgbClr val="1F497D">
                      <a:lumMod val="50000"/>
                    </a:srgbClr>
                  </a:solidFill>
                </a:rPr>
                <a:t>Advanced Mockito Concepts</a:t>
              </a: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1285082" y="3360074"/>
              <a:ext cx="4358640" cy="56701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569913" defTabSz="914400"/>
              <a:endParaRPr lang="en-US" sz="1600" dirty="0" smtClean="0">
                <a:solidFill>
                  <a:srgbClr val="1F497D">
                    <a:lumMod val="50000"/>
                  </a:srgbClr>
                </a:solidFill>
              </a:endParaRPr>
            </a:p>
            <a:p>
              <a:pPr marL="569913" defTabSz="914400"/>
              <a:r>
                <a:rPr lang="en-US" sz="1600" dirty="0" smtClean="0">
                  <a:solidFill>
                    <a:srgbClr val="1F497D">
                      <a:lumMod val="50000"/>
                    </a:srgbClr>
                  </a:solidFill>
                </a:rPr>
                <a:t>Power Mockito</a:t>
              </a:r>
            </a:p>
            <a:p>
              <a:pPr marL="569913" defTabSz="914400"/>
              <a:endParaRPr lang="en-US" sz="1600" dirty="0" smtClean="0">
                <a:solidFill>
                  <a:srgbClr val="1F497D">
                    <a:lumMod val="50000"/>
                  </a:srgbClr>
                </a:solidFill>
              </a:endParaRP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1285082" y="4007774"/>
              <a:ext cx="4358640" cy="56701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569913" defTabSz="914400"/>
              <a:r>
                <a:rPr lang="en-US" sz="1600" dirty="0" smtClean="0">
                  <a:solidFill>
                    <a:srgbClr val="1F497D">
                      <a:lumMod val="50000"/>
                    </a:srgbClr>
                  </a:solidFill>
                </a:rPr>
                <a:t>Test Driven Development</a:t>
              </a:r>
              <a:endParaRPr lang="en-US" sz="1600" dirty="0">
                <a:solidFill>
                  <a:srgbClr val="1F497D">
                    <a:lumMod val="50000"/>
                  </a:srgbClr>
                </a:solidFill>
              </a:endParaRP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1285082" y="2064674"/>
              <a:ext cx="577850" cy="567018"/>
            </a:xfrm>
            <a:prstGeom prst="rect">
              <a:avLst/>
            </a:prstGeom>
            <a:solidFill>
              <a:srgbClr val="4593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r>
                <a:rPr lang="en-US" sz="2400" dirty="0" smtClean="0">
                  <a:solidFill>
                    <a:prstClr val="white">
                      <a:lumMod val="95000"/>
                    </a:prstClr>
                  </a:solidFill>
                </a:rPr>
                <a:t>1</a:t>
              </a:r>
              <a:endParaRPr lang="en-US" sz="2400" dirty="0">
                <a:solidFill>
                  <a:prstClr val="white">
                    <a:lumMod val="95000"/>
                  </a:prstClr>
                </a:solidFill>
              </a:endParaRPr>
            </a:p>
          </p:txBody>
        </p:sp>
        <p:sp>
          <p:nvSpPr>
            <p:cNvPr id="49" name="Rectangle 48"/>
            <p:cNvSpPr/>
            <p:nvPr/>
          </p:nvSpPr>
          <p:spPr>
            <a:xfrm>
              <a:off x="1285082" y="2712374"/>
              <a:ext cx="577850" cy="567018"/>
            </a:xfrm>
            <a:prstGeom prst="rect">
              <a:avLst/>
            </a:prstGeom>
            <a:solidFill>
              <a:srgbClr val="4593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r>
                <a:rPr lang="en-US" sz="2400" dirty="0" smtClean="0">
                  <a:solidFill>
                    <a:prstClr val="white">
                      <a:lumMod val="95000"/>
                    </a:prstClr>
                  </a:solidFill>
                </a:rPr>
                <a:t>2</a:t>
              </a:r>
              <a:endParaRPr lang="en-US" sz="2400" dirty="0">
                <a:solidFill>
                  <a:prstClr val="white">
                    <a:lumMod val="95000"/>
                  </a:prstClr>
                </a:solidFill>
              </a:endParaRPr>
            </a:p>
          </p:txBody>
        </p:sp>
        <p:sp>
          <p:nvSpPr>
            <p:cNvPr id="50" name="Rectangle 49"/>
            <p:cNvSpPr/>
            <p:nvPr/>
          </p:nvSpPr>
          <p:spPr>
            <a:xfrm>
              <a:off x="1285082" y="3360074"/>
              <a:ext cx="577850" cy="567018"/>
            </a:xfrm>
            <a:prstGeom prst="rect">
              <a:avLst/>
            </a:prstGeom>
            <a:solidFill>
              <a:srgbClr val="4593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r>
                <a:rPr lang="en-US" sz="2400" dirty="0" smtClean="0">
                  <a:solidFill>
                    <a:prstClr val="white">
                      <a:lumMod val="95000"/>
                    </a:prstClr>
                  </a:solidFill>
                </a:rPr>
                <a:t>3</a:t>
              </a:r>
              <a:endParaRPr lang="en-US" sz="2400" dirty="0">
                <a:solidFill>
                  <a:prstClr val="white">
                    <a:lumMod val="95000"/>
                  </a:prstClr>
                </a:solidFill>
              </a:endParaRPr>
            </a:p>
          </p:txBody>
        </p:sp>
        <p:sp>
          <p:nvSpPr>
            <p:cNvPr id="51" name="Rectangle 50"/>
            <p:cNvSpPr/>
            <p:nvPr/>
          </p:nvSpPr>
          <p:spPr>
            <a:xfrm>
              <a:off x="1285082" y="4007774"/>
              <a:ext cx="577850" cy="567018"/>
            </a:xfrm>
            <a:prstGeom prst="rect">
              <a:avLst/>
            </a:prstGeom>
            <a:solidFill>
              <a:srgbClr val="4593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r>
                <a:rPr lang="en-US" sz="2400" dirty="0" smtClean="0">
                  <a:solidFill>
                    <a:prstClr val="white">
                      <a:lumMod val="95000"/>
                    </a:prstClr>
                  </a:solidFill>
                </a:rPr>
                <a:t>4</a:t>
              </a:r>
              <a:endParaRPr lang="en-US" sz="2400" dirty="0">
                <a:solidFill>
                  <a:prstClr val="white">
                    <a:lumMod val="95000"/>
                  </a:prstClr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rtial Mock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17501" y="2835796"/>
            <a:ext cx="6245345" cy="3260203"/>
          </a:xfrm>
        </p:spPr>
        <p:txBody>
          <a:bodyPr/>
          <a:lstStyle/>
          <a:p>
            <a:pPr>
              <a:lnSpc>
                <a:spcPct val="200000"/>
              </a:lnSpc>
            </a:pPr>
            <a:r>
              <a:rPr lang="en-US" sz="2000" b="1" dirty="0" smtClean="0"/>
              <a:t>Mocking Interfaces vs. Classes </a:t>
            </a:r>
          </a:p>
          <a:p>
            <a:pPr>
              <a:lnSpc>
                <a:spcPct val="200000"/>
              </a:lnSpc>
            </a:pPr>
            <a:r>
              <a:rPr lang="en-US" sz="2000" b="1" dirty="0" smtClean="0"/>
              <a:t>Partial mocking mixes controlled invocation stubs with real method calls </a:t>
            </a:r>
          </a:p>
          <a:p>
            <a:pPr>
              <a:lnSpc>
                <a:spcPct val="200000"/>
              </a:lnSpc>
            </a:pPr>
            <a:endParaRPr lang="en-US" sz="2000" dirty="0"/>
          </a:p>
        </p:txBody>
      </p:sp>
      <p:pic>
        <p:nvPicPr>
          <p:cNvPr id="165376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855884" y="1867985"/>
            <a:ext cx="1990725" cy="421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4"/>
          <p:cNvSpPr/>
          <p:nvPr/>
        </p:nvSpPr>
        <p:spPr>
          <a:xfrm>
            <a:off x="693998" y="1759357"/>
            <a:ext cx="4953000" cy="677108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en-US" dirty="0" smtClean="0"/>
          </a:p>
          <a:p>
            <a:r>
              <a:rPr lang="en-US" b="1" dirty="0" smtClean="0"/>
              <a:t>Mocks vs. Spies </a:t>
            </a:r>
            <a:endParaRPr lang="en-US" dirty="0"/>
          </a:p>
        </p:txBody>
      </p:sp>
      <p:pic>
        <p:nvPicPr>
          <p:cNvPr id="1653763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59450" y="1872748"/>
            <a:ext cx="2000250" cy="4200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b="1" dirty="0" smtClean="0"/>
              <a:t>Partial Mocks – Simplify Testing </a:t>
            </a:r>
            <a:endParaRPr lang="en-US" dirty="0"/>
          </a:p>
        </p:txBody>
      </p:sp>
      <p:pic>
        <p:nvPicPr>
          <p:cNvPr id="165478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24510" y="1076325"/>
            <a:ext cx="4762500" cy="578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b="1" dirty="0" smtClean="0"/>
              <a:t>Things To Be Mindful Of With Partial Mocks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-US" sz="1600" b="1" dirty="0" smtClean="0"/>
              <a:t>When partial mocking, please bear the following in mind </a:t>
            </a:r>
          </a:p>
          <a:p>
            <a:pPr lvl="1">
              <a:lnSpc>
                <a:spcPct val="150000"/>
              </a:lnSpc>
            </a:pPr>
            <a:r>
              <a:rPr lang="en-US" sz="1600" dirty="0" smtClean="0"/>
              <a:t>You can’t mock final methods </a:t>
            </a:r>
          </a:p>
          <a:p>
            <a:pPr lvl="1">
              <a:lnSpc>
                <a:spcPct val="150000"/>
              </a:lnSpc>
            </a:pPr>
            <a:r>
              <a:rPr lang="en-US" sz="1600" dirty="0" smtClean="0"/>
              <a:t>You can’t mock private methods </a:t>
            </a:r>
          </a:p>
          <a:p>
            <a:pPr lvl="1">
              <a:lnSpc>
                <a:spcPct val="150000"/>
              </a:lnSpc>
            </a:pPr>
            <a:r>
              <a:rPr lang="en-US" sz="1600" dirty="0" smtClean="0"/>
              <a:t>Set the state appropriately </a:t>
            </a:r>
          </a:p>
          <a:p>
            <a:pPr>
              <a:lnSpc>
                <a:spcPct val="150000"/>
              </a:lnSpc>
            </a:pPr>
            <a:r>
              <a:rPr lang="en-US" sz="1600" b="1" dirty="0" smtClean="0"/>
              <a:t>When stubbing a spy, the initial call is routed to the real method </a:t>
            </a:r>
          </a:p>
          <a:p>
            <a:pPr>
              <a:lnSpc>
                <a:spcPct val="150000"/>
              </a:lnSpc>
            </a:pPr>
            <a:endParaRPr lang="en-US" sz="1600" dirty="0"/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569913" defTabSz="914400"/>
            <a:r>
              <a:rPr lang="en-US" dirty="0" smtClean="0">
                <a:solidFill>
                  <a:srgbClr val="1F497D">
                    <a:lumMod val="50000"/>
                  </a:srgbClr>
                </a:solidFill>
              </a:rPr>
              <a:t>Power Mockito</a:t>
            </a:r>
            <a:endParaRPr lang="en-US" dirty="0">
              <a:solidFill>
                <a:srgbClr val="1F497D">
                  <a:lumMod val="50000"/>
                </a:srgb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b="1" dirty="0" smtClean="0"/>
              <a:t>When Mockito Is Not Enough…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>
              <a:lnSpc>
                <a:spcPct val="150000"/>
              </a:lnSpc>
              <a:buNone/>
            </a:pPr>
            <a:r>
              <a:rPr lang="en-US" sz="2400" b="1" dirty="0" smtClean="0"/>
              <a:t>Power Mock </a:t>
            </a:r>
          </a:p>
          <a:p>
            <a:pPr>
              <a:lnSpc>
                <a:spcPct val="150000"/>
              </a:lnSpc>
            </a:pPr>
            <a:r>
              <a:rPr lang="en-US" sz="1800" b="1" dirty="0" smtClean="0"/>
              <a:t>Mockito covers 80% of your usage scenarios </a:t>
            </a:r>
          </a:p>
          <a:p>
            <a:pPr>
              <a:lnSpc>
                <a:spcPct val="150000"/>
              </a:lnSpc>
            </a:pPr>
            <a:r>
              <a:rPr lang="en-US" sz="1800" b="1" dirty="0" err="1" smtClean="0"/>
              <a:t>PowerMock</a:t>
            </a:r>
            <a:r>
              <a:rPr lang="en-US" sz="1800" b="1" dirty="0" smtClean="0"/>
              <a:t> provides an extension for the remaining 20% </a:t>
            </a:r>
          </a:p>
          <a:p>
            <a:pPr>
              <a:lnSpc>
                <a:spcPct val="150000"/>
              </a:lnSpc>
            </a:pPr>
            <a:r>
              <a:rPr lang="en-US" sz="1800" b="1" dirty="0" smtClean="0"/>
              <a:t>The difference is </a:t>
            </a:r>
          </a:p>
          <a:p>
            <a:pPr lvl="1">
              <a:lnSpc>
                <a:spcPct val="150000"/>
              </a:lnSpc>
            </a:pPr>
            <a:r>
              <a:rPr lang="en-US" sz="1800" dirty="0" smtClean="0"/>
              <a:t>Mockito uses a proxy-based approach to intercept calls </a:t>
            </a:r>
          </a:p>
          <a:p>
            <a:pPr lvl="1">
              <a:lnSpc>
                <a:spcPct val="150000"/>
              </a:lnSpc>
            </a:pPr>
            <a:r>
              <a:rPr lang="en-US" sz="1800" dirty="0" err="1" smtClean="0"/>
              <a:t>PowerMock</a:t>
            </a:r>
            <a:r>
              <a:rPr lang="en-US" sz="1800" dirty="0" smtClean="0"/>
              <a:t> uses a custom class loader and manipulates the byte code </a:t>
            </a:r>
          </a:p>
          <a:p>
            <a:pPr>
              <a:lnSpc>
                <a:spcPct val="150000"/>
              </a:lnSpc>
            </a:pPr>
            <a:endParaRPr lang="en-US" sz="1800" dirty="0"/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b="1" dirty="0" smtClean="0"/>
              <a:t>Mocking Static Method Invocations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>
              <a:lnSpc>
                <a:spcPct val="200000"/>
              </a:lnSpc>
            </a:pPr>
            <a:r>
              <a:rPr lang="en-US" sz="1600" b="1" dirty="0" smtClean="0"/>
              <a:t>Using </a:t>
            </a:r>
            <a:r>
              <a:rPr lang="en-US" sz="1600" b="1" dirty="0" err="1" smtClean="0"/>
              <a:t>PowerMock</a:t>
            </a:r>
            <a:r>
              <a:rPr lang="en-US" sz="1600" b="1" dirty="0" smtClean="0"/>
              <a:t> &amp; Static Method Stubbing </a:t>
            </a:r>
          </a:p>
          <a:p>
            <a:pPr>
              <a:lnSpc>
                <a:spcPct val="200000"/>
              </a:lnSpc>
            </a:pPr>
            <a:r>
              <a:rPr lang="en-US" sz="1600" b="1" dirty="0" smtClean="0"/>
              <a:t>@</a:t>
            </a:r>
            <a:r>
              <a:rPr lang="en-US" sz="1600" b="1" dirty="0" err="1" smtClean="0"/>
              <a:t>RunWith</a:t>
            </a:r>
            <a:r>
              <a:rPr lang="en-US" sz="1600" b="1" dirty="0" smtClean="0"/>
              <a:t>(</a:t>
            </a:r>
            <a:r>
              <a:rPr lang="en-US" sz="1600" b="1" dirty="0" err="1" smtClean="0"/>
              <a:t>PowerMockRunner.class</a:t>
            </a:r>
            <a:r>
              <a:rPr lang="en-US" sz="1600" b="1" dirty="0" smtClean="0"/>
              <a:t>) </a:t>
            </a:r>
          </a:p>
          <a:p>
            <a:pPr>
              <a:lnSpc>
                <a:spcPct val="200000"/>
              </a:lnSpc>
            </a:pPr>
            <a:r>
              <a:rPr lang="en-US" sz="1600" b="1" dirty="0" smtClean="0"/>
              <a:t>@</a:t>
            </a:r>
            <a:r>
              <a:rPr lang="en-US" sz="1600" b="1" dirty="0" err="1" smtClean="0"/>
              <a:t>PrepareForTest</a:t>
            </a:r>
            <a:r>
              <a:rPr lang="en-US" sz="1600" b="1" dirty="0" smtClean="0"/>
              <a:t>(value={</a:t>
            </a:r>
            <a:r>
              <a:rPr lang="en-US" sz="1600" b="1" dirty="0" err="1" smtClean="0"/>
              <a:t>ClassToInstrument.class</a:t>
            </a:r>
            <a:r>
              <a:rPr lang="en-US" sz="1600" b="1" dirty="0" smtClean="0"/>
              <a:t>}) </a:t>
            </a:r>
          </a:p>
          <a:p>
            <a:pPr>
              <a:lnSpc>
                <a:spcPct val="200000"/>
              </a:lnSpc>
            </a:pPr>
            <a:r>
              <a:rPr lang="en-US" sz="1600" b="1" dirty="0" err="1" smtClean="0"/>
              <a:t>PowerMockito.mockStatic</a:t>
            </a:r>
            <a:r>
              <a:rPr lang="en-US" sz="1600" b="1" dirty="0" smtClean="0"/>
              <a:t>(</a:t>
            </a:r>
            <a:r>
              <a:rPr lang="en-US" sz="1600" b="1" dirty="0" err="1" smtClean="0"/>
              <a:t>ClassWithStaticMethods.class</a:t>
            </a:r>
            <a:r>
              <a:rPr lang="en-US" sz="1600" b="1" dirty="0" smtClean="0"/>
              <a:t>) </a:t>
            </a:r>
          </a:p>
          <a:p>
            <a:pPr>
              <a:lnSpc>
                <a:spcPct val="200000"/>
              </a:lnSpc>
            </a:pPr>
            <a:r>
              <a:rPr lang="en-US" sz="1600" b="1" dirty="0" err="1" smtClean="0"/>
              <a:t>PowerMockito.when</a:t>
            </a:r>
            <a:r>
              <a:rPr lang="en-US" sz="1600" b="1" dirty="0" smtClean="0"/>
              <a:t>(</a:t>
            </a:r>
            <a:r>
              <a:rPr lang="en-US" sz="1600" b="1" i="1" dirty="0" err="1" smtClean="0"/>
              <a:t>Class.staticMethod</a:t>
            </a:r>
            <a:r>
              <a:rPr lang="en-US" sz="1600" b="1" i="1" dirty="0" smtClean="0"/>
              <a:t>(</a:t>
            </a:r>
            <a:r>
              <a:rPr lang="en-US" sz="1600" b="1" i="1" dirty="0" err="1" smtClean="0"/>
              <a:t>arg</a:t>
            </a:r>
            <a:r>
              <a:rPr lang="en-US" sz="1600" b="1" i="1" dirty="0" smtClean="0"/>
              <a:t>)).then(value) </a:t>
            </a:r>
          </a:p>
          <a:p>
            <a:pPr>
              <a:lnSpc>
                <a:spcPct val="200000"/>
              </a:lnSpc>
            </a:pPr>
            <a:r>
              <a:rPr lang="en-US" sz="1600" b="1" dirty="0" err="1" smtClean="0"/>
              <a:t>PowerMockito.verifyStatic</a:t>
            </a:r>
            <a:r>
              <a:rPr lang="en-US" sz="1600" b="1" dirty="0" smtClean="0"/>
              <a:t>() </a:t>
            </a:r>
          </a:p>
          <a:p>
            <a:pPr>
              <a:lnSpc>
                <a:spcPct val="200000"/>
              </a:lnSpc>
            </a:pPr>
            <a:endParaRPr lang="en-US" sz="1600" dirty="0"/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b="1" dirty="0" smtClean="0"/>
              <a:t>Replacing Object Instantiation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638176" y="1314531"/>
            <a:ext cx="9267824" cy="4584700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sz="1600" b="1" dirty="0" smtClean="0"/>
              <a:t>Calls using ‘new’ operator can be replaced with stubbed results </a:t>
            </a:r>
          </a:p>
          <a:p>
            <a:pPr>
              <a:lnSpc>
                <a:spcPct val="150000"/>
              </a:lnSpc>
            </a:pPr>
            <a:r>
              <a:rPr lang="en-US" sz="1600" b="1" dirty="0" err="1" smtClean="0"/>
              <a:t>PowerMockito.whenNew</a:t>
            </a:r>
            <a:r>
              <a:rPr lang="en-US" sz="1600" b="1" dirty="0" smtClean="0"/>
              <a:t>(..) </a:t>
            </a:r>
          </a:p>
          <a:p>
            <a:pPr lvl="1">
              <a:lnSpc>
                <a:spcPct val="150000"/>
              </a:lnSpc>
            </a:pPr>
            <a:r>
              <a:rPr lang="en-US" sz="1600" dirty="0" smtClean="0"/>
              <a:t>Call zero parameter constructor by class name </a:t>
            </a:r>
          </a:p>
          <a:p>
            <a:pPr lvl="1">
              <a:lnSpc>
                <a:spcPct val="150000"/>
              </a:lnSpc>
            </a:pPr>
            <a:r>
              <a:rPr lang="en-US" sz="1600" dirty="0" smtClean="0"/>
              <a:t>Use reflection for specific constructor </a:t>
            </a:r>
          </a:p>
          <a:p>
            <a:pPr lvl="1">
              <a:lnSpc>
                <a:spcPct val="150000"/>
              </a:lnSpc>
            </a:pPr>
            <a:r>
              <a:rPr lang="en-US" sz="1600" dirty="0" smtClean="0"/>
              <a:t>Specify specific constructor using a string value </a:t>
            </a:r>
          </a:p>
          <a:p>
            <a:pPr>
              <a:lnSpc>
                <a:spcPct val="150000"/>
              </a:lnSpc>
            </a:pPr>
            <a:r>
              <a:rPr lang="en-US" sz="1600" b="1" dirty="0" err="1" smtClean="0"/>
              <a:t>whenNew</a:t>
            </a:r>
            <a:r>
              <a:rPr lang="en-US" sz="1600" b="1" dirty="0" smtClean="0"/>
              <a:t>(..) returns </a:t>
            </a:r>
            <a:r>
              <a:rPr lang="en-US" sz="1600" b="1" dirty="0" err="1" smtClean="0"/>
              <a:t>PowerMock’s</a:t>
            </a:r>
            <a:r>
              <a:rPr lang="en-US" sz="1600" b="1" dirty="0" smtClean="0"/>
              <a:t> version of </a:t>
            </a:r>
            <a:r>
              <a:rPr lang="en-US" sz="1600" b="1" dirty="0" err="1" smtClean="0"/>
              <a:t>OngoingStub</a:t>
            </a:r>
            <a:r>
              <a:rPr lang="en-US" sz="1600" b="1" dirty="0" smtClean="0"/>
              <a:t>&lt;T&gt; </a:t>
            </a:r>
          </a:p>
          <a:p>
            <a:pPr lvl="1">
              <a:lnSpc>
                <a:spcPct val="150000"/>
              </a:lnSpc>
            </a:pPr>
            <a:r>
              <a:rPr lang="en-US" sz="1600" dirty="0" err="1" smtClean="0"/>
              <a:t>ConstructorExpectationSetup</a:t>
            </a:r>
            <a:r>
              <a:rPr lang="en-US" sz="1600" dirty="0" smtClean="0"/>
              <a:t>&lt;T&gt; </a:t>
            </a:r>
          </a:p>
          <a:p>
            <a:pPr lvl="1">
              <a:lnSpc>
                <a:spcPct val="150000"/>
              </a:lnSpc>
            </a:pPr>
            <a:r>
              <a:rPr lang="en-US" sz="1600" dirty="0" err="1" smtClean="0"/>
              <a:t>WithOrWithoutExpectedArguments</a:t>
            </a:r>
            <a:r>
              <a:rPr lang="en-US" sz="1600" dirty="0" smtClean="0"/>
              <a:t>&lt;T&gt; </a:t>
            </a:r>
          </a:p>
          <a:p>
            <a:pPr>
              <a:lnSpc>
                <a:spcPct val="150000"/>
              </a:lnSpc>
            </a:pPr>
            <a:r>
              <a:rPr lang="en-US" sz="1600" b="1" dirty="0" smtClean="0"/>
              <a:t>@</a:t>
            </a:r>
            <a:r>
              <a:rPr lang="en-US" sz="1600" b="1" dirty="0" err="1" smtClean="0"/>
              <a:t>PrepareForTest</a:t>
            </a:r>
            <a:r>
              <a:rPr lang="en-US" sz="1600" b="1" dirty="0" smtClean="0"/>
              <a:t>(</a:t>
            </a:r>
            <a:r>
              <a:rPr lang="en-US" sz="1600" b="1" i="1" dirty="0" err="1" smtClean="0"/>
              <a:t>ClassUnderTest.class</a:t>
            </a:r>
            <a:r>
              <a:rPr lang="en-US" sz="1600" b="1" i="1" dirty="0" smtClean="0"/>
              <a:t>) </a:t>
            </a:r>
          </a:p>
          <a:p>
            <a:pPr lvl="1">
              <a:lnSpc>
                <a:spcPct val="150000"/>
              </a:lnSpc>
            </a:pPr>
            <a:r>
              <a:rPr lang="en-US" sz="1600" dirty="0" smtClean="0"/>
              <a:t>Specify the class under test, not the class being instantiated </a:t>
            </a:r>
          </a:p>
          <a:p>
            <a:pPr>
              <a:lnSpc>
                <a:spcPct val="150000"/>
              </a:lnSpc>
            </a:pPr>
            <a:endParaRPr lang="en-US" sz="1600" dirty="0"/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b="1" dirty="0" smtClean="0"/>
              <a:t>Stubbing Final &amp; Private Methods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-US" sz="1600" b="1" dirty="0" err="1" smtClean="0"/>
              <a:t>PowerMockito.mock</a:t>
            </a:r>
            <a:r>
              <a:rPr lang="en-US" sz="1600" b="1" dirty="0" smtClean="0"/>
              <a:t>(..) </a:t>
            </a:r>
          </a:p>
          <a:p>
            <a:pPr>
              <a:lnSpc>
                <a:spcPct val="150000"/>
              </a:lnSpc>
            </a:pPr>
            <a:r>
              <a:rPr lang="en-US" sz="1600" b="1" dirty="0" smtClean="0"/>
              <a:t>Simply using a </a:t>
            </a:r>
            <a:r>
              <a:rPr lang="en-US" sz="1600" b="1" dirty="0" err="1" smtClean="0"/>
              <a:t>PowerMockito</a:t>
            </a:r>
            <a:r>
              <a:rPr lang="en-US" sz="1600" b="1" dirty="0" smtClean="0"/>
              <a:t> mock allows final methods to be stubbed </a:t>
            </a:r>
          </a:p>
          <a:p>
            <a:pPr>
              <a:lnSpc>
                <a:spcPct val="150000"/>
              </a:lnSpc>
            </a:pPr>
            <a:r>
              <a:rPr lang="en-US" sz="1600" b="1" dirty="0" smtClean="0"/>
              <a:t>A specific overload of </a:t>
            </a:r>
            <a:r>
              <a:rPr lang="en-US" sz="1600" b="1" dirty="0" err="1" smtClean="0"/>
              <a:t>PowerMockito.when</a:t>
            </a:r>
            <a:r>
              <a:rPr lang="en-US" sz="1600" b="1" dirty="0" smtClean="0"/>
              <a:t>(..) allows private method mocking </a:t>
            </a:r>
          </a:p>
          <a:p>
            <a:pPr>
              <a:lnSpc>
                <a:spcPct val="150000"/>
              </a:lnSpc>
            </a:pPr>
            <a:endParaRPr lang="en-US" sz="1600" dirty="0"/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Stubbing Private Methods </a:t>
            </a:r>
            <a:br>
              <a:rPr lang="en-US" b="1" dirty="0" smtClean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>
              <a:lnSpc>
                <a:spcPct val="200000"/>
              </a:lnSpc>
            </a:pPr>
            <a:r>
              <a:rPr lang="en-US" sz="1600" b="1" dirty="0" smtClean="0"/>
              <a:t>Stubbing Private Methods </a:t>
            </a:r>
          </a:p>
          <a:p>
            <a:pPr lvl="1">
              <a:lnSpc>
                <a:spcPct val="200000"/>
              </a:lnSpc>
            </a:pPr>
            <a:r>
              <a:rPr lang="en-US" sz="1600" b="1" dirty="0" smtClean="0"/>
              <a:t>Pass the mock and a Java Reflection Method object into the when method &amp; </a:t>
            </a:r>
            <a:r>
              <a:rPr lang="en-US" sz="1600" b="1" dirty="0" err="1" smtClean="0"/>
              <a:t>WithOrWithoutExpectedArguments</a:t>
            </a:r>
            <a:r>
              <a:rPr lang="en-US" sz="1600" b="1" dirty="0" smtClean="0"/>
              <a:t> is returned </a:t>
            </a:r>
          </a:p>
          <a:p>
            <a:pPr>
              <a:lnSpc>
                <a:spcPct val="200000"/>
              </a:lnSpc>
            </a:pPr>
            <a:endParaRPr lang="en-US" sz="1600" dirty="0"/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b="1" dirty="0" smtClean="0"/>
              <a:t>Verifying Private Methods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>
              <a:lnSpc>
                <a:spcPct val="200000"/>
              </a:lnSpc>
            </a:pPr>
            <a:r>
              <a:rPr lang="en-US" sz="1600" b="1" dirty="0" err="1" smtClean="0"/>
              <a:t>PowerMockito.verifyPrivate</a:t>
            </a:r>
            <a:r>
              <a:rPr lang="en-US" sz="1600" b="1" dirty="0" smtClean="0"/>
              <a:t>(..) supports several overloads </a:t>
            </a:r>
          </a:p>
          <a:p>
            <a:pPr lvl="1">
              <a:lnSpc>
                <a:spcPct val="200000"/>
              </a:lnSpc>
            </a:pPr>
            <a:r>
              <a:rPr lang="en-US" sz="1600" dirty="0" err="1" smtClean="0"/>
              <a:t>PrivateMethodVerification</a:t>
            </a:r>
            <a:r>
              <a:rPr lang="en-US" sz="1600" dirty="0" smtClean="0"/>
              <a:t> is returned </a:t>
            </a:r>
          </a:p>
          <a:p>
            <a:pPr>
              <a:lnSpc>
                <a:spcPct val="200000"/>
              </a:lnSpc>
            </a:pPr>
            <a:r>
              <a:rPr lang="en-US" sz="1600" b="1" dirty="0" err="1" smtClean="0"/>
              <a:t>PrivateMethodVerification.invoke</a:t>
            </a:r>
            <a:r>
              <a:rPr lang="en-US" sz="1600" b="1" dirty="0" smtClean="0"/>
              <a:t>(..) supports several overloads to verify the call during the test </a:t>
            </a:r>
          </a:p>
          <a:p>
            <a:pPr lvl="1">
              <a:lnSpc>
                <a:spcPct val="200000"/>
              </a:lnSpc>
            </a:pPr>
            <a:r>
              <a:rPr lang="en-US" sz="1600" dirty="0" smtClean="0"/>
              <a:t>Leverage the Java Reflection Method object to verify &amp; returns </a:t>
            </a:r>
            <a:r>
              <a:rPr lang="en-US" sz="1600" dirty="0" err="1" smtClean="0"/>
              <a:t>WithOrWithoutVerifiedArguments</a:t>
            </a:r>
            <a:r>
              <a:rPr lang="en-US" sz="1600" dirty="0" smtClean="0"/>
              <a:t> </a:t>
            </a:r>
          </a:p>
          <a:p>
            <a:pPr lvl="1">
              <a:lnSpc>
                <a:spcPct val="200000"/>
              </a:lnSpc>
            </a:pPr>
            <a:r>
              <a:rPr lang="en-US" sz="1600" dirty="0" smtClean="0"/>
              <a:t>Pass a string value containing the method name, allowing with the arguments via a </a:t>
            </a:r>
            <a:r>
              <a:rPr lang="en-US" sz="1600" dirty="0" err="1" smtClean="0"/>
              <a:t>vararg</a:t>
            </a:r>
            <a:r>
              <a:rPr lang="en-US" sz="1600" dirty="0" smtClean="0"/>
              <a:t> parameter </a:t>
            </a:r>
          </a:p>
          <a:p>
            <a:pPr lvl="1">
              <a:lnSpc>
                <a:spcPct val="200000"/>
              </a:lnSpc>
            </a:pPr>
            <a:r>
              <a:rPr lang="en-US" sz="1600" dirty="0" smtClean="0"/>
              <a:t>Final version simply takes arguments </a:t>
            </a:r>
          </a:p>
          <a:p>
            <a:pPr>
              <a:lnSpc>
                <a:spcPct val="200000"/>
              </a:lnSpc>
            </a:pPr>
            <a:endParaRPr lang="en-US" sz="1600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latin typeface="Arial Narrow" pitchFamily="34" charset="0"/>
              </a:rPr>
              <a:t>Module Objective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699657" y="1236003"/>
            <a:ext cx="6686550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sz="2800" dirty="0" smtClean="0">
                <a:solidFill>
                  <a:srgbClr val="4F81BD">
                    <a:lumMod val="75000"/>
                  </a:srgbClr>
                </a:solidFill>
              </a:rPr>
              <a:t>What you will learn</a:t>
            </a:r>
          </a:p>
          <a:p>
            <a:pPr defTabSz="914400"/>
            <a:endParaRPr lang="en-US" sz="1400" dirty="0" smtClean="0">
              <a:solidFill>
                <a:srgbClr val="4F81BD">
                  <a:lumMod val="75000"/>
                </a:srgbClr>
              </a:solidFill>
            </a:endParaRPr>
          </a:p>
          <a:p>
            <a:pPr defTabSz="914400"/>
            <a:r>
              <a:rPr lang="en-US" sz="1400" dirty="0" smtClean="0">
                <a:solidFill>
                  <a:srgbClr val="4F81BD">
                    <a:lumMod val="75000"/>
                  </a:srgbClr>
                </a:solidFill>
              </a:rPr>
              <a:t> At the end of this module, you will learn:</a:t>
            </a:r>
          </a:p>
          <a:p>
            <a:pPr marL="685800" indent="-171450" defTabSz="91440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4F81BD">
                    <a:lumMod val="75000"/>
                  </a:srgbClr>
                </a:solidFill>
              </a:rPr>
              <a:t>What is TDD</a:t>
            </a:r>
            <a:endParaRPr lang="en-US" sz="2800" dirty="0" smtClean="0">
              <a:solidFill>
                <a:srgbClr val="4F81BD">
                  <a:lumMod val="75000"/>
                </a:srgbClr>
              </a:solidFill>
            </a:endParaRPr>
          </a:p>
          <a:p>
            <a:pPr defTabSz="914400"/>
            <a:endParaRPr lang="en-US" sz="1400" dirty="0" smtClean="0">
              <a:solidFill>
                <a:srgbClr val="4F81BD">
                  <a:lumMod val="75000"/>
                </a:srgbClr>
              </a:solidFill>
            </a:endParaRPr>
          </a:p>
          <a:p>
            <a:pPr defTabSz="914400"/>
            <a:endParaRPr lang="en-US" sz="2000" dirty="0" smtClean="0">
              <a:solidFill>
                <a:srgbClr val="4F81BD">
                  <a:lumMod val="75000"/>
                </a:srgbClr>
              </a:solidFill>
              <a:latin typeface="Helvetica 55 Roman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681203" y="3521377"/>
            <a:ext cx="6989736" cy="19543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sz="2800" dirty="0" smtClean="0">
                <a:solidFill>
                  <a:srgbClr val="4F81BD">
                    <a:lumMod val="75000"/>
                  </a:srgbClr>
                </a:solidFill>
              </a:rPr>
              <a:t>What you will be able to do</a:t>
            </a:r>
          </a:p>
          <a:p>
            <a:pPr defTabSz="914400"/>
            <a:endParaRPr lang="en-US" sz="1200" dirty="0" smtClean="0">
              <a:solidFill>
                <a:srgbClr val="4F81BD">
                  <a:lumMod val="75000"/>
                </a:srgbClr>
              </a:solidFill>
              <a:latin typeface="Helvetica 55 Roman" pitchFamily="34" charset="0"/>
            </a:endParaRPr>
          </a:p>
          <a:p>
            <a:pPr defTabSz="914400"/>
            <a:r>
              <a:rPr lang="en-US" sz="1400" dirty="0" smtClean="0">
                <a:solidFill>
                  <a:srgbClr val="4F81BD">
                    <a:lumMod val="75000"/>
                  </a:srgbClr>
                </a:solidFill>
              </a:rPr>
              <a:t>At the end of this module, you be able to:</a:t>
            </a:r>
          </a:p>
          <a:p>
            <a:pPr marL="685800" indent="-171450" defTabSz="91440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4F81BD">
                    <a:lumMod val="75000"/>
                  </a:srgbClr>
                </a:solidFill>
              </a:rPr>
              <a:t>TDD</a:t>
            </a:r>
          </a:p>
          <a:p>
            <a:pPr marL="685800" indent="-171450" defTabSz="91440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4F81BD">
                    <a:lumMod val="75000"/>
                  </a:srgbClr>
                </a:solidFill>
              </a:rPr>
              <a:t>Junit</a:t>
            </a:r>
          </a:p>
          <a:p>
            <a:pPr marL="685800" indent="-171450" defTabSz="91440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4F81BD">
                    <a:lumMod val="75000"/>
                  </a:srgbClr>
                </a:solidFill>
              </a:rPr>
              <a:t>Mockito</a:t>
            </a:r>
          </a:p>
        </p:txBody>
      </p:sp>
      <p:pic>
        <p:nvPicPr>
          <p:cNvPr id="41986" name="Picture 2" descr="Y:\02_ResourceLibrary\GraphicsLibrary\ThinkStock_Images\Objects\166682020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11550" y="4065169"/>
            <a:ext cx="1674114" cy="1545336"/>
          </a:xfrm>
          <a:prstGeom prst="ellipse">
            <a:avLst/>
          </a:prstGeom>
          <a:noFill/>
        </p:spPr>
      </p:pic>
      <p:pic>
        <p:nvPicPr>
          <p:cNvPr id="9" name="Picture 8" descr="121198295.jpg"/>
          <p:cNvPicPr preferRelativeResize="0">
            <a:picLocks noChangeAspect="1"/>
          </p:cNvPicPr>
          <p:nvPr/>
        </p:nvPicPr>
        <p:blipFill>
          <a:blip r:embed="rId3" cstate="print"/>
          <a:srcRect l="26693"/>
          <a:stretch>
            <a:fillRect/>
          </a:stretch>
        </p:blipFill>
        <p:spPr>
          <a:xfrm>
            <a:off x="611557" y="1447800"/>
            <a:ext cx="1655315" cy="1528995"/>
          </a:xfrm>
          <a:prstGeom prst="ellipse">
            <a:avLst/>
          </a:prstGeom>
        </p:spPr>
      </p:pic>
      <p:grpSp>
        <p:nvGrpSpPr>
          <p:cNvPr id="2" name="Group 7"/>
          <p:cNvGrpSpPr/>
          <p:nvPr/>
        </p:nvGrpSpPr>
        <p:grpSpPr>
          <a:xfrm>
            <a:off x="5970788" y="323704"/>
            <a:ext cx="3274811" cy="1214810"/>
            <a:chOff x="1155940" y="755995"/>
            <a:chExt cx="2347736" cy="637106"/>
          </a:xfrm>
        </p:grpSpPr>
        <p:sp>
          <p:nvSpPr>
            <p:cNvPr id="10" name="Rounded Rectangle 9"/>
            <p:cNvSpPr/>
            <p:nvPr/>
          </p:nvSpPr>
          <p:spPr>
            <a:xfrm>
              <a:off x="1155940" y="755995"/>
              <a:ext cx="2347736" cy="637106"/>
            </a:xfrm>
            <a:prstGeom prst="roundRect">
              <a:avLst>
                <a:gd name="adj" fmla="val 10000"/>
              </a:avLst>
            </a:prstGeom>
            <a:ln/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1" name="Rounded Rectangle 4"/>
            <p:cNvSpPr/>
            <p:nvPr/>
          </p:nvSpPr>
          <p:spPr>
            <a:xfrm>
              <a:off x="1174600" y="774655"/>
              <a:ext cx="2310416" cy="59978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4290" tIns="22860" rIns="34290" bIns="22860" numCol="1" spcCol="1270" anchor="ctr" anchorCtr="0">
              <a:noAutofit/>
            </a:bodyPr>
            <a:lstStyle/>
            <a:p>
              <a:pPr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00" dirty="0" smtClean="0">
                  <a:solidFill>
                    <a:prstClr val="white"/>
                  </a:solidFill>
                </a:rPr>
                <a:t>Note to the SME : Please provide the module Objectives or validate the partially updated content</a:t>
              </a:r>
              <a:endParaRPr lang="en-US" sz="1800" dirty="0">
                <a:solidFill>
                  <a:prstClr val="white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Test Driven Development Best Practices 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egrating Automation Suite within Source Contro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-US" sz="1600" b="1" dirty="0" smtClean="0"/>
              <a:t>Source Control:</a:t>
            </a:r>
          </a:p>
          <a:p>
            <a:pPr lvl="1">
              <a:lnSpc>
                <a:spcPct val="150000"/>
              </a:lnSpc>
            </a:pPr>
            <a:r>
              <a:rPr lang="en-US" sz="1600" b="1" dirty="0" smtClean="0"/>
              <a:t>GIT</a:t>
            </a:r>
          </a:p>
          <a:p>
            <a:pPr lvl="2">
              <a:lnSpc>
                <a:spcPct val="150000"/>
              </a:lnSpc>
            </a:pPr>
            <a:r>
              <a:rPr lang="en-US" sz="1600" b="1" dirty="0" smtClean="0"/>
              <a:t>Take latest test code from Source Control System and generate test reports.</a:t>
            </a:r>
          </a:p>
          <a:p>
            <a:pPr>
              <a:lnSpc>
                <a:spcPct val="150000"/>
              </a:lnSpc>
            </a:pPr>
            <a:endParaRPr lang="en-US" sz="1600" dirty="0"/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roach towards Defect Management, Metrics and Report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>
              <a:lnSpc>
                <a:spcPct val="200000"/>
              </a:lnSpc>
            </a:pPr>
            <a:r>
              <a:rPr lang="en-US" sz="1800" b="1" dirty="0" smtClean="0"/>
              <a:t>Analyze the Test Reports </a:t>
            </a:r>
          </a:p>
          <a:p>
            <a:pPr>
              <a:lnSpc>
                <a:spcPct val="200000"/>
              </a:lnSpc>
            </a:pPr>
            <a:r>
              <a:rPr lang="en-US" sz="1800" b="1" dirty="0" smtClean="0"/>
              <a:t>Show Metrics with all Defects</a:t>
            </a:r>
          </a:p>
          <a:p>
            <a:pPr>
              <a:lnSpc>
                <a:spcPct val="200000"/>
              </a:lnSpc>
            </a:pPr>
            <a:r>
              <a:rPr lang="en-US" sz="1800" b="1" dirty="0" smtClean="0"/>
              <a:t>Generate Reports</a:t>
            </a:r>
          </a:p>
          <a:p>
            <a:pPr>
              <a:lnSpc>
                <a:spcPct val="200000"/>
              </a:lnSpc>
            </a:pPr>
            <a:r>
              <a:rPr lang="en-US" sz="1800" b="1" dirty="0" smtClean="0"/>
              <a:t>Send reports to relevant team members</a:t>
            </a:r>
          </a:p>
          <a:p>
            <a:pPr>
              <a:lnSpc>
                <a:spcPct val="200000"/>
              </a:lnSpc>
            </a:pPr>
            <a:endParaRPr lang="en-US" sz="1800" b="1" dirty="0"/>
          </a:p>
        </p:txBody>
      </p: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655810" name="think-cell Slide" r:id="rId4" imgW="360" imgH="360" progId="">
              <p:embed/>
            </p:oleObj>
          </a:graphicData>
        </a:graphic>
      </p:graphicFrame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467544" y="0"/>
            <a:ext cx="8229600" cy="980728"/>
          </a:xfrm>
          <a:prstGeom prst="rect">
            <a:avLst/>
          </a:prstGeom>
        </p:spPr>
        <p:txBody>
          <a:bodyPr/>
          <a:lstStyle/>
          <a:p>
            <a:pPr defTabSz="914400">
              <a:spcBef>
                <a:spcPts val="0"/>
              </a:spcBef>
            </a:pPr>
            <a:r>
              <a:rPr lang="en-US" sz="3600" kern="0" dirty="0" smtClean="0">
                <a:solidFill>
                  <a:schemeClr val="accent5"/>
                </a:solidFill>
                <a:latin typeface="Arial Narrow" pitchFamily="34" charset="0"/>
              </a:rPr>
              <a:t>Summary</a:t>
            </a: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Arial Narrow" pitchFamily="34" charset="0"/>
            </a:endParaRPr>
          </a:p>
        </p:txBody>
      </p:sp>
      <p:graphicFrame>
        <p:nvGraphicFramePr>
          <p:cNvPr id="7" name="Diagram 6"/>
          <p:cNvGraphicFramePr/>
          <p:nvPr/>
        </p:nvGraphicFramePr>
        <p:xfrm>
          <a:off x="1651000" y="1907628"/>
          <a:ext cx="6604000" cy="37227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="" xmlns:p14="http://schemas.microsoft.com/office/powerpoint/2010/main" val="662610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443" name="think-cell Slide" r:id="rId4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Mockito 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itle 3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tline</a:t>
            </a:r>
            <a:endParaRPr lang="en-US" dirty="0"/>
          </a:p>
        </p:txBody>
      </p:sp>
      <p:grpSp>
        <p:nvGrpSpPr>
          <p:cNvPr id="2" name="Group 18"/>
          <p:cNvGrpSpPr/>
          <p:nvPr/>
        </p:nvGrpSpPr>
        <p:grpSpPr>
          <a:xfrm>
            <a:off x="1001296" y="2395791"/>
            <a:ext cx="4358640" cy="2510118"/>
            <a:chOff x="1080124" y="2490356"/>
            <a:chExt cx="4358640" cy="2510118"/>
          </a:xfrm>
        </p:grpSpPr>
        <p:sp>
          <p:nvSpPr>
            <p:cNvPr id="17" name="Rectangle 16"/>
            <p:cNvSpPr/>
            <p:nvPr/>
          </p:nvSpPr>
          <p:spPr>
            <a:xfrm>
              <a:off x="1080124" y="2490356"/>
              <a:ext cx="4358640" cy="56701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569913" defTabSz="914400"/>
              <a:r>
                <a:rPr lang="en-US" sz="1600" dirty="0" smtClean="0">
                  <a:solidFill>
                    <a:srgbClr val="1F497D">
                      <a:lumMod val="50000"/>
                    </a:srgbClr>
                  </a:solidFill>
                </a:rPr>
                <a:t>Mocking Concepts</a:t>
              </a: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1080124" y="3138056"/>
              <a:ext cx="4358640" cy="56701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569913" defTabSz="914400"/>
              <a:r>
                <a:rPr lang="en-US" sz="1600" dirty="0" smtClean="0">
                  <a:solidFill>
                    <a:srgbClr val="1F497D">
                      <a:lumMod val="50000"/>
                    </a:srgbClr>
                  </a:solidFill>
                </a:rPr>
                <a:t>Creating Mock Instances</a:t>
              </a: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1080124" y="3785756"/>
              <a:ext cx="4358640" cy="56701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569913" defTabSz="914400"/>
              <a:r>
                <a:rPr lang="en-US" sz="1600" dirty="0" smtClean="0">
                  <a:solidFill>
                    <a:srgbClr val="1F497D">
                      <a:lumMod val="50000"/>
                    </a:srgbClr>
                  </a:solidFill>
                </a:rPr>
                <a:t>Mock Settings</a:t>
              </a: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1080124" y="4433456"/>
              <a:ext cx="4358640" cy="56701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569913" defTabSz="914400"/>
              <a:r>
                <a:rPr lang="en-US" sz="1600" dirty="0" smtClean="0">
                  <a:solidFill>
                    <a:srgbClr val="1F497D">
                      <a:lumMod val="50000"/>
                    </a:srgbClr>
                  </a:solidFill>
                </a:rPr>
                <a:t>Stubbing Method Calls</a:t>
              </a: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1080124" y="2490356"/>
              <a:ext cx="577850" cy="567018"/>
            </a:xfrm>
            <a:prstGeom prst="rect">
              <a:avLst/>
            </a:prstGeom>
            <a:solidFill>
              <a:srgbClr val="4593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r>
                <a:rPr lang="en-US" sz="2400" dirty="0" smtClean="0">
                  <a:solidFill>
                    <a:prstClr val="white">
                      <a:lumMod val="95000"/>
                    </a:prstClr>
                  </a:solidFill>
                </a:rPr>
                <a:t>1</a:t>
              </a:r>
              <a:endParaRPr lang="en-US" sz="2400" dirty="0">
                <a:solidFill>
                  <a:prstClr val="white">
                    <a:lumMod val="95000"/>
                  </a:prstClr>
                </a:solidFill>
              </a:endParaRPr>
            </a:p>
          </p:txBody>
        </p:sp>
        <p:sp>
          <p:nvSpPr>
            <p:cNvPr id="49" name="Rectangle 48"/>
            <p:cNvSpPr/>
            <p:nvPr/>
          </p:nvSpPr>
          <p:spPr>
            <a:xfrm>
              <a:off x="1080124" y="3138056"/>
              <a:ext cx="577850" cy="567018"/>
            </a:xfrm>
            <a:prstGeom prst="rect">
              <a:avLst/>
            </a:prstGeom>
            <a:solidFill>
              <a:srgbClr val="4593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r>
                <a:rPr lang="en-US" sz="2400" dirty="0" smtClean="0">
                  <a:solidFill>
                    <a:prstClr val="white">
                      <a:lumMod val="95000"/>
                    </a:prstClr>
                  </a:solidFill>
                </a:rPr>
                <a:t>2</a:t>
              </a:r>
              <a:endParaRPr lang="en-US" sz="2400" dirty="0">
                <a:solidFill>
                  <a:prstClr val="white">
                    <a:lumMod val="95000"/>
                  </a:prstClr>
                </a:solidFill>
              </a:endParaRPr>
            </a:p>
          </p:txBody>
        </p:sp>
        <p:sp>
          <p:nvSpPr>
            <p:cNvPr id="50" name="Rectangle 49"/>
            <p:cNvSpPr/>
            <p:nvPr/>
          </p:nvSpPr>
          <p:spPr>
            <a:xfrm>
              <a:off x="1080124" y="3785756"/>
              <a:ext cx="577850" cy="567018"/>
            </a:xfrm>
            <a:prstGeom prst="rect">
              <a:avLst/>
            </a:prstGeom>
            <a:solidFill>
              <a:srgbClr val="4593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r>
                <a:rPr lang="en-US" sz="2400" dirty="0" smtClean="0">
                  <a:solidFill>
                    <a:prstClr val="white">
                      <a:lumMod val="95000"/>
                    </a:prstClr>
                  </a:solidFill>
                </a:rPr>
                <a:t>3</a:t>
              </a:r>
              <a:endParaRPr lang="en-US" sz="2400" dirty="0">
                <a:solidFill>
                  <a:prstClr val="white">
                    <a:lumMod val="95000"/>
                  </a:prstClr>
                </a:solidFill>
              </a:endParaRPr>
            </a:p>
          </p:txBody>
        </p:sp>
        <p:sp>
          <p:nvSpPr>
            <p:cNvPr id="51" name="Rectangle 50"/>
            <p:cNvSpPr/>
            <p:nvPr/>
          </p:nvSpPr>
          <p:spPr>
            <a:xfrm>
              <a:off x="1080124" y="4433456"/>
              <a:ext cx="577850" cy="567018"/>
            </a:xfrm>
            <a:prstGeom prst="rect">
              <a:avLst/>
            </a:prstGeom>
            <a:solidFill>
              <a:srgbClr val="4593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r>
                <a:rPr lang="en-US" sz="2400" dirty="0" smtClean="0">
                  <a:solidFill>
                    <a:prstClr val="white">
                      <a:lumMod val="95000"/>
                    </a:prstClr>
                  </a:solidFill>
                </a:rPr>
                <a:t>4</a:t>
              </a:r>
              <a:endParaRPr lang="en-US" sz="2400" dirty="0">
                <a:solidFill>
                  <a:prstClr val="white">
                    <a:lumMod val="95000"/>
                  </a:prstClr>
                </a:solidFill>
              </a:endParaRPr>
            </a:p>
          </p:txBody>
        </p:sp>
      </p:grpSp>
      <p:sp>
        <p:nvSpPr>
          <p:cNvPr id="12" name="Rectangle 11"/>
          <p:cNvSpPr/>
          <p:nvPr/>
        </p:nvSpPr>
        <p:spPr>
          <a:xfrm>
            <a:off x="1014799" y="5023726"/>
            <a:ext cx="4358640" cy="5670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69913" defTabSz="914400"/>
            <a:r>
              <a:rPr lang="en-US" sz="1600" dirty="0" smtClean="0">
                <a:solidFill>
                  <a:srgbClr val="1F497D">
                    <a:lumMod val="50000"/>
                  </a:srgbClr>
                </a:solidFill>
              </a:rPr>
              <a:t>Verification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014799" y="5023726"/>
            <a:ext cx="577850" cy="567018"/>
          </a:xfrm>
          <a:prstGeom prst="rect">
            <a:avLst/>
          </a:prstGeom>
          <a:solidFill>
            <a:srgbClr val="4593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US" sz="2400" dirty="0" smtClean="0">
                <a:solidFill>
                  <a:prstClr val="white">
                    <a:lumMod val="95000"/>
                  </a:prstClr>
                </a:solidFill>
              </a:rPr>
              <a:t>5</a:t>
            </a:r>
            <a:endParaRPr lang="en-US" sz="2400" dirty="0">
              <a:solidFill>
                <a:prstClr val="white">
                  <a:lumMod val="95000"/>
                </a:prst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Mocking Concept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20194" name="think-cell Slide" r:id="rId4" imgW="360" imgH="360" progId="">
              <p:embed/>
            </p:oleObj>
          </a:graphicData>
        </a:graphic>
      </p:graphicFrame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467544" y="0"/>
            <a:ext cx="8229600" cy="980728"/>
          </a:xfrm>
          <a:prstGeom prst="rect">
            <a:avLst/>
          </a:prstGeom>
        </p:spPr>
        <p:txBody>
          <a:bodyPr/>
          <a:lstStyle/>
          <a:p>
            <a:pPr defTabSz="914400">
              <a:spcBef>
                <a:spcPts val="0"/>
              </a:spcBef>
            </a:pPr>
            <a:r>
              <a:rPr lang="en-US" sz="3600" kern="0" dirty="0" smtClean="0">
                <a:solidFill>
                  <a:schemeClr val="accent5"/>
                </a:solidFill>
                <a:latin typeface="Arial Narrow" pitchFamily="34" charset="0"/>
              </a:rPr>
              <a:t>Mocking Concepts</a:t>
            </a: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Arial Narrow" pitchFamily="34" charset="0"/>
            </a:endParaRPr>
          </a:p>
        </p:txBody>
      </p:sp>
      <p:pic>
        <p:nvPicPr>
          <p:cNvPr id="520195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42963" y="1514174"/>
            <a:ext cx="8220075" cy="4848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662610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21218" name="think-cell Slide" r:id="rId4" imgW="360" imgH="360" progId="">
              <p:embed/>
            </p:oleObj>
          </a:graphicData>
        </a:graphic>
      </p:graphicFrame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467544" y="0"/>
            <a:ext cx="8229600" cy="980728"/>
          </a:xfrm>
          <a:prstGeom prst="rect">
            <a:avLst/>
          </a:prstGeom>
        </p:spPr>
        <p:txBody>
          <a:bodyPr/>
          <a:lstStyle/>
          <a:p>
            <a:pPr defTabSz="914400">
              <a:spcBef>
                <a:spcPts val="0"/>
              </a:spcBef>
            </a:pPr>
            <a:r>
              <a:rPr lang="en-US" sz="3600" kern="0" dirty="0" smtClean="0">
                <a:solidFill>
                  <a:schemeClr val="accent5"/>
                </a:solidFill>
                <a:latin typeface="Arial Narrow" pitchFamily="34" charset="0"/>
              </a:rPr>
              <a:t>Mocking Concepts</a:t>
            </a: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Arial Narrow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914399" y="1326310"/>
            <a:ext cx="833377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Font typeface="Arial" pitchFamily="34" charset="0"/>
              <a:buChar char="•"/>
            </a:pPr>
            <a:endParaRPr lang="en-US" dirty="0" smtClean="0"/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n-US" b="1" dirty="0" smtClean="0"/>
              <a:t>Methods under test often leverage dependencies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n-US" b="1" dirty="0" smtClean="0"/>
              <a:t>Testing with dependencies creates challenges </a:t>
            </a:r>
          </a:p>
          <a:p>
            <a:pPr lvl="1">
              <a:lnSpc>
                <a:spcPct val="150000"/>
              </a:lnSpc>
              <a:buFont typeface="Arial" pitchFamily="34" charset="0"/>
              <a:buChar char="•"/>
            </a:pPr>
            <a:r>
              <a:rPr lang="en-US" dirty="0" smtClean="0"/>
              <a:t>Live database needed</a:t>
            </a:r>
          </a:p>
          <a:p>
            <a:pPr lvl="1">
              <a:lnSpc>
                <a:spcPct val="150000"/>
              </a:lnSpc>
              <a:buFont typeface="Arial" pitchFamily="34" charset="0"/>
              <a:buChar char="•"/>
            </a:pPr>
            <a:r>
              <a:rPr lang="en-US" dirty="0" smtClean="0"/>
              <a:t>Multiple developers testing simultaneously</a:t>
            </a:r>
          </a:p>
          <a:p>
            <a:pPr lvl="1">
              <a:lnSpc>
                <a:spcPct val="150000"/>
              </a:lnSpc>
              <a:buFont typeface="Arial" pitchFamily="34" charset="0"/>
              <a:buChar char="•"/>
            </a:pPr>
            <a:r>
              <a:rPr lang="en-US" dirty="0" smtClean="0"/>
              <a:t>Incomplete dependency implementation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endParaRPr lang="en-US" dirty="0" smtClean="0"/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n-US" b="1" dirty="0" smtClean="0"/>
              <a:t>Mocking frameworks give you control</a:t>
            </a:r>
          </a:p>
        </p:txBody>
      </p:sp>
    </p:spTree>
    <p:extLst>
      <p:ext uri="{BB962C8B-B14F-4D97-AF65-F5344CB8AC3E}">
        <p14:creationId xmlns="" xmlns:p14="http://schemas.microsoft.com/office/powerpoint/2010/main" val="662610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  <p:tag name="MMPROD_NEXTUNIQUEID" val="10009"/>
  <p:tag name="MMPROD_UIDATA" val="&lt;database version=&quot;8.0&quot;&gt;&lt;object type=&quot;1&quot; unique_id=&quot;10001&quot;&gt;&lt;object type=&quot;2&quot; unique_id=&quot;10002&quot;&gt;&lt;object type=&quot;3&quot; unique_id=&quot;10003&quot;&gt;&lt;property id=&quot;20148&quot; value=&quot;5&quot;/&gt;&lt;property id=&quot;20300&quot; value=&quot;Slide 1 - &amp;quot;GitHub Training&amp;quot;&quot;/&gt;&lt;property id=&quot;20307&quot; value=&quot;311&quot;/&gt;&lt;/object&gt;&lt;object type=&quot;3&quot; unique_id=&quot;10011&quot;&gt;&lt;property id=&quot;20148&quot; value=&quot;5&quot;/&gt;&lt;property id=&quot;20300&quot; value=&quot;Slide 64&quot;/&gt;&lt;property id=&quot;20307&quot; value=&quot;329&quot;/&gt;&lt;/object&gt;&lt;object type=&quot;3&quot; unique_id=&quot;70278&quot;&gt;&lt;property id=&quot;20148&quot; value=&quot;5&quot;/&gt;&lt;property id=&quot;20300&quot; value=&quot;Slide 2 - &amp;quot;Version Sheet: MANDATORY (hidden in ‘slide show’ mode) &amp;quot;&quot;/&gt;&lt;property id=&quot;20307&quot; value=&quot;415&quot;/&gt;&lt;/object&gt;&lt;object type=&quot;3&quot; unique_id=&quot;70279&quot;&gt;&lt;property id=&quot;20148&quot; value=&quot;5&quot;/&gt;&lt;property id=&quot;20300&quot; value=&quot;Slide 3 - &amp;quot;Note to the SME:&amp;quot;&quot;/&gt;&lt;property id=&quot;20307&quot; value=&quot;416&quot;/&gt;&lt;/object&gt;&lt;object type=&quot;3&quot; unique_id=&quot;70280&quot;&gt;&lt;property id=&quot;20148&quot; value=&quot;5&quot;/&gt;&lt;property id=&quot;20300&quot; value=&quot;Slide 4 - &amp;quot;Ground Rules for Face-to-face Classrooms&amp;quot;&quot;/&gt;&lt;property id=&quot;20307&quot; value=&quot;417&quot;/&gt;&lt;/object&gt;&lt;object type=&quot;3&quot; unique_id=&quot;70281&quot;&gt;&lt;property id=&quot;20148&quot; value=&quot;5&quot;/&gt;&lt;property id=&quot;20300&quot; value=&quot;Slide 5 - &amp;quot;Ground Rules for Virtual Classrooms&amp;quot;&quot;/&gt;&lt;property id=&quot;20307&quot; value=&quot;418&quot;/&gt;&lt;/object&gt;&lt;object type=&quot;3&quot; unique_id=&quot;70282&quot;&gt;&lt;property id=&quot;20148&quot; value=&quot;5&quot;/&gt;&lt;property id=&quot;20300&quot; value=&quot;Slide 6 - &amp;quot;Module at a Glance&amp;quot;&quot;/&gt;&lt;property id=&quot;20307&quot; value=&quot;419&quot;/&gt;&lt;/object&gt;&lt;object type=&quot;3&quot; unique_id=&quot;70283&quot;&gt;&lt;property id=&quot;20148&quot; value=&quot;5&quot;/&gt;&lt;property id=&quot;20300&quot; value=&quot;Slide 7 - &amp;quot;Introductions (for Virtual Classrooms)&amp;quot;&quot;/&gt;&lt;property id=&quot;20307&quot; value=&quot;420&quot;/&gt;&lt;/object&gt;&lt;object type=&quot;3&quot; unique_id=&quot;70284&quot;&gt;&lt;property id=&quot;20148&quot; value=&quot;5&quot;/&gt;&lt;property id=&quot;20300&quot; value=&quot;Slide 8 - &amp;quot;Agenda&amp;quot;&quot;/&gt;&lt;property id=&quot;20307&quot; value=&quot;421&quot;/&gt;&lt;/object&gt;&lt;object type=&quot;3&quot; unique_id=&quot;70285&quot;&gt;&lt;property id=&quot;20148&quot; value=&quot;5&quot;/&gt;&lt;property id=&quot;20300&quot; value=&quot;Slide 9 - &amp;quot;Module Objectives&amp;quot;&quot;/&gt;&lt;property id=&quot;20307&quot; value=&quot;422&quot;/&gt;&lt;/object&gt;&lt;object type=&quot;3&quot; unique_id=&quot;70286&quot;&gt;&lt;property id=&quot;20148&quot; value=&quot;5&quot;/&gt;&lt;property id=&quot;20300&quot; value=&quot;Slide 12 - &amp;quot;What is Git?&amp;quot;&quot;/&gt;&lt;property id=&quot;20307&quot; value=&quot;414&quot;/&gt;&lt;/object&gt;&lt;object type=&quot;3&quot; unique_id=&quot;70287&quot;&gt;&lt;property id=&quot;20148&quot; value=&quot;5&quot;/&gt;&lt;property id=&quot;20300&quot; value=&quot;Slide 13 - &amp;quot;What is Git? (contd.)&amp;quot;&quot;/&gt;&lt;property id=&quot;20307&quot; value=&quot;423&quot;/&gt;&lt;/object&gt;&lt;object type=&quot;3&quot; unique_id=&quot;70288&quot;&gt;&lt;property id=&quot;20148&quot; value=&quot;5&quot;/&gt;&lt;property id=&quot;20300&quot; value=&quot;Slide 14 - &amp;quot;History of Git&amp;quot;&quot;/&gt;&lt;property id=&quot;20307&quot; value=&quot;424&quot;/&gt;&lt;/object&gt;&lt;object type=&quot;3&quot; unique_id=&quot;70289&quot;&gt;&lt;property id=&quot;20148&quot; value=&quot;5&quot;/&gt;&lt;property id=&quot;20300&quot; value=&quot;Slide 15 - &amp;quot;Centralized Version Control&amp;quot;&quot;/&gt;&lt;property id=&quot;20307&quot; value=&quot;425&quot;/&gt;&lt;/object&gt;&lt;object type=&quot;3&quot; unique_id=&quot;70290&quot;&gt;&lt;property id=&quot;20148&quot; value=&quot;5&quot;/&gt;&lt;property id=&quot;20300&quot; value=&quot;Slide 17 - &amp;quot;Distributed Version Control (contd.)&amp;quot;&quot;/&gt;&lt;property id=&quot;20307&quot; value=&quot;426&quot;/&gt;&lt;/object&gt;&lt;object type=&quot;3&quot; unique_id=&quot;70683&quot;&gt;&lt;property id=&quot;20148&quot; value=&quot;5&quot;/&gt;&lt;property id=&quot;20300&quot; value=&quot;Slide 22 - &amp;quot;What is GitHub?&amp;quot;&quot;/&gt;&lt;property id=&quot;20307&quot; value=&quot;432&quot;/&gt;&lt;/object&gt;&lt;object type=&quot;3&quot; unique_id=&quot;70684&quot;&gt;&lt;property id=&quot;20148&quot; value=&quot;5&quot;/&gt;&lt;property id=&quot;20300&quot; value=&quot;Slide 18 - &amp;quot;Basic Git Commands&amp;quot;&quot;/&gt;&lt;property id=&quot;20307&quot; value=&quot;433&quot;/&gt;&lt;/object&gt;&lt;object type=&quot;3&quot; unique_id=&quot;70685&quot;&gt;&lt;property id=&quot;20148&quot; value=&quot;5&quot;/&gt;&lt;property id=&quot;20300&quot; value=&quot;Slide 23 - &amp;quot;Summary&amp;quot;&quot;/&gt;&lt;property id=&quot;20307&quot; value=&quot;434&quot;/&gt;&lt;/object&gt;&lt;object type=&quot;3&quot; unique_id=&quot;70686&quot;&gt;&lt;property id=&quot;20148&quot; value=&quot;5&quot;/&gt;&lt;property id=&quot;20300&quot; value=&quot;Slide 19 - &amp;quot;Summary&amp;quot;&quot;/&gt;&lt;property id=&quot;20307&quot; value=&quot;435&quot;/&gt;&lt;/object&gt;&lt;object type=&quot;3&quot; unique_id=&quot;71487&quot;&gt;&lt;property id=&quot;20148&quot; value=&quot;5&quot;/&gt;&lt;property id=&quot;20300&quot; value=&quot;Slide 10 - &amp;quot;GitHub for Windows Developers&amp;quot;&quot;/&gt;&lt;property id=&quot;20307&quot; value=&quot;440&quot;/&gt;&lt;/object&gt;&lt;object type=&quot;3&quot; unique_id=&quot;71491&quot;&gt;&lt;property id=&quot;20148&quot; value=&quot;5&quot;/&gt;&lt;property id=&quot;20300&quot; value=&quot;Slide 16 - &amp;quot;Distributed Version Control&amp;quot;&quot;/&gt;&lt;property id=&quot;20307&quot; value=&quot;444&quot;/&gt;&lt;/object&gt;&lt;object type=&quot;3&quot; unique_id=&quot;71492&quot;&gt;&lt;property id=&quot;20148&quot; value=&quot;5&quot;/&gt;&lt;property id=&quot;20300&quot; value=&quot;Slide 20 - &amp;quot;Using the GitHub Website&amp;quot;&quot;/&gt;&lt;property id=&quot;20307&quot; value=&quot;445&quot;/&gt;&lt;/object&gt;&lt;object type=&quot;3&quot; unique_id=&quot;72565&quot;&gt;&lt;property id=&quot;20148&quot; value=&quot;5&quot;/&gt;&lt;property id=&quot;20300&quot; value=&quot;Slide 24 - &amp;quot;GitHub for Windows Basics&amp;quot;&quot;/&gt;&lt;property id=&quot;20307&quot; value=&quot;452&quot;/&gt;&lt;/object&gt;&lt;object type=&quot;3&quot; unique_id=&quot;72567&quot;&gt;&lt;property id=&quot;20148&quot; value=&quot;5&quot;/&gt;&lt;property id=&quot;20300&quot; value=&quot;Slide 28 - &amp;quot;Merging Example&amp;quot;&quot;/&gt;&lt;property id=&quot;20307&quot; value=&quot;454&quot;/&gt;&lt;/object&gt;&lt;object type=&quot;3&quot; unique_id=&quot;72568&quot;&gt;&lt;property id=&quot;20148&quot; value=&quot;5&quot;/&gt;&lt;property id=&quot;20300&quot; value=&quot;Slide 29 - &amp;quot;Merging Example (contd.)&amp;quot;&quot;/&gt;&lt;property id=&quot;20307&quot; value=&quot;455&quot;/&gt;&lt;/object&gt;&lt;object type=&quot;3&quot; unique_id=&quot;72569&quot;&gt;&lt;property id=&quot;20148&quot; value=&quot;5&quot;/&gt;&lt;property id=&quot;20300&quot; value=&quot;Slide 30 - &amp;quot;Merging Example (contd.)&amp;quot;&quot;/&gt;&lt;property id=&quot;20307&quot; value=&quot;456&quot;/&gt;&lt;/object&gt;&lt;object type=&quot;3&quot; unique_id=&quot;72570&quot;&gt;&lt;property id=&quot;20148&quot; value=&quot;5&quot;/&gt;&lt;property id=&quot;20300&quot; value=&quot;Slide 31 - &amp;quot;Merging Example (contd.)&amp;quot;&quot;/&gt;&lt;property id=&quot;20307&quot; value=&quot;457&quot;/&gt;&lt;/object&gt;&lt;object type=&quot;3&quot; unique_id=&quot;72571&quot;&gt;&lt;property id=&quot;20148&quot; value=&quot;5&quot;/&gt;&lt;property id=&quot;20300&quot; value=&quot;Slide 32 - &amp;quot;Merging Example (contd.)&amp;quot;&quot;/&gt;&lt;property id=&quot;20307&quot; value=&quot;458&quot;/&gt;&lt;/object&gt;&lt;object type=&quot;3&quot; unique_id=&quot;72572&quot;&gt;&lt;property id=&quot;20148&quot; value=&quot;5&quot;/&gt;&lt;property id=&quot;20300&quot; value=&quot;Slide 33 - &amp;quot;Rebasing Example 1&amp;quot;&quot;/&gt;&lt;property id=&quot;20307&quot; value=&quot;459&quot;/&gt;&lt;/object&gt;&lt;object type=&quot;3&quot; unique_id=&quot;72573&quot;&gt;&lt;property id=&quot;20148&quot; value=&quot;5&quot;/&gt;&lt;property id=&quot;20300&quot; value=&quot;Slide 34 - &amp;quot;Rebasing Example 1 (contd.)&amp;quot;&quot;/&gt;&lt;property id=&quot;20307&quot; value=&quot;460&quot;/&gt;&lt;/object&gt;&lt;object type=&quot;3&quot; unique_id=&quot;73341&quot;&gt;&lt;property id=&quot;20148&quot; value=&quot;5&quot;/&gt;&lt;property id=&quot;20300&quot; value=&quot;Slide 36 - &amp;quot;Rebasing Example 1 (contd.)&amp;quot;&quot;/&gt;&lt;property id=&quot;20307&quot; value=&quot;463&quot;/&gt;&lt;/object&gt;&lt;object type=&quot;3&quot; unique_id=&quot;73342&quot;&gt;&lt;property id=&quot;20148&quot; value=&quot;5&quot;/&gt;&lt;property id=&quot;20300&quot; value=&quot;Slide 63 - &amp;quot;Summary&amp;quot;&quot;/&gt;&lt;property id=&quot;20307&quot; value=&quot;464&quot;/&gt;&lt;/object&gt;&lt;object type=&quot;3&quot; unique_id=&quot;80168&quot;&gt;&lt;property id=&quot;20148&quot; value=&quot;5&quot;/&gt;&lt;property id=&quot;20300&quot; value=&quot;Slide 11 - &amp;quot;Outline&amp;quot;&quot;/&gt;&lt;property id=&quot;20307&quot; value=&quot;497&quot;/&gt;&lt;/object&gt;&lt;object type=&quot;3&quot; unique_id=&quot;83591&quot;&gt;&lt;property id=&quot;20148&quot; value=&quot;5&quot;/&gt;&lt;property id=&quot;20300&quot; value=&quot;Slide 21 - &amp;quot;Outline&amp;quot;&quot;/&gt;&lt;property id=&quot;20307&quot; value=&quot;498&quot;/&gt;&lt;/object&gt;&lt;object type=&quot;3&quot; unique_id=&quot;83592&quot;&gt;&lt;property id=&quot;20148&quot; value=&quot;5&quot;/&gt;&lt;property id=&quot;20300&quot; value=&quot;Slide 25 - &amp;quot;Outline&amp;quot;&quot;/&gt;&lt;property id=&quot;20307&quot; value=&quot;499&quot;/&gt;&lt;/object&gt;&lt;object type=&quot;3&quot; unique_id=&quot;83593&quot;&gt;&lt;property id=&quot;20148&quot; value=&quot;5&quot;/&gt;&lt;property id=&quot;20300&quot; value=&quot;Slide 26 - &amp;quot;Teamwork with GitHub for Windows&amp;quot;&quot;/&gt;&lt;property id=&quot;20307&quot; value=&quot;500&quot;/&gt;&lt;/object&gt;&lt;object type=&quot;3&quot; unique_id=&quot;83594&quot;&gt;&lt;property id=&quot;20148&quot; value=&quot;5&quot;/&gt;&lt;property id=&quot;20300&quot; value=&quot;Slide 27 - &amp;quot;Outline&amp;quot;&quot;/&gt;&lt;property id=&quot;20307&quot; value=&quot;501&quot;/&gt;&lt;/object&gt;&lt;object type=&quot;3&quot; unique_id=&quot;83595&quot;&gt;&lt;property id=&quot;20148&quot; value=&quot;5&quot;/&gt;&lt;property id=&quot;20300&quot; value=&quot;Slide 35 - &amp;quot;Rebasing Example 1 (contd.)&amp;quot;&quot;/&gt;&lt;property id=&quot;20307&quot; value=&quot;502&quot;/&gt;&lt;/object&gt;&lt;object type=&quot;3&quot; unique_id=&quot;83596&quot;&gt;&lt;property id=&quot;20148&quot; value=&quot;5&quot;/&gt;&lt;property id=&quot;20300&quot; value=&quot;Slide 37 - &amp;quot;Rebasing Example 1 (contd.)&amp;quot;&quot;/&gt;&lt;property id=&quot;20307&quot; value=&quot;503&quot;/&gt;&lt;/object&gt;&lt;object type=&quot;3&quot; unique_id=&quot;83597&quot;&gt;&lt;property id=&quot;20148&quot; value=&quot;5&quot;/&gt;&lt;property id=&quot;20300&quot; value=&quot;Slide 38 - &amp;quot;Rebasing Example 2&amp;quot;&quot;/&gt;&lt;property id=&quot;20307&quot; value=&quot;504&quot;/&gt;&lt;/object&gt;&lt;object type=&quot;3&quot; unique_id=&quot;83598&quot;&gt;&lt;property id=&quot;20148&quot; value=&quot;5&quot;/&gt;&lt;property id=&quot;20300&quot; value=&quot;Slide 39 - &amp;quot;Rebasing Example 2 (contd.)&amp;quot;&quot;/&gt;&lt;property id=&quot;20307&quot; value=&quot;505&quot;/&gt;&lt;/object&gt;&lt;object type=&quot;3&quot; unique_id=&quot;83599&quot;&gt;&lt;property id=&quot;20148&quot; value=&quot;5&quot;/&gt;&lt;property id=&quot;20300&quot; value=&quot;Slide 40 - &amp;quot;Rebasing Example 2 (contd.)&amp;quot;&quot;/&gt;&lt;property id=&quot;20307&quot; value=&quot;506&quot;/&gt;&lt;/object&gt;&lt;object type=&quot;3&quot; unique_id=&quot;83600&quot;&gt;&lt;property id=&quot;20148&quot; value=&quot;5&quot;/&gt;&lt;property id=&quot;20300&quot; value=&quot;Slide 41 - &amp;quot;Rebasing Example 2 (contd.)&amp;quot;&quot;/&gt;&lt;property id=&quot;20307&quot; value=&quot;507&quot;/&gt;&lt;/object&gt;&lt;object type=&quot;3&quot; unique_id=&quot;83601&quot;&gt;&lt;property id=&quot;20148&quot; value=&quot;5&quot;/&gt;&lt;property id=&quot;20300&quot; value=&quot;Slide 42 - &amp;quot;Rebasing Example 2 (contd.)&amp;quot;&quot;/&gt;&lt;property id=&quot;20307&quot; value=&quot;508&quot;/&gt;&lt;/object&gt;&lt;object type=&quot;3&quot; unique_id=&quot;83602&quot;&gt;&lt;property id=&quot;20148&quot; value=&quot;5&quot;/&gt;&lt;property id=&quot;20300&quot; value=&quot;Slide 43 - &amp;quot;Rebasing Example 2 (contd.)&amp;quot;&quot;/&gt;&lt;property id=&quot;20307&quot; value=&quot;509&quot;/&gt;&lt;/object&gt;&lt;object type=&quot;3&quot; unique_id=&quot;83603&quot;&gt;&lt;property id=&quot;20148&quot; value=&quot;5&quot;/&gt;&lt;property id=&quot;20300&quot; value=&quot;Slide 44 - &amp;quot;Dangerous Rebase Example&amp;quot;&quot;/&gt;&lt;property id=&quot;20307&quot; value=&quot;510&quot;/&gt;&lt;/object&gt;&lt;object type=&quot;3&quot; unique_id=&quot;83604&quot;&gt;&lt;property id=&quot;20148&quot; value=&quot;5&quot;/&gt;&lt;property id=&quot;20300&quot; value=&quot;Slide 45 - &amp;quot;Dangerous Rebase Example 2&amp;quot;&quot;/&gt;&lt;property id=&quot;20307&quot; value=&quot;511&quot;/&gt;&lt;/object&gt;&lt;object type=&quot;3&quot; unique_id=&quot;83605&quot;&gt;&lt;property id=&quot;20148&quot; value=&quot;5&quot;/&gt;&lt;property id=&quot;20300&quot; value=&quot;Slide 46 - &amp;quot;Dangerous Rebase Example 2 (contd.)&amp;quot;&quot;/&gt;&lt;property id=&quot;20307&quot; value=&quot;512&quot;/&gt;&lt;/object&gt;&lt;object type=&quot;3&quot; unique_id=&quot;83606&quot;&gt;&lt;property id=&quot;20148&quot; value=&quot;5&quot;/&gt;&lt;property id=&quot;20300&quot; value=&quot;Slide 47 - &amp;quot;Dangerous Rebase Example 2 (contd.)&amp;quot;&quot;/&gt;&lt;property id=&quot;20307&quot; value=&quot;513&quot;/&gt;&lt;/object&gt;&lt;object type=&quot;3&quot; unique_id=&quot;83607&quot;&gt;&lt;property id=&quot;20148&quot; value=&quot;5&quot;/&gt;&lt;property id=&quot;20300&quot; value=&quot;Slide 48 - &amp;quot;Dangerous Rebase Example 2 (contd.)&amp;quot;&quot;/&gt;&lt;property id=&quot;20307&quot; value=&quot;514&quot;/&gt;&lt;/object&gt;&lt;object type=&quot;3&quot; unique_id=&quot;83608&quot;&gt;&lt;property id=&quot;20148&quot; value=&quot;5&quot;/&gt;&lt;property id=&quot;20300&quot; value=&quot;Slide 49 - &amp;quot;Dangerous Rebase Example 2 (contd.)&amp;quot;&quot;/&gt;&lt;property id=&quot;20307&quot; value=&quot;515&quot;/&gt;&lt;/object&gt;&lt;object type=&quot;3&quot; unique_id=&quot;83609&quot;&gt;&lt;property id=&quot;20148&quot; value=&quot;5&quot;/&gt;&lt;property id=&quot;20300&quot; value=&quot;Slide 50 - &amp;quot;Dangerous Rebase Example 2 (contd.)&amp;quot;&quot;/&gt;&lt;property id=&quot;20307&quot; value=&quot;516&quot;/&gt;&lt;/object&gt;&lt;object type=&quot;3&quot; unique_id=&quot;83610&quot;&gt;&lt;property id=&quot;20148&quot; value=&quot;5&quot;/&gt;&lt;property id=&quot;20300&quot; value=&quot;Slide 51 - &amp;quot;Dangerous Rebase Example 2 (contd.)&amp;quot;&quot;/&gt;&lt;property id=&quot;20307&quot; value=&quot;517&quot;/&gt;&lt;/object&gt;&lt;object type=&quot;3&quot; unique_id=&quot;83611&quot;&gt;&lt;property id=&quot;20148&quot; value=&quot;5&quot;/&gt;&lt;property id=&quot;20300&quot; value=&quot;Slide 52 - &amp;quot;Dangerous Rebase Example 2 (contd.)&amp;quot;&quot;/&gt;&lt;property id=&quot;20307&quot; value=&quot;518&quot;/&gt;&lt;/object&gt;&lt;object type=&quot;3&quot; unique_id=&quot;83612&quot;&gt;&lt;property id=&quot;20148&quot; value=&quot;5&quot;/&gt;&lt;property id=&quot;20300&quot; value=&quot;Slide 53 - &amp;quot;3 Common Rules for Rebasing&amp;quot;&quot;/&gt;&lt;property id=&quot;20307&quot; value=&quot;519&quot;/&gt;&lt;/object&gt;&lt;object type=&quot;3&quot; unique_id=&quot;83613&quot;&gt;&lt;property id=&quot;20148&quot; value=&quot;5&quot;/&gt;&lt;property id=&quot;20300&quot; value=&quot;Slide 54 - &amp;quot;Good Rebase Example&amp;quot;&quot;/&gt;&lt;property id=&quot;20307&quot; value=&quot;520&quot;/&gt;&lt;/object&gt;&lt;object type=&quot;3&quot; unique_id=&quot;83614&quot;&gt;&lt;property id=&quot;20148&quot; value=&quot;5&quot;/&gt;&lt;property id=&quot;20300&quot; value=&quot;Slide 55 - &amp;quot;Good Rebase Example (contd.)&amp;quot;&quot;/&gt;&lt;property id=&quot;20307&quot; value=&quot;521&quot;/&gt;&lt;/object&gt;&lt;object type=&quot;3&quot; unique_id=&quot;83615&quot;&gt;&lt;property id=&quot;20148&quot; value=&quot;5&quot;/&gt;&lt;property id=&quot;20300&quot; value=&quot;Slide 56 - &amp;quot;Good Rebase Example (contd.)&amp;quot;&quot;/&gt;&lt;property id=&quot;20307&quot; value=&quot;522&quot;/&gt;&lt;/object&gt;&lt;object type=&quot;3&quot; unique_id=&quot;83616&quot;&gt;&lt;property id=&quot;20148&quot; value=&quot;5&quot;/&gt;&lt;property id=&quot;20300&quot; value=&quot;Slide 57 - &amp;quot;Good Rebase Example (contd.)&amp;quot;&quot;/&gt;&lt;property id=&quot;20307&quot; value=&quot;523&quot;/&gt;&lt;/object&gt;&lt;object type=&quot;3&quot; unique_id=&quot;83617&quot;&gt;&lt;property id=&quot;20148&quot; value=&quot;5&quot;/&gt;&lt;property id=&quot;20300&quot; value=&quot;Slide 58 - &amp;quot;Good Rebase Example (contd.)&amp;quot;&quot;/&gt;&lt;property id=&quot;20307&quot; value=&quot;524&quot;/&gt;&lt;/object&gt;&lt;object type=&quot;3&quot; unique_id=&quot;83618&quot;&gt;&lt;property id=&quot;20148&quot; value=&quot;5&quot;/&gt;&lt;property id=&quot;20300&quot; value=&quot;Slide 59 - &amp;quot;Good Rebase Example (contd.)&amp;quot;&quot;/&gt;&lt;property id=&quot;20307&quot; value=&quot;525&quot;/&gt;&lt;/object&gt;&lt;object type=&quot;3&quot; unique_id=&quot;83619&quot;&gt;&lt;property id=&quot;20148&quot; value=&quot;5&quot;/&gt;&lt;property id=&quot;20300&quot; value=&quot;Slide 60 - &amp;quot;Good Merge Example&amp;quot;&quot;/&gt;&lt;property id=&quot;20307&quot; value=&quot;526&quot;/&gt;&lt;/object&gt;&lt;object type=&quot;3&quot; unique_id=&quot;83620&quot;&gt;&lt;property id=&quot;20148&quot; value=&quot;5&quot;/&gt;&lt;property id=&quot;20300&quot; value=&quot;Slide 61 - &amp;quot;Good Merge Example (contd.)&amp;quot;&quot;/&gt;&lt;property id=&quot;20307&quot; value=&quot;527&quot;/&gt;&lt;/object&gt;&lt;object type=&quot;3&quot; unique_id=&quot;83621&quot;&gt;&lt;property id=&quot;20148&quot; value=&quot;5&quot;/&gt;&lt;property id=&quot;20300&quot; value=&quot;Slide 62 - &amp;quot;Good Merge Example (contd.)&amp;quot;&quot;/&gt;&lt;property id=&quot;20307&quot; value=&quot;528&quot;/&gt;&lt;/object&gt;&lt;/object&gt;&lt;object type=&quot;8&quot; unique_id=&quot;10022&quot;&gt;&lt;/object&gt;&lt;/object&gt;&lt;/database&gt;"/>
  <p:tag name="SECTOMILLISECCONVERTED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  <p:tag name="PRESENTER_SHAPETEXTINFO" val="&lt;ShapeTextInfo&gt;&lt;TableIndex row=&quot;-1&quot; col=&quot;-1&quot;&gt;&lt;linesCount val=&quot;1&quot;/&gt;&lt;lineCharCount val=&quot;32&quot;/&gt;&lt;/TableIndex&gt;&lt;/ShapeTextInfo&gt;"/>
</p:tagLst>
</file>

<file path=ppt/tags/tag1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  <p:tag name="PRESENTER_SHAPETEXTINFO" val="&lt;ShapeTextInfo&gt;&lt;TableIndex row=&quot;-1&quot; col=&quot;-1&quot;&gt;&lt;linesCount val=&quot;4&quot;/&gt;&lt;lineCharCount val=&quot;32&quot;/&gt;&lt;lineCharCount val=&quot;19&quot;/&gt;&lt;lineCharCount val=&quot;19&quot;/&gt;&lt;lineCharCount val=&quot;18&quot;/&gt;&lt;/TableIndex&gt;&lt;/ShapeTextInfo&gt;"/>
</p:tagLst>
</file>

<file path=ppt/tags/tag1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  <p:tag name="PRESENTER_SHAPETEXTINFO" val="&lt;ShapeTextInfo&gt;&lt;TableIndex row=&quot;-1&quot; col=&quot;-1&quot;&gt;&lt;linesCount val=&quot;1&quot;/&gt;&lt;lineCharCount val=&quot;32&quot;/&gt;&lt;/TableIndex&gt;&lt;/ShapeTextInfo&gt;"/>
</p:tagLst>
</file>

<file path=ppt/tags/tag1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  <p:tag name="PRESENTER_SHAPETEXTINFO" val="&lt;ShapeTextInfo&gt;&lt;TableIndex row=&quot;-1&quot; col=&quot;-1&quot;&gt;&lt;linesCount val=&quot;4&quot;/&gt;&lt;lineCharCount val=&quot;32&quot;/&gt;&lt;lineCharCount val=&quot;19&quot;/&gt;&lt;lineCharCount val=&quot;19&quot;/&gt;&lt;lineCharCount val=&quot;18&quot;/&gt;&lt;/TableIndex&gt;&lt;/ShapeTextInfo&gt;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  <p:tag name="PRESENTER_SHAPETEXTINFO" val="&lt;ShapeTextInfo&gt;&lt;TableIndex row=&quot;-1&quot; col=&quot;-1&quot;&gt;&lt;linesCount val=&quot;1&quot;/&gt;&lt;lineCharCount val=&quot;47&quot;/&gt;&lt;/TableIndex&gt;&lt;/ShapeTextInfo&gt;"/>
</p:tagLst>
</file>

<file path=ppt/tags/tag1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  <p:tag name="PRESENTER_SHAPETEXTINFO" val="&lt;ShapeTextInfo&gt;&lt;TableIndex row=&quot;-1&quot; col=&quot;-1&quot;&gt;&lt;linesCount val=&quot;1&quot;/&gt;&lt;lineCharCount val=&quot;47&quot;/&gt;&lt;/TableIndex&gt;&lt;/ShapeTextInfo&gt;"/>
</p:tagLst>
</file>

<file path=ppt/tags/tag1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  <p:tag name="PRESENTER_SHAPETEXTINFO" val="&lt;ShapeTextInfo&gt;&lt;TableIndex row=&quot;-1&quot; col=&quot;-1&quot;&gt;&lt;linesCount val=&quot;1&quot;/&gt;&lt;lineCharCount val=&quot;66&quot;/&gt;&lt;/TableIndex&gt;&lt;/ShapeTextInfo&gt;"/>
</p:tagLst>
</file>

<file path=ppt/tags/tag1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1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32&quot;/&gt;&lt;/TableIndex&gt;&lt;/ShapeTextInfo&gt;"/>
</p:tagLst>
</file>

<file path=ppt/tags/tag1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35&quot;/&gt;&lt;/TableIndex&gt;&lt;/ShapeTextInfo&gt;"/>
</p:tagLst>
</file>

<file path=ppt/tags/tag1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  <p:tag name="PRESENTER_SHAPEINFO" val="&lt;ThreeDShapeInfo&gt;&lt;uuid val=&quot;{D0135954-B80E-4E0F-9E7B-AB1182401EAA}&quot;/&gt;&lt;isInvalidForFieldText val=&quot;0&quot;/&gt;&lt;Image&gt;&lt;filename val=&quot;C:\Users\kthatte\AppData\Local\Temp\CP74203534062Session\CPTrustFolder74203534062\PPTImport74205052232\data\asimages\{D0135954-B80E-4E0F-9E7B-AB1182401EAA}_MtorLt.png&quot;/&gt;&lt;left val=&quot;-4&quot;/&gt;&lt;top val=&quot;264&quot;/&gt;&lt;width val=&quot;730&quot;/&gt;&lt;height val=&quot;283&quot;/&gt;&lt;hasText val=&quot;1&quot;/&gt;&lt;/Image&gt;&lt;/ThreeDShapeInfo&gt;"/>
</p:tagLst>
</file>

<file path=ppt/tags/tag1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1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  <p:tag name="PRESENTER_SHAPEINFO" val="&lt;ThreeDShapeInfo&gt;&lt;uuid val=&quot;{579C5D53-B5C0-497D-8D90-2588F2FBE36B}&quot;/&gt;&lt;isInvalidForFieldText val=&quot;0&quot;/&gt;&lt;Image&gt;&lt;filename val=&quot;C:\Users\kthatte\AppData\Local\Temp\CP74203534062Session\CPTrustFolder74203534062\PPTImport74205052232\data\asimages\{579C5D53-B5C0-497D-8D90-2588F2FBE36B}_MtorLt.png&quot;/&gt;&lt;left val=&quot;-4&quot;/&gt;&lt;top val=&quot;264&quot;/&gt;&lt;width val=&quot;730&quot;/&gt;&lt;height val=&quot;283&quot;/&gt;&lt;hasText val=&quot;1&quot;/&gt;&lt;/Image&gt;&lt;/ThreeDShapeInfo&gt;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  <p:tag name="PRESENTER_SHAPETEXTINFO" val="&lt;ShapeTextInfo&gt;&lt;TableIndex row=&quot;-1&quot; col=&quot;-1&quot;&gt;&lt;linesCount val=&quot;1&quot;/&gt;&lt;lineCharCount val=&quot;66&quot;/&gt;&lt;/TableIndex&gt;&lt;/ShapeTextInfo&gt;"/>
</p:tagLst>
</file>

<file path=ppt/tags/tag1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  <p:tag name="PRESENTER_SHAPEINFO" val="&lt;ThreeDShapeInfo&gt;&lt;uuid val=&quot;{CF1AA81C-F23A-4E2F-9231-2842F41B7333}&quot;/&gt;&lt;isInvalidForFieldText val=&quot;0&quot;/&gt;&lt;Image&gt;&lt;filename val=&quot;C:\Users\kthatte\AppData\Local\Temp\CP74203534062Session\CPTrustFolder74203534062\PPTImport74205052232\data\asimages\{CF1AA81C-F23A-4E2F-9231-2842F41B7333}_MtorLt.png&quot;/&gt;&lt;left val=&quot;-4&quot;/&gt;&lt;top val=&quot;264&quot;/&gt;&lt;width val=&quot;730&quot;/&gt;&lt;height val=&quot;283&quot;/&gt;&lt;hasText val=&quot;1&quot;/&gt;&lt;/Image&gt;&lt;/ThreeDShapeInfo&gt;"/>
</p:tagLst>
</file>

<file path=ppt/tags/tag1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1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32&quot;/&gt;&lt;/TableIndex&gt;&lt;/ShapeTextInfo&gt;"/>
</p:tagLst>
</file>

<file path=ppt/tags/tag1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35&quot;/&gt;&lt;/TableIndex&gt;&lt;/ShapeTextInfo&gt;"/>
</p:tagLst>
</file>

<file path=ppt/tags/tag1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1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  <p:tag name="PRESENTER_SHAPEINFO" val="&lt;ThreeDShapeInfo&gt;&lt;uuid val=&quot;{579C5D53-B5C0-497D-8D90-2588F2FBE36B}&quot;/&gt;&lt;isInvalidForFieldText val=&quot;0&quot;/&gt;&lt;Image&gt;&lt;filename val=&quot;C:\Users\kthatte\AppData\Local\Temp\CP74203534062Session\CPTrustFolder74203534062\PPTImport74205052232\data\asimages\{579C5D53-B5C0-497D-8D90-2588F2FBE36B}_MtorLt.png&quot;/&gt;&lt;left val=&quot;-4&quot;/&gt;&lt;top val=&quot;264&quot;/&gt;&lt;width val=&quot;730&quot;/&gt;&lt;height val=&quot;283&quot;/&gt;&lt;hasText val=&quot;1&quot;/&gt;&lt;/Image&gt;&lt;/ThreeDShapeInfo&gt;"/>
</p:tagLst>
</file>

<file path=ppt/tags/tag1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  <p:tag name="PRESENTER_SHAPEINFO" val="&lt;ThreeDShapeInfo&gt;&lt;uuid val=&quot;{CF1AA81C-F23A-4E2F-9231-2842F41B7333}&quot;/&gt;&lt;isInvalidForFieldText val=&quot;0&quot;/&gt;&lt;Image&gt;&lt;filename val=&quot;C:\Users\kthatte\AppData\Local\Temp\CP74203534062Session\CPTrustFolder74203534062\PPTImport74205052232\data\asimages\{CF1AA81C-F23A-4E2F-9231-2842F41B7333}_MtorLt.png&quot;/&gt;&lt;left val=&quot;-4&quot;/&gt;&lt;top val=&quot;264&quot;/&gt;&lt;width val=&quot;730&quot;/&gt;&lt;height val=&quot;283&quot;/&gt;&lt;hasText val=&quot;1&quot;/&gt;&lt;/Image&gt;&lt;/ThreeDShapeInfo&gt;"/>
</p:tagLst>
</file>

<file path=ppt/tags/tag1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  <p:tag name="PRESENTER_SHAPETEXTINFO" val="&lt;ShapeTextInfo&gt;&lt;TableIndex row=&quot;-1&quot; col=&quot;-1&quot;&gt;&lt;linesCount val=&quot;1&quot;/&gt;&lt;lineCharCount val=&quot;32&quot;/&gt;&lt;/TableIndex&gt;&lt;/ShapeTextInfo&gt;"/>
</p:tagLst>
</file>

<file path=ppt/tags/tag2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  <p:tag name="PRESENTER_SHAPETEXTINFO" val="&lt;ShapeTextInfo&gt;&lt;TableIndex row=&quot;-1&quot; col=&quot;-1&quot;&gt;&lt;linesCount val=&quot;4&quot;/&gt;&lt;lineCharCount val=&quot;32&quot;/&gt;&lt;lineCharCount val=&quot;19&quot;/&gt;&lt;lineCharCount val=&quot;19&quot;/&gt;&lt;lineCharCount val=&quot;18&quot;/&gt;&lt;/TableIndex&gt;&lt;/ShapeTextInfo&gt;"/>
</p:tagLst>
</file>

<file path=ppt/tags/tag2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  <p:tag name="PRESENTER_SHAPETEXTINFO" val="&lt;ShapeTextInfo&gt;&lt;TableIndex row=&quot;-1&quot; col=&quot;-1&quot;&gt;&lt;linesCount val=&quot;1&quot;/&gt;&lt;lineCharCount val=&quot;47&quot;/&gt;&lt;/TableIndex&gt;&lt;/ShapeTextInfo&gt;"/>
</p:tagLst>
</file>

<file path=ppt/tags/tag2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  <p:tag name="PRESENTER_SHAPETEXTINFO" val="&lt;ShapeTextInfo&gt;&lt;TableIndex row=&quot;-1&quot; col=&quot;-1&quot;&gt;&lt;linesCount val=&quot;1&quot;/&gt;&lt;lineCharCount val=&quot;66&quot;/&gt;&lt;/TableIndex&gt;&lt;/ShapeTextInfo&gt;"/>
</p:tagLst>
</file>

<file path=ppt/tags/tag2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2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32&quot;/&gt;&lt;/TableIndex&gt;&lt;/ShapeTextInfo&gt;"/>
</p:tagLst>
</file>

<file path=ppt/tags/tag2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35&quot;/&gt;&lt;/TableIndex&gt;&lt;/ShapeTextInfo&gt;"/>
</p:tagLst>
</file>

<file path=ppt/tags/tag2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2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  <p:tag name="PRESENTER_SHAPEINFO" val="&lt;ThreeDShapeInfo&gt;&lt;uuid val=&quot;{579C5D53-B5C0-497D-8D90-2588F2FBE36B}&quot;/&gt;&lt;isInvalidForFieldText val=&quot;0&quot;/&gt;&lt;Image&gt;&lt;filename val=&quot;C:\Users\kthatte\AppData\Local\Temp\CP74203534062Session\CPTrustFolder74203534062\PPTImport74205052232\data\asimages\{579C5D53-B5C0-497D-8D90-2588F2FBE36B}_MtorLt.png&quot;/&gt;&lt;left val=&quot;-4&quot;/&gt;&lt;top val=&quot;264&quot;/&gt;&lt;width val=&quot;730&quot;/&gt;&lt;height val=&quot;283&quot;/&gt;&lt;hasText val=&quot;1&quot;/&gt;&lt;/Image&gt;&lt;/ThreeDShapeInfo&gt;"/>
</p:tagLst>
</file>

<file path=ppt/tags/tag2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  <p:tag name="PRESENTER_SHAPEINFO" val="&lt;ThreeDShapeInfo&gt;&lt;uuid val=&quot;{CF1AA81C-F23A-4E2F-9231-2842F41B7333}&quot;/&gt;&lt;isInvalidForFieldText val=&quot;0&quot;/&gt;&lt;Image&gt;&lt;filename val=&quot;C:\Users\kthatte\AppData\Local\Temp\CP74203534062Session\CPTrustFolder74203534062\PPTImport74205052232\data\asimages\{CF1AA81C-F23A-4E2F-9231-2842F41B7333}_MtorLt.png&quot;/&gt;&lt;left val=&quot;-4&quot;/&gt;&lt;top val=&quot;264&quot;/&gt;&lt;width val=&quot;730&quot;/&gt;&lt;height val=&quot;283&quot;/&gt;&lt;hasText val=&quot;1&quot;/&gt;&lt;/Image&gt;&lt;/ThreeDShapeInfo&gt;"/>
</p:tagLst>
</file>

<file path=ppt/tags/tag2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  <p:tag name="PRESENTER_SHAPETEXTINFO" val="&lt;ShapeTextInfo&gt;&lt;TableIndex row=&quot;-1&quot; col=&quot;-1&quot;&gt;&lt;linesCount val=&quot;1&quot;/&gt;&lt;lineCharCount val=&quot;32&quot;/&gt;&lt;/TableIndex&gt;&lt;/ShapeTextInfo&gt;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  <p:tag name="PRESENTER_SHAPETEXTINFO" val="&lt;ShapeTextInfo&gt;&lt;TableIndex row=&quot;-1&quot; col=&quot;-1&quot;&gt;&lt;linesCount val=&quot;4&quot;/&gt;&lt;lineCharCount val=&quot;32&quot;/&gt;&lt;lineCharCount val=&quot;19&quot;/&gt;&lt;lineCharCount val=&quot;19&quot;/&gt;&lt;lineCharCount val=&quot;18&quot;/&gt;&lt;/TableIndex&gt;&lt;/ShapeTextInfo&gt;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  <p:tag name="PRESENTER_SHAPETEXTINFO" val="&lt;ShapeTextInfo&gt;&lt;TableIndex row=&quot;-1&quot; col=&quot;-1&quot;&gt;&lt;linesCount val=&quot;1&quot;/&gt;&lt;lineCharCount val=&quot;47&quot;/&gt;&lt;/TableIndex&gt;&lt;/ShapeTextInfo&gt;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  <p:tag name="PRESENTER_SHAPETEXTINFO" val="&lt;ShapeTextInfo&gt;&lt;TableIndex row=&quot;-1&quot; col=&quot;-1&quot;&gt;&lt;linesCount val=&quot;1&quot;/&gt;&lt;lineCharCount val=&quot;66&quot;/&gt;&lt;/TableIndex&gt;&lt;/ShapeTextInfo&gt;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32&quot;/&gt;&lt;/TableIndex&gt;&lt;/ShapeTextInfo&gt;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35&quot;/&gt;&lt;/TableIndex&gt;&lt;/ShapeTextInfo&gt;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  <p:tag name="PRESENTER_SHAPEINFO" val="&lt;ThreeDShapeInfo&gt;&lt;uuid val=&quot;{D0135954-B80E-4E0F-9E7B-AB1182401EAA}&quot;/&gt;&lt;isInvalidForFieldText val=&quot;0&quot;/&gt;&lt;Image&gt;&lt;filename val=&quot;C:\Users\kthatte\AppData\Local\Temp\CP74203534062Session\CPTrustFolder74203534062\PPTImport74205052232\data\asimages\{D0135954-B80E-4E0F-9E7B-AB1182401EAA}_MtorLt.png&quot;/&gt;&lt;left val=&quot;-4&quot;/&gt;&lt;top val=&quot;264&quot;/&gt;&lt;width val=&quot;730&quot;/&gt;&lt;height val=&quot;283&quot;/&gt;&lt;hasText val=&quot;1&quot;/&gt;&lt;/Image&gt;&lt;/ThreeDShapeInfo&gt;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  <p:tag name="PRESENTER_SHAPEINFO" val="&lt;ThreeDShapeInfo&gt;&lt;uuid val=&quot;{579C5D53-B5C0-497D-8D90-2588F2FBE36B}&quot;/&gt;&lt;isInvalidForFieldText val=&quot;0&quot;/&gt;&lt;Image&gt;&lt;filename val=&quot;C:\Users\kthatte\AppData\Local\Temp\CP74203534062Session\CPTrustFolder74203534062\PPTImport74205052232\data\asimages\{579C5D53-B5C0-497D-8D90-2588F2FBE36B}_MtorLt.png&quot;/&gt;&lt;left val=&quot;-4&quot;/&gt;&lt;top val=&quot;264&quot;/&gt;&lt;width val=&quot;730&quot;/&gt;&lt;height val=&quot;283&quot;/&gt;&lt;hasText val=&quot;1&quot;/&gt;&lt;/Image&gt;&lt;/ThreeDShapeInfo&gt;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  <p:tag name="PRESENTER_SHAPEINFO" val="&lt;ThreeDShapeInfo&gt;&lt;uuid val=&quot;{CF1AA81C-F23A-4E2F-9231-2842F41B7333}&quot;/&gt;&lt;isInvalidForFieldText val=&quot;0&quot;/&gt;&lt;Image&gt;&lt;filename val=&quot;C:\Users\kthatte\AppData\Local\Temp\CP74203534062Session\CPTrustFolder74203534062\PPTImport74205052232\data\asimages\{CF1AA81C-F23A-4E2F-9231-2842F41B7333}_MtorLt.png&quot;/&gt;&lt;left val=&quot;-4&quot;/&gt;&lt;top val=&quot;264&quot;/&gt;&lt;width val=&quot;730&quot;/&gt;&lt;height val=&quot;283&quot;/&gt;&lt;hasText val=&quot;1&quot;/&gt;&lt;/Image&gt;&lt;/ThreeDShapeInfo&gt;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0p5rQUZbU22mWSKdDzEb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  <p:tag name="PRESENTER_SHAPETEXTINFO" val="&lt;ShapeTextInfo&gt;&lt;TableIndex row=&quot;-1&quot; col=&quot;-1&quot;&gt;&lt;linesCount val=&quot;1&quot;/&gt;&lt;lineCharCount val=&quot;32&quot;/&gt;&lt;/TableIndex&gt;&lt;/ShapeTextInfo&gt;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  <p:tag name="PRESENTER_SHAPETEXTINFO" val="&lt;ShapeTextInfo&gt;&lt;TableIndex row=&quot;-1&quot; col=&quot;-1&quot;&gt;&lt;linesCount val=&quot;4&quot;/&gt;&lt;lineCharCount val=&quot;32&quot;/&gt;&lt;lineCharCount val=&quot;19&quot;/&gt;&lt;lineCharCount val=&quot;19&quot;/&gt;&lt;lineCharCount val=&quot;18&quot;/&gt;&lt;/TableIndex&gt;&lt;/ShapeTextInfo&gt;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  <p:tag name="PRESENTER_SHAPETEXTINFO" val="&lt;ShapeTextInfo&gt;&lt;TableIndex row=&quot;-1&quot; col=&quot;-1&quot;&gt;&lt;linesCount val=&quot;1&quot;/&gt;&lt;lineCharCount val=&quot;47&quot;/&gt;&lt;/TableIndex&gt;&lt;/ShapeTextInfo&gt;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  <p:tag name="PRESENTER_SHAPETEXTINFO" val="&lt;ShapeTextInfo&gt;&lt;TableIndex row=&quot;-1&quot; col=&quot;-1&quot;&gt;&lt;linesCount val=&quot;1&quot;/&gt;&lt;lineCharCount val=&quot;66&quot;/&gt;&lt;/TableIndex&gt;&lt;/ShapeTextInfo&gt;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32&quot;/&gt;&lt;/TableIndex&gt;&lt;/ShapeTextInfo&gt;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35&quot;/&gt;&lt;/TableIndex&gt;&lt;/ShapeTextInfo&gt;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  <p:tag name="PRESENTER_SHAPEINFO" val="&lt;ThreeDShapeInfo&gt;&lt;uuid val=&quot;{579C5D53-B5C0-497D-8D90-2588F2FBE36B}&quot;/&gt;&lt;isInvalidForFieldText val=&quot;0&quot;/&gt;&lt;Image&gt;&lt;filename val=&quot;C:\Users\kthatte\AppData\Local\Temp\CP74203534062Session\CPTrustFolder74203534062\PPTImport74205052232\data\asimages\{579C5D53-B5C0-497D-8D90-2588F2FBE36B}_MtorLt.png&quot;/&gt;&lt;left val=&quot;-4&quot;/&gt;&lt;top val=&quot;264&quot;/&gt;&lt;width val=&quot;730&quot;/&gt;&lt;height val=&quot;283&quot;/&gt;&lt;hasText val=&quot;1&quot;/&gt;&lt;/Image&gt;&lt;/ThreeDShapeInfo&gt;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  <p:tag name="PRESENTER_SHAPEINFO" val="&lt;ThreeDShapeInfo&gt;&lt;uuid val=&quot;{CF1AA81C-F23A-4E2F-9231-2842F41B7333}&quot;/&gt;&lt;isInvalidForFieldText val=&quot;0&quot;/&gt;&lt;Image&gt;&lt;filename val=&quot;C:\Users\kthatte\AppData\Local\Temp\CP74203534062Session\CPTrustFolder74203534062\PPTImport74205052232\data\asimages\{CF1AA81C-F23A-4E2F-9231-2842F41B7333}_MtorLt.png&quot;/&gt;&lt;left val=&quot;-4&quot;/&gt;&lt;top val=&quot;264&quot;/&gt;&lt;width val=&quot;730&quot;/&gt;&lt;height val=&quot;283&quot;/&gt;&lt;hasText val=&quot;1&quot;/&gt;&lt;/Image&gt;&lt;/ThreeDShapeInfo&gt;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q26z0rEkWiApiWfpkFXQ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INFO" val="&lt;ThreeDShapeInfo&gt;&lt;uuid val=&quot;{BCE0FC22-9DB0-4EB3-A689-00953906E609}&quot;/&gt;&lt;isInvalidForFieldText val=&quot;0&quot;/&gt;&lt;Image&gt;&lt;filename val=&quot;C:\Users\kthatte\AppData\Local\Temp\CP545623408496Session\CPTrustFolder545623408542\PPTImport545623521924\data\asimages\{BCE0FC22-9DB0-4EB3-A689-00953906E609}_3.png&quot;/&gt;&lt;left val=&quot;0&quot;/&gt;&lt;top val=&quot;105&quot;/&gt;&lt;width val=&quot;781&quot;/&gt;&lt;height val=&quot;398&quot;/&gt;&lt;hasText val=&quot;1&quot;/&gt;&lt;/Image&gt;&lt;/ThreeDShapeInfo&gt;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  <p:tag name="PRESENTER_SHAPEINFO" val="&lt;ThreeDShapeInfo&gt;&lt;uuid val=&quot;{D0135954-B80E-4E0F-9E7B-AB1182401EAA}&quot;/&gt;&lt;isInvalidForFieldText val=&quot;0&quot;/&gt;&lt;Image&gt;&lt;filename val=&quot;C:\Users\kthatte\AppData\Local\Temp\CP74203534062Session\CPTrustFolder74203534062\PPTImport74205052232\data\asimages\{D0135954-B80E-4E0F-9E7B-AB1182401EAA}_MtorLt.png&quot;/&gt;&lt;left val=&quot;-4&quot;/&gt;&lt;top val=&quot;264&quot;/&gt;&lt;width val=&quot;730&quot;/&gt;&lt;height val=&quot;283&quot;/&gt;&lt;hasText val=&quot;1&quot;/&gt;&lt;/Image&gt;&lt;/ThreeDShapeInfo&gt;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  <p:tag name="PRESENTER_SHAPETEXTINFO" val="&lt;ShapeTextInfo&gt;&lt;TableIndex row=&quot;-1&quot; col=&quot;-1&quot;&gt;&lt;linesCount val=&quot;1&quot;/&gt;&lt;lineCharCount val=&quot;32&quot;/&gt;&lt;/TableIndex&gt;&lt;/ShapeTextInfo&gt;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  <p:tag name="PRESENTER_SHAPETEXTINFO" val="&lt;ShapeTextInfo&gt;&lt;TableIndex row=&quot;-1&quot; col=&quot;-1&quot;&gt;&lt;linesCount val=&quot;4&quot;/&gt;&lt;lineCharCount val=&quot;32&quot;/&gt;&lt;lineCharCount val=&quot;19&quot;/&gt;&lt;lineCharCount val=&quot;19&quot;/&gt;&lt;lineCharCount val=&quot;18&quot;/&gt;&lt;/TableIndex&gt;&lt;/ShapeTextInfo&gt;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  <p:tag name="PRESENTER_SHAPETEXTINFO" val="&lt;ShapeTextInfo&gt;&lt;TableIndex row=&quot;-1&quot; col=&quot;-1&quot;&gt;&lt;linesCount val=&quot;1&quot;/&gt;&lt;lineCharCount val=&quot;47&quot;/&gt;&lt;/TableIndex&gt;&lt;/ShapeTextInfo&gt;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  <p:tag name="PRESENTER_SHAPETEXTINFO" val="&lt;ShapeTextInfo&gt;&lt;TableIndex row=&quot;-1&quot; col=&quot;-1&quot;&gt;&lt;linesCount val=&quot;1&quot;/&gt;&lt;lineCharCount val=&quot;66&quot;/&gt;&lt;/TableIndex&gt;&lt;/ShapeTextInfo&gt;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32&quot;/&gt;&lt;/TableIndex&gt;&lt;/ShapeTextInfo&gt;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35&quot;/&gt;&lt;/TableIndex&gt;&lt;/ShapeTextInfo&gt;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  <p:tag name="PRESENTER_SHAPEINFO" val="&lt;ThreeDShapeInfo&gt;&lt;uuid val=&quot;{579C5D53-B5C0-497D-8D90-2588F2FBE36B}&quot;/&gt;&lt;isInvalidForFieldText val=&quot;0&quot;/&gt;&lt;Image&gt;&lt;filename val=&quot;C:\Users\kthatte\AppData\Local\Temp\CP74203534062Session\CPTrustFolder74203534062\PPTImport74205052232\data\asimages\{579C5D53-B5C0-497D-8D90-2588F2FBE36B}_MtorLt.png&quot;/&gt;&lt;left val=&quot;-4&quot;/&gt;&lt;top val=&quot;264&quot;/&gt;&lt;width val=&quot;730&quot;/&gt;&lt;height val=&quot;283&quot;/&gt;&lt;hasText val=&quot;1&quot;/&gt;&lt;/Image&gt;&lt;/ThreeDShapeInfo&gt;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  <p:tag name="PRESENTER_SHAPEINFO" val="&lt;ThreeDShapeInfo&gt;&lt;uuid val=&quot;{CF1AA81C-F23A-4E2F-9231-2842F41B7333}&quot;/&gt;&lt;isInvalidForFieldText val=&quot;0&quot;/&gt;&lt;Image&gt;&lt;filename val=&quot;C:\Users\kthatte\AppData\Local\Temp\CP74203534062Session\CPTrustFolder74203534062\PPTImport74205052232\data\asimages\{CF1AA81C-F23A-4E2F-9231-2842F41B7333}_MtorLt.png&quot;/&gt;&lt;left val=&quot;-4&quot;/&gt;&lt;top val=&quot;264&quot;/&gt;&lt;width val=&quot;730&quot;/&gt;&lt;height val=&quot;283&quot;/&gt;&lt;hasText val=&quot;1&quot;/&gt;&lt;/Image&gt;&lt;/ThreeDShapeInfo&gt;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heme/theme1.xml><?xml version="1.0" encoding="utf-8"?>
<a:theme xmlns:a="http://schemas.openxmlformats.org/drawingml/2006/main" name="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3_PPT template">
  <a:themeElements>
    <a:clrScheme name="Custom 4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0098C7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35940" tIns="35940" rIns="35940" bIns="35940" rtlCol="0" anchor="t">
        <a:noAutofit/>
      </a:bodyPr>
      <a:lstStyle>
        <a:defPPr marL="190500" indent="-190500">
          <a:buClr>
            <a:srgbClr val="E47E1A"/>
          </a:buClr>
          <a:buSzPct val="80000"/>
          <a:buFont typeface="Wingdings"/>
          <a:buChar char="n"/>
          <a:defRPr sz="1400" smtClean="0">
            <a:solidFill>
              <a:srgbClr val="263147"/>
            </a:solidFill>
            <a:latin typeface="Arial"/>
          </a:defRPr>
        </a:defPPr>
      </a:lst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26314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4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12.xml><?xml version="1.0" encoding="utf-8"?>
<a:theme xmlns:a="http://schemas.openxmlformats.org/drawingml/2006/main" name="5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13.xml><?xml version="1.0" encoding="utf-8"?>
<a:theme xmlns:a="http://schemas.openxmlformats.org/drawingml/2006/main" name="6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14.xml><?xml version="1.0" encoding="utf-8"?>
<a:theme xmlns:a="http://schemas.openxmlformats.org/drawingml/2006/main" name="7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15.xml><?xml version="1.0" encoding="utf-8"?>
<a:theme xmlns:a="http://schemas.openxmlformats.org/drawingml/2006/main" name="8_PPT template">
  <a:themeElements>
    <a:clrScheme name="Custom 4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0098C7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35940" tIns="35940" rIns="35940" bIns="35940" rtlCol="0" anchor="t">
        <a:noAutofit/>
      </a:bodyPr>
      <a:lstStyle>
        <a:defPPr marL="190500" indent="-190500">
          <a:buClr>
            <a:srgbClr val="E47E1A"/>
          </a:buClr>
          <a:buSzPct val="80000"/>
          <a:buFont typeface="Wingdings"/>
          <a:buChar char="n"/>
          <a:defRPr sz="1400" smtClean="0">
            <a:solidFill>
              <a:srgbClr val="263147"/>
            </a:solidFill>
            <a:latin typeface="Arial"/>
          </a:defRPr>
        </a:defPPr>
      </a:lst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26314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9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17.xml><?xml version="1.0" encoding="utf-8"?>
<a:theme xmlns:a="http://schemas.openxmlformats.org/drawingml/2006/main" name="10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18.xml><?xml version="1.0" encoding="utf-8"?>
<a:theme xmlns:a="http://schemas.openxmlformats.org/drawingml/2006/main" name="11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19.xml><?xml version="1.0" encoding="utf-8"?>
<a:theme xmlns:a="http://schemas.openxmlformats.org/drawingml/2006/main" name="12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13_PPT template">
  <a:themeElements>
    <a:clrScheme name="Custom 4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0098C7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35940" tIns="35940" rIns="35940" bIns="35940" rtlCol="0" anchor="t">
        <a:noAutofit/>
      </a:bodyPr>
      <a:lstStyle>
        <a:defPPr marL="190500" indent="-190500">
          <a:buClr>
            <a:srgbClr val="E47E1A"/>
          </a:buClr>
          <a:buSzPct val="80000"/>
          <a:buFont typeface="Wingdings"/>
          <a:buChar char="n"/>
          <a:defRPr sz="1400" smtClean="0">
            <a:solidFill>
              <a:srgbClr val="263147"/>
            </a:solidFill>
            <a:latin typeface="Arial"/>
          </a:defRPr>
        </a:defPPr>
      </a:lst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26314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14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2.xml><?xml version="1.0" encoding="utf-8"?>
<a:theme xmlns:a="http://schemas.openxmlformats.org/drawingml/2006/main" name="15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3.xml><?xml version="1.0" encoding="utf-8"?>
<a:theme xmlns:a="http://schemas.openxmlformats.org/drawingml/2006/main" name="16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4.xml><?xml version="1.0" encoding="utf-8"?>
<a:theme xmlns:a="http://schemas.openxmlformats.org/drawingml/2006/main" name="17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5.xml><?xml version="1.0" encoding="utf-8"?>
<a:theme xmlns:a="http://schemas.openxmlformats.org/drawingml/2006/main" name="18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6.xml><?xml version="1.0" encoding="utf-8"?>
<a:theme xmlns:a="http://schemas.openxmlformats.org/drawingml/2006/main" name="19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7.xml><?xml version="1.0" encoding="utf-8"?>
<a:theme xmlns:a="http://schemas.openxmlformats.org/drawingml/2006/main" name="20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8.xml><?xml version="1.0" encoding="utf-8"?>
<a:theme xmlns:a="http://schemas.openxmlformats.org/drawingml/2006/main" name="21_PPT template">
  <a:themeElements>
    <a:clrScheme name="Custom 4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0098C7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35940" tIns="35940" rIns="35940" bIns="35940" rtlCol="0" anchor="t">
        <a:noAutofit/>
      </a:bodyPr>
      <a:lstStyle>
        <a:defPPr marL="190500" indent="-190500">
          <a:buClr>
            <a:srgbClr val="E47E1A"/>
          </a:buClr>
          <a:buSzPct val="80000"/>
          <a:buFont typeface="Wingdings"/>
          <a:buChar char="n"/>
          <a:defRPr sz="1400" smtClean="0">
            <a:solidFill>
              <a:srgbClr val="263147"/>
            </a:solidFill>
            <a:latin typeface="Arial"/>
          </a:defRPr>
        </a:defPPr>
      </a:lst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26314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9.xml><?xml version="1.0" encoding="utf-8"?>
<a:theme xmlns:a="http://schemas.openxmlformats.org/drawingml/2006/main" name="22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Section break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0.xml><?xml version="1.0" encoding="utf-8"?>
<a:theme xmlns:a="http://schemas.openxmlformats.org/drawingml/2006/main" name="23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1.xml><?xml version="1.0" encoding="utf-8"?>
<a:theme xmlns:a="http://schemas.openxmlformats.org/drawingml/2006/main" name="24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2.xml><?xml version="1.0" encoding="utf-8"?>
<a:theme xmlns:a="http://schemas.openxmlformats.org/drawingml/2006/main" name="25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3.xml><?xml version="1.0" encoding="utf-8"?>
<a:theme xmlns:a="http://schemas.openxmlformats.org/drawingml/2006/main" name="26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4.xml><?xml version="1.0" encoding="utf-8"?>
<a:theme xmlns:a="http://schemas.openxmlformats.org/drawingml/2006/main" name="27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5.xml><?xml version="1.0" encoding="utf-8"?>
<a:theme xmlns:a="http://schemas.openxmlformats.org/drawingml/2006/main" name="28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6.xml><?xml version="1.0" encoding="utf-8"?>
<a:theme xmlns:a="http://schemas.openxmlformats.org/drawingml/2006/main" name="29_PPT template">
  <a:themeElements>
    <a:clrScheme name="Custom 4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0098C7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35940" tIns="35940" rIns="35940" bIns="35940" rtlCol="0" anchor="t">
        <a:noAutofit/>
      </a:bodyPr>
      <a:lstStyle>
        <a:defPPr marL="190500" indent="-190500">
          <a:buClr>
            <a:srgbClr val="E47E1A"/>
          </a:buClr>
          <a:buSzPct val="80000"/>
          <a:buFont typeface="Wingdings"/>
          <a:buChar char="n"/>
          <a:defRPr sz="1400" smtClean="0">
            <a:solidFill>
              <a:srgbClr val="263147"/>
            </a:solidFill>
            <a:latin typeface="Arial"/>
          </a:defRPr>
        </a:defPPr>
      </a:lst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26314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7.xml><?xml version="1.0" encoding="utf-8"?>
<a:theme xmlns:a="http://schemas.openxmlformats.org/drawingml/2006/main" name="30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8.xml><?xml version="1.0" encoding="utf-8"?>
<a:theme xmlns:a="http://schemas.openxmlformats.org/drawingml/2006/main" name="31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9.xml><?xml version="1.0" encoding="utf-8"?>
<a:theme xmlns:a="http://schemas.openxmlformats.org/drawingml/2006/main" name="32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Capgemini FSGBU Learning and Culture 2014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">
        <a:dk1>
          <a:srgbClr val="000000"/>
        </a:dk1>
        <a:lt1>
          <a:srgbClr val="FFFFFF"/>
        </a:lt1>
        <a:dk2>
          <a:srgbClr val="AC2B3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0.xml><?xml version="1.0" encoding="utf-8"?>
<a:theme xmlns:a="http://schemas.openxmlformats.org/drawingml/2006/main" name="33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41.xml><?xml version="1.0" encoding="utf-8"?>
<a:theme xmlns:a="http://schemas.openxmlformats.org/drawingml/2006/main" name="34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42.xml><?xml version="1.0" encoding="utf-8"?>
<a:theme xmlns:a="http://schemas.openxmlformats.org/drawingml/2006/main" name="35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43.xml><?xml version="1.0" encoding="utf-8"?>
<a:theme xmlns:a="http://schemas.openxmlformats.org/drawingml/2006/main" name="36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44.xml><?xml version="1.0" encoding="utf-8"?>
<a:theme xmlns:a="http://schemas.openxmlformats.org/drawingml/2006/main" name="37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45.xml><?xml version="1.0" encoding="utf-8"?>
<a:theme xmlns:a="http://schemas.openxmlformats.org/drawingml/2006/main" name="38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46.xml><?xml version="1.0" encoding="utf-8"?>
<a:theme xmlns:a="http://schemas.openxmlformats.org/drawingml/2006/main" name="39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47.xml><?xml version="1.0" encoding="utf-8"?>
<a:theme xmlns:a="http://schemas.openxmlformats.org/drawingml/2006/main" name="40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48.xml><?xml version="1.0" encoding="utf-8"?>
<a:theme xmlns:a="http://schemas.openxmlformats.org/drawingml/2006/main" name="41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49.xml><?xml version="1.0" encoding="utf-8"?>
<a:theme xmlns:a="http://schemas.openxmlformats.org/drawingml/2006/main" name="42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ppt_Template_Capgemini_August 02 2013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50.xml><?xml version="1.0" encoding="utf-8"?>
<a:theme xmlns:a="http://schemas.openxmlformats.org/drawingml/2006/main" name="43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51.xml><?xml version="1.0" encoding="utf-8"?>
<a:theme xmlns:a="http://schemas.openxmlformats.org/drawingml/2006/main" name="44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52.xml><?xml version="1.0" encoding="utf-8"?>
<a:theme xmlns:a="http://schemas.openxmlformats.org/drawingml/2006/main" name="45_PPT template">
  <a:themeElements>
    <a:clrScheme name="Custom 4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0098C7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35940" tIns="35940" rIns="35940" bIns="35940" rtlCol="0" anchor="t">
        <a:noAutofit/>
      </a:bodyPr>
      <a:lstStyle>
        <a:defPPr marL="190500" indent="-190500">
          <a:buClr>
            <a:srgbClr val="E47E1A"/>
          </a:buClr>
          <a:buSzPct val="80000"/>
          <a:buFont typeface="Wingdings"/>
          <a:buChar char="n"/>
          <a:defRPr sz="1400" smtClean="0">
            <a:solidFill>
              <a:srgbClr val="263147"/>
            </a:solidFill>
            <a:latin typeface="Arial"/>
          </a:defRPr>
        </a:defPPr>
      </a:lst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26314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3.xml><?xml version="1.0" encoding="utf-8"?>
<a:theme xmlns:a="http://schemas.openxmlformats.org/drawingml/2006/main" name="46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54.xml><?xml version="1.0" encoding="utf-8"?>
<a:theme xmlns:a="http://schemas.openxmlformats.org/drawingml/2006/main" name="47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55.xml><?xml version="1.0" encoding="utf-8"?>
<a:theme xmlns:a="http://schemas.openxmlformats.org/drawingml/2006/main" name="48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56.xml><?xml version="1.0" encoding="utf-8"?>
<a:theme xmlns:a="http://schemas.openxmlformats.org/drawingml/2006/main" name="49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57.xml><?xml version="1.0" encoding="utf-8"?>
<a:theme xmlns:a="http://schemas.openxmlformats.org/drawingml/2006/main" name="50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58.xml><?xml version="1.0" encoding="utf-8"?>
<a:theme xmlns:a="http://schemas.openxmlformats.org/drawingml/2006/main" name="51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59.xml><?xml version="1.0" encoding="utf-8"?>
<a:theme xmlns:a="http://schemas.openxmlformats.org/drawingml/2006/main" name="52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1_Capgemini FSGBU Learning and Culture 2014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">
        <a:dk1>
          <a:srgbClr val="000000"/>
        </a:dk1>
        <a:lt1>
          <a:srgbClr val="FFFFFF"/>
        </a:lt1>
        <a:dk2>
          <a:srgbClr val="AC2B3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0.xml><?xml version="1.0" encoding="utf-8"?>
<a:theme xmlns:a="http://schemas.openxmlformats.org/drawingml/2006/main" name="53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61.xml><?xml version="1.0" encoding="utf-8"?>
<a:theme xmlns:a="http://schemas.openxmlformats.org/drawingml/2006/main" name="54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62.xml><?xml version="1.0" encoding="utf-8"?>
<a:theme xmlns:a="http://schemas.openxmlformats.org/drawingml/2006/main" name="55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63.xml><?xml version="1.0" encoding="utf-8"?>
<a:theme xmlns:a="http://schemas.openxmlformats.org/drawingml/2006/main" name="56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64.xml><?xml version="1.0" encoding="utf-8"?>
<a:theme xmlns:a="http://schemas.openxmlformats.org/drawingml/2006/main" name="57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65.xml><?xml version="1.0" encoding="utf-8"?>
<a:theme xmlns:a="http://schemas.openxmlformats.org/drawingml/2006/main" name="58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66.xml><?xml version="1.0" encoding="utf-8"?>
<a:theme xmlns:a="http://schemas.openxmlformats.org/drawingml/2006/main" name="59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67.xml><?xml version="1.0" encoding="utf-8"?>
<a:theme xmlns:a="http://schemas.openxmlformats.org/drawingml/2006/main" name="60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68.xml><?xml version="1.0" encoding="utf-8"?>
<a:theme xmlns:a="http://schemas.openxmlformats.org/drawingml/2006/main" name="61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69.xml><?xml version="1.0" encoding="utf-8"?>
<a:theme xmlns:a="http://schemas.openxmlformats.org/drawingml/2006/main" name="62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1_ppt_Template_Capgemini_August 02 2013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70.xml><?xml version="1.0" encoding="utf-8"?>
<a:theme xmlns:a="http://schemas.openxmlformats.org/drawingml/2006/main" name="63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7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1_PPT template">
  <a:themeElements>
    <a:clrScheme name="Custom 4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0098C7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35940" tIns="35940" rIns="35940" bIns="35940" rtlCol="0" anchor="t">
        <a:noAutofit/>
      </a:bodyPr>
      <a:lstStyle>
        <a:defPPr marL="190500" indent="-190500">
          <a:buClr>
            <a:srgbClr val="E47E1A"/>
          </a:buClr>
          <a:buSzPct val="80000"/>
          <a:buFont typeface="Wingdings"/>
          <a:buChar char="n"/>
          <a:defRPr sz="1400" smtClean="0">
            <a:solidFill>
              <a:srgbClr val="263147"/>
            </a:solidFill>
            <a:latin typeface="Arial"/>
          </a:defRPr>
        </a:defPPr>
      </a:lst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26314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2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916C4DBD491364CAF3E055A9CF76054" ma:contentTypeVersion="0" ma:contentTypeDescription="Create a new document." ma:contentTypeScope="" ma:versionID="a3f530d820964f3a9eaecfb804dfc18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43FD1E8-FD78-40E4-8ED9-724EB5923C9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59883F9E-83BE-4309-A0B3-6ABD997E2BBD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EB1900B3-A292-4747-BB12-A55D3449785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 Template</Template>
  <TotalTime>7056</TotalTime>
  <Words>924</Words>
  <Application>Microsoft Office PowerPoint</Application>
  <PresentationFormat>A4 Paper (210x297 mm)</PresentationFormat>
  <Paragraphs>250</Paragraphs>
  <Slides>44</Slides>
  <Notes>24</Notes>
  <HiddenSlides>0</HiddenSlides>
  <MMClips>0</MMClips>
  <ScaleCrop>false</ScaleCrop>
  <HeadingPairs>
    <vt:vector size="6" baseType="variant">
      <vt:variant>
        <vt:lpstr>Theme</vt:lpstr>
      </vt:variant>
      <vt:variant>
        <vt:i4>7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4</vt:i4>
      </vt:variant>
    </vt:vector>
  </HeadingPairs>
  <TitlesOfParts>
    <vt:vector size="115" baseType="lpstr">
      <vt:lpstr>PPT Template</vt:lpstr>
      <vt:lpstr>Closing slides</vt:lpstr>
      <vt:lpstr>Section break</vt:lpstr>
      <vt:lpstr>Capgemini FSGBU Learning and Culture 2014</vt:lpstr>
      <vt:lpstr>ppt_Template_Capgemini_August 02 2013</vt:lpstr>
      <vt:lpstr>1_Capgemini FSGBU Learning and Culture 2014</vt:lpstr>
      <vt:lpstr>1_ppt_Template_Capgemini_August 02 2013</vt:lpstr>
      <vt:lpstr>1_PPT template</vt:lpstr>
      <vt:lpstr>2_PPT Template</vt:lpstr>
      <vt:lpstr>3_PPT template</vt:lpstr>
      <vt:lpstr>4_PPT Template</vt:lpstr>
      <vt:lpstr>5_PPT Template</vt:lpstr>
      <vt:lpstr>6_PPT Template</vt:lpstr>
      <vt:lpstr>7_PPT Template</vt:lpstr>
      <vt:lpstr>8_PPT template</vt:lpstr>
      <vt:lpstr>9_PPT Template</vt:lpstr>
      <vt:lpstr>10_PPT Template</vt:lpstr>
      <vt:lpstr>11_PPT Template</vt:lpstr>
      <vt:lpstr>12_PPT Template</vt:lpstr>
      <vt:lpstr>13_PPT template</vt:lpstr>
      <vt:lpstr>14_PPT Template</vt:lpstr>
      <vt:lpstr>15_PPT Template</vt:lpstr>
      <vt:lpstr>16_PPT Template</vt:lpstr>
      <vt:lpstr>17_PPT Template</vt:lpstr>
      <vt:lpstr>18_PPT Template</vt:lpstr>
      <vt:lpstr>19_PPT Template</vt:lpstr>
      <vt:lpstr>20_PPT Template</vt:lpstr>
      <vt:lpstr>21_PPT template</vt:lpstr>
      <vt:lpstr>22_PPT Template</vt:lpstr>
      <vt:lpstr>23_PPT Template</vt:lpstr>
      <vt:lpstr>24_PPT Template</vt:lpstr>
      <vt:lpstr>25_PPT Template</vt:lpstr>
      <vt:lpstr>26_PPT Template</vt:lpstr>
      <vt:lpstr>27_PPT Template</vt:lpstr>
      <vt:lpstr>28_PPT Template</vt:lpstr>
      <vt:lpstr>29_PPT template</vt:lpstr>
      <vt:lpstr>30_PPT Template</vt:lpstr>
      <vt:lpstr>31_PPT Template</vt:lpstr>
      <vt:lpstr>32_PPT Template</vt:lpstr>
      <vt:lpstr>33_PPT Template</vt:lpstr>
      <vt:lpstr>34_PPT Template</vt:lpstr>
      <vt:lpstr>35_PPT Template</vt:lpstr>
      <vt:lpstr>36_PPT Template</vt:lpstr>
      <vt:lpstr>37_PPT Template</vt:lpstr>
      <vt:lpstr>38_PPT Template</vt:lpstr>
      <vt:lpstr>39_PPT Template</vt:lpstr>
      <vt:lpstr>40_PPT Template</vt:lpstr>
      <vt:lpstr>41_PPT Template</vt:lpstr>
      <vt:lpstr>42_PPT Template</vt:lpstr>
      <vt:lpstr>43_PPT Template</vt:lpstr>
      <vt:lpstr>44_PPT Template</vt:lpstr>
      <vt:lpstr>45_PPT template</vt:lpstr>
      <vt:lpstr>46_PPT Template</vt:lpstr>
      <vt:lpstr>47_PPT Template</vt:lpstr>
      <vt:lpstr>48_PPT Template</vt:lpstr>
      <vt:lpstr>49_PPT Template</vt:lpstr>
      <vt:lpstr>50_PPT Template</vt:lpstr>
      <vt:lpstr>51_PPT Template</vt:lpstr>
      <vt:lpstr>52_PPT Template</vt:lpstr>
      <vt:lpstr>53_PPT Template</vt:lpstr>
      <vt:lpstr>54_PPT Template</vt:lpstr>
      <vt:lpstr>55_PPT Template</vt:lpstr>
      <vt:lpstr>56_PPT Template</vt:lpstr>
      <vt:lpstr>57_PPT Template</vt:lpstr>
      <vt:lpstr>58_PPT Template</vt:lpstr>
      <vt:lpstr>59_PPT Template</vt:lpstr>
      <vt:lpstr>60_PPT Template</vt:lpstr>
      <vt:lpstr>61_PPT Template</vt:lpstr>
      <vt:lpstr>62_PPT Template</vt:lpstr>
      <vt:lpstr>63_PPT Template</vt:lpstr>
      <vt:lpstr>think-cell Slide</vt:lpstr>
      <vt:lpstr>Test Driven Development</vt:lpstr>
      <vt:lpstr>Recap</vt:lpstr>
      <vt:lpstr>Agenda</vt:lpstr>
      <vt:lpstr>Module Objectives</vt:lpstr>
      <vt:lpstr>Mockito </vt:lpstr>
      <vt:lpstr>Outline</vt:lpstr>
      <vt:lpstr>Mocking Concepts</vt:lpstr>
      <vt:lpstr>Mocking Concepts</vt:lpstr>
      <vt:lpstr>Mocking Concepts</vt:lpstr>
      <vt:lpstr>Mocking Concepts</vt:lpstr>
      <vt:lpstr>Mocking Options</vt:lpstr>
      <vt:lpstr>Mockito Overview</vt:lpstr>
      <vt:lpstr>Creating Mock Instances</vt:lpstr>
      <vt:lpstr>Mock Settings</vt:lpstr>
      <vt:lpstr>Mock Settings</vt:lpstr>
      <vt:lpstr>Mock Settings</vt:lpstr>
      <vt:lpstr>Stubbing Method Calls</vt:lpstr>
      <vt:lpstr>Stubbing Method Calls</vt:lpstr>
      <vt:lpstr>Verifications</vt:lpstr>
      <vt:lpstr>Verifications</vt:lpstr>
      <vt:lpstr>Summary</vt:lpstr>
      <vt:lpstr>Advanced Mockito Concepts</vt:lpstr>
      <vt:lpstr>Advanced Mockito Concepts</vt:lpstr>
      <vt:lpstr>Matchers</vt:lpstr>
      <vt:lpstr> Stubbing Consecutive Calls </vt:lpstr>
      <vt:lpstr>Verification Order</vt:lpstr>
      <vt:lpstr>In Order Verifier</vt:lpstr>
      <vt:lpstr>Capturing Arguments</vt:lpstr>
      <vt:lpstr>Capturing Arguments</vt:lpstr>
      <vt:lpstr>Partial Mocks</vt:lpstr>
      <vt:lpstr> Partial Mocks – Simplify Testing </vt:lpstr>
      <vt:lpstr> Things To Be Mindful Of With Partial Mocks </vt:lpstr>
      <vt:lpstr>Power Mockito</vt:lpstr>
      <vt:lpstr> When Mockito Is Not Enough… </vt:lpstr>
      <vt:lpstr> Mocking Static Method Invocations </vt:lpstr>
      <vt:lpstr> Replacing Object Instantiation </vt:lpstr>
      <vt:lpstr> Stubbing Final &amp; Private Methods </vt:lpstr>
      <vt:lpstr>Stubbing Private Methods  </vt:lpstr>
      <vt:lpstr> Verifying Private Methods </vt:lpstr>
      <vt:lpstr>Test Driven Development Best Practices </vt:lpstr>
      <vt:lpstr>Integrating Automation Suite within Source Control</vt:lpstr>
      <vt:lpstr>Approach towards Defect Management, Metrics and Reporting</vt:lpstr>
      <vt:lpstr>Summary</vt:lpstr>
      <vt:lpstr>Slide 44</vt:lpstr>
    </vt:vector>
  </TitlesOfParts>
  <Company>Capgemini GCC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Namazi, Parveezeh</dc:creator>
  <cp:lastModifiedBy>vidavid</cp:lastModifiedBy>
  <cp:revision>259</cp:revision>
  <dcterms:created xsi:type="dcterms:W3CDTF">2015-03-06T11:43:58Z</dcterms:created>
  <dcterms:modified xsi:type="dcterms:W3CDTF">2016-12-08T06:46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916C4DBD491364CAF3E055A9CF76054</vt:lpwstr>
  </property>
</Properties>
</file>